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39"/>
  </p:notesMasterIdLst>
  <p:sldIdLst>
    <p:sldId id="311" r:id="rId6"/>
    <p:sldId id="280" r:id="rId7"/>
    <p:sldId id="275" r:id="rId8"/>
    <p:sldId id="317" r:id="rId9"/>
    <p:sldId id="282" r:id="rId10"/>
    <p:sldId id="327" r:id="rId11"/>
    <p:sldId id="284" r:id="rId12"/>
    <p:sldId id="316" r:id="rId13"/>
    <p:sldId id="328" r:id="rId14"/>
    <p:sldId id="344" r:id="rId15"/>
    <p:sldId id="329" r:id="rId16"/>
    <p:sldId id="286" r:id="rId17"/>
    <p:sldId id="304" r:id="rId18"/>
    <p:sldId id="332" r:id="rId19"/>
    <p:sldId id="288" r:id="rId20"/>
    <p:sldId id="305" r:id="rId21"/>
    <p:sldId id="333" r:id="rId22"/>
    <p:sldId id="335" r:id="rId23"/>
    <p:sldId id="336" r:id="rId24"/>
    <p:sldId id="337" r:id="rId25"/>
    <p:sldId id="338" r:id="rId26"/>
    <p:sldId id="339" r:id="rId27"/>
    <p:sldId id="295" r:id="rId28"/>
    <p:sldId id="341" r:id="rId29"/>
    <p:sldId id="323" r:id="rId30"/>
    <p:sldId id="293" r:id="rId31"/>
    <p:sldId id="325" r:id="rId32"/>
    <p:sldId id="342" r:id="rId33"/>
    <p:sldId id="297" r:id="rId34"/>
    <p:sldId id="298" r:id="rId35"/>
    <p:sldId id="343" r:id="rId36"/>
    <p:sldId id="299" r:id="rId37"/>
    <p:sldId id="30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ome" id="{B875EA3A-0F3A-42D7-B6E2-7E1A05C2A3DA}">
          <p14:sldIdLst>
            <p14:sldId id="311"/>
            <p14:sldId id="280"/>
          </p14:sldIdLst>
        </p14:section>
        <p14:section name="Our Mission" id="{88495344-40FB-4841-99CC-E364E4B3FA60}">
          <p14:sldIdLst>
            <p14:sldId id="275"/>
            <p14:sldId id="317"/>
          </p14:sldIdLst>
        </p14:section>
        <p14:section name="Problem" id="{89DC3976-4114-4C72-A3F7-CD5F9D4A7E2B}">
          <p14:sldIdLst>
            <p14:sldId id="282"/>
            <p14:sldId id="327"/>
          </p14:sldIdLst>
        </p14:section>
        <p14:section name="Solution" id="{B0161835-6204-4266-8552-F3667AA67871}">
          <p14:sldIdLst>
            <p14:sldId id="284"/>
            <p14:sldId id="316"/>
            <p14:sldId id="328"/>
            <p14:sldId id="344"/>
            <p14:sldId id="329"/>
          </p14:sldIdLst>
        </p14:section>
        <p14:section name="Market Potential" id="{B78F869A-DB52-4C0F-9771-93BD0B0C77E6}">
          <p14:sldIdLst>
            <p14:sldId id="286"/>
            <p14:sldId id="304"/>
            <p14:sldId id="332"/>
          </p14:sldIdLst>
        </p14:section>
        <p14:section name="Business Model" id="{8EDEC664-D3C4-4592-8786-C99AA6E5D5F4}">
          <p14:sldIdLst>
            <p14:sldId id="288"/>
            <p14:sldId id="305"/>
            <p14:sldId id="333"/>
            <p14:sldId id="335"/>
            <p14:sldId id="336"/>
            <p14:sldId id="337"/>
            <p14:sldId id="338"/>
            <p14:sldId id="339"/>
          </p14:sldIdLst>
        </p14:section>
        <p14:section name="Competition" id="{5F9BCD4A-9433-48A8-B291-287BE2581A63}">
          <p14:sldIdLst>
            <p14:sldId id="295"/>
            <p14:sldId id="341"/>
            <p14:sldId id="323"/>
          </p14:sldIdLst>
        </p14:section>
        <p14:section name="Growth Strategy" id="{F496BB06-4A29-4BF5-BA77-B16347F04B8B}">
          <p14:sldIdLst>
            <p14:sldId id="293"/>
            <p14:sldId id="325"/>
            <p14:sldId id="342"/>
          </p14:sldIdLst>
        </p14:section>
        <p14:section name="Financials" id="{DAF8DABC-592A-4901-A0AC-5CDA09D8F45E}">
          <p14:sldIdLst>
            <p14:sldId id="297"/>
            <p14:sldId id="298"/>
            <p14:sldId id="343"/>
          </p14:sldIdLst>
        </p14:section>
        <p14:section name="Team" id="{98810976-D7DB-4275-9710-9A2889E2A734}">
          <p14:sldIdLst>
            <p14:sldId id="299"/>
            <p14:sldId id="30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16161"/>
    <a:srgbClr val="433941"/>
    <a:srgbClr val="484525"/>
    <a:srgbClr val="F8F7F8"/>
    <a:srgbClr val="CAC8CA"/>
    <a:srgbClr val="C6C3C5"/>
    <a:srgbClr val="716A70"/>
    <a:srgbClr val="7B7866"/>
    <a:srgbClr val="4036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E2F68E-A503-4B31-8CB2-DC1B28F456AF}" v="407" dt="2025-06-01T18:53:52.969"/>
  </p1510:revLst>
</p1510:revInfo>
</file>

<file path=ppt/tableStyles.xml><?xml version="1.0" encoding="utf-8"?>
<a:tblStyleLst xmlns:a="http://schemas.openxmlformats.org/drawingml/2006/main" def="{5C22544A-7EE6-4342-B048-85BDC9FD1C3A}">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60" autoAdjust="0"/>
    <p:restoredTop sz="95033" autoAdjust="0"/>
  </p:normalViewPr>
  <p:slideViewPr>
    <p:cSldViewPr snapToGrid="0">
      <p:cViewPr varScale="1">
        <p:scale>
          <a:sx n="82" d="100"/>
          <a:sy n="82" d="100"/>
        </p:scale>
        <p:origin x="874" y="77"/>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90001" cy="90001"/>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sica Henley" userId="63b1edf9-6e48-442a-9e00-04850b59a756" providerId="ADAL" clId="{D7E2F68E-A503-4B31-8CB2-DC1B28F456AF}"/>
    <pc:docChg chg="undo redo custSel addSld delSld modSld sldOrd modSection">
      <pc:chgData name="Jessica Henley" userId="63b1edf9-6e48-442a-9e00-04850b59a756" providerId="ADAL" clId="{D7E2F68E-A503-4B31-8CB2-DC1B28F456AF}" dt="2025-06-01T18:54:11.494" v="5970" actId="478"/>
      <pc:docMkLst>
        <pc:docMk/>
      </pc:docMkLst>
      <pc:sldChg chg="addSp delSp modSp mod modTransition">
        <pc:chgData name="Jessica Henley" userId="63b1edf9-6e48-442a-9e00-04850b59a756" providerId="ADAL" clId="{D7E2F68E-A503-4B31-8CB2-DC1B28F456AF}" dt="2025-05-31T19:06:04.765" v="2126" actId="1076"/>
        <pc:sldMkLst>
          <pc:docMk/>
          <pc:sldMk cId="978745888" sldId="275"/>
        </pc:sldMkLst>
        <pc:spChg chg="add del mod">
          <ac:chgData name="Jessica Henley" userId="63b1edf9-6e48-442a-9e00-04850b59a756" providerId="ADAL" clId="{D7E2F68E-A503-4B31-8CB2-DC1B28F456AF}" dt="2025-05-31T18:43:53.567" v="941" actId="478"/>
          <ac:spMkLst>
            <pc:docMk/>
            <pc:sldMk cId="978745888" sldId="275"/>
            <ac:spMk id="2" creationId="{5A691EF0-050E-1E25-C57C-0810DE8E4EF3}"/>
          </ac:spMkLst>
        </pc:spChg>
        <pc:spChg chg="del mod">
          <ac:chgData name="Jessica Henley" userId="63b1edf9-6e48-442a-9e00-04850b59a756" providerId="ADAL" clId="{D7E2F68E-A503-4B31-8CB2-DC1B28F456AF}" dt="2025-05-31T17:33:14.665" v="5"/>
          <ac:spMkLst>
            <pc:docMk/>
            <pc:sldMk cId="978745888" sldId="275"/>
            <ac:spMk id="6" creationId="{54CBEE47-4141-2200-9A33-ADE75DA0B25B}"/>
          </ac:spMkLst>
        </pc:spChg>
        <pc:spChg chg="mod">
          <ac:chgData name="Jessica Henley" userId="63b1edf9-6e48-442a-9e00-04850b59a756" providerId="ADAL" clId="{D7E2F68E-A503-4B31-8CB2-DC1B28F456AF}" dt="2025-05-31T17:33:22.615" v="6" actId="1076"/>
          <ac:spMkLst>
            <pc:docMk/>
            <pc:sldMk cId="978745888" sldId="275"/>
            <ac:spMk id="7" creationId="{5D470096-ACD7-1592-119D-C102855C1D6D}"/>
          </ac:spMkLst>
        </pc:spChg>
        <pc:spChg chg="del mod">
          <ac:chgData name="Jessica Henley" userId="63b1edf9-6e48-442a-9e00-04850b59a756" providerId="ADAL" clId="{D7E2F68E-A503-4B31-8CB2-DC1B28F456AF}" dt="2025-05-31T18:06:33.592" v="266" actId="478"/>
          <ac:spMkLst>
            <pc:docMk/>
            <pc:sldMk cId="978745888" sldId="275"/>
            <ac:spMk id="13" creationId="{4FA84D09-E0FD-3AD1-75DF-2DFB203B298D}"/>
          </ac:spMkLst>
        </pc:spChg>
        <pc:spChg chg="mod">
          <ac:chgData name="Jessica Henley" userId="63b1edf9-6e48-442a-9e00-04850b59a756" providerId="ADAL" clId="{D7E2F68E-A503-4B31-8CB2-DC1B28F456AF}" dt="2025-05-31T18:13:55.152" v="465"/>
          <ac:spMkLst>
            <pc:docMk/>
            <pc:sldMk cId="978745888" sldId="275"/>
            <ac:spMk id="16" creationId="{6F53C6D9-7678-0D18-E49E-DAB80A24344E}"/>
          </ac:spMkLst>
        </pc:spChg>
        <pc:spChg chg="mod">
          <ac:chgData name="Jessica Henley" userId="63b1edf9-6e48-442a-9e00-04850b59a756" providerId="ADAL" clId="{D7E2F68E-A503-4B31-8CB2-DC1B28F456AF}" dt="2025-05-31T18:13:55.152" v="465"/>
          <ac:spMkLst>
            <pc:docMk/>
            <pc:sldMk cId="978745888" sldId="275"/>
            <ac:spMk id="21" creationId="{1F2CBEAC-C88D-73FD-640D-4D62CE740AB4}"/>
          </ac:spMkLst>
        </pc:spChg>
        <pc:spChg chg="mod">
          <ac:chgData name="Jessica Henley" userId="63b1edf9-6e48-442a-9e00-04850b59a756" providerId="ADAL" clId="{D7E2F68E-A503-4B31-8CB2-DC1B28F456AF}" dt="2025-05-31T18:13:55.152" v="465"/>
          <ac:spMkLst>
            <pc:docMk/>
            <pc:sldMk cId="978745888" sldId="275"/>
            <ac:spMk id="22" creationId="{A06B8454-577A-5B53-760C-0AA9CB022A30}"/>
          </ac:spMkLst>
        </pc:spChg>
        <pc:spChg chg="mod">
          <ac:chgData name="Jessica Henley" userId="63b1edf9-6e48-442a-9e00-04850b59a756" providerId="ADAL" clId="{D7E2F68E-A503-4B31-8CB2-DC1B28F456AF}" dt="2025-05-31T18:13:55.152" v="465"/>
          <ac:spMkLst>
            <pc:docMk/>
            <pc:sldMk cId="978745888" sldId="275"/>
            <ac:spMk id="23" creationId="{4690F37C-1C97-DDB6-0311-530763011E68}"/>
          </ac:spMkLst>
        </pc:spChg>
        <pc:spChg chg="mod">
          <ac:chgData name="Jessica Henley" userId="63b1edf9-6e48-442a-9e00-04850b59a756" providerId="ADAL" clId="{D7E2F68E-A503-4B31-8CB2-DC1B28F456AF}" dt="2025-05-31T18:13:55.152" v="465"/>
          <ac:spMkLst>
            <pc:docMk/>
            <pc:sldMk cId="978745888" sldId="275"/>
            <ac:spMk id="24" creationId="{CC968CCE-F72D-9606-E76B-5CD61943771E}"/>
          </ac:spMkLst>
        </pc:spChg>
        <pc:spChg chg="mod">
          <ac:chgData name="Jessica Henley" userId="63b1edf9-6e48-442a-9e00-04850b59a756" providerId="ADAL" clId="{D7E2F68E-A503-4B31-8CB2-DC1B28F456AF}" dt="2025-05-31T18:13:55.152" v="465"/>
          <ac:spMkLst>
            <pc:docMk/>
            <pc:sldMk cId="978745888" sldId="275"/>
            <ac:spMk id="25" creationId="{ACA23F02-86C5-4137-F948-77313A342B29}"/>
          </ac:spMkLst>
        </pc:spChg>
        <pc:spChg chg="mod">
          <ac:chgData name="Jessica Henley" userId="63b1edf9-6e48-442a-9e00-04850b59a756" providerId="ADAL" clId="{D7E2F68E-A503-4B31-8CB2-DC1B28F456AF}" dt="2025-05-31T18:13:55.152" v="465"/>
          <ac:spMkLst>
            <pc:docMk/>
            <pc:sldMk cId="978745888" sldId="275"/>
            <ac:spMk id="26" creationId="{84C39904-A65B-C66D-D24F-CB9AB0FA95A1}"/>
          </ac:spMkLst>
        </pc:spChg>
        <pc:spChg chg="mod">
          <ac:chgData name="Jessica Henley" userId="63b1edf9-6e48-442a-9e00-04850b59a756" providerId="ADAL" clId="{D7E2F68E-A503-4B31-8CB2-DC1B28F456AF}" dt="2025-05-31T18:13:55.152" v="465"/>
          <ac:spMkLst>
            <pc:docMk/>
            <pc:sldMk cId="978745888" sldId="275"/>
            <ac:spMk id="27" creationId="{1BFCF353-E00A-C77E-4371-885348C4534B}"/>
          </ac:spMkLst>
        </pc:spChg>
        <pc:spChg chg="mod">
          <ac:chgData name="Jessica Henley" userId="63b1edf9-6e48-442a-9e00-04850b59a756" providerId="ADAL" clId="{D7E2F68E-A503-4B31-8CB2-DC1B28F456AF}" dt="2025-05-31T18:13:55.152" v="465"/>
          <ac:spMkLst>
            <pc:docMk/>
            <pc:sldMk cId="978745888" sldId="275"/>
            <ac:spMk id="28" creationId="{5FE2FFB2-BEDC-C554-8066-295B40E5DE9F}"/>
          </ac:spMkLst>
        </pc:spChg>
        <pc:spChg chg="mod">
          <ac:chgData name="Jessica Henley" userId="63b1edf9-6e48-442a-9e00-04850b59a756" providerId="ADAL" clId="{D7E2F68E-A503-4B31-8CB2-DC1B28F456AF}" dt="2025-05-31T18:44:29.347" v="943"/>
          <ac:spMkLst>
            <pc:docMk/>
            <pc:sldMk cId="978745888" sldId="275"/>
            <ac:spMk id="35" creationId="{C2D74132-E7D9-7936-070C-0C614F5F414C}"/>
          </ac:spMkLst>
        </pc:spChg>
        <pc:spChg chg="mod">
          <ac:chgData name="Jessica Henley" userId="63b1edf9-6e48-442a-9e00-04850b59a756" providerId="ADAL" clId="{D7E2F68E-A503-4B31-8CB2-DC1B28F456AF}" dt="2025-05-31T18:57:22.645" v="1020" actId="14861"/>
          <ac:spMkLst>
            <pc:docMk/>
            <pc:sldMk cId="978745888" sldId="275"/>
            <ac:spMk id="40" creationId="{82579747-E5B5-DE62-9D1F-9AF5E4F34F5D}"/>
          </ac:spMkLst>
        </pc:spChg>
        <pc:spChg chg="mod">
          <ac:chgData name="Jessica Henley" userId="63b1edf9-6e48-442a-9e00-04850b59a756" providerId="ADAL" clId="{D7E2F68E-A503-4B31-8CB2-DC1B28F456AF}" dt="2025-05-31T18:44:29.347" v="943"/>
          <ac:spMkLst>
            <pc:docMk/>
            <pc:sldMk cId="978745888" sldId="275"/>
            <ac:spMk id="41" creationId="{CE187B48-EEE9-6579-C6DA-EE3502A95779}"/>
          </ac:spMkLst>
        </pc:spChg>
        <pc:spChg chg="mod">
          <ac:chgData name="Jessica Henley" userId="63b1edf9-6e48-442a-9e00-04850b59a756" providerId="ADAL" clId="{D7E2F68E-A503-4B31-8CB2-DC1B28F456AF}" dt="2025-05-31T18:57:17.998" v="1019" actId="14861"/>
          <ac:spMkLst>
            <pc:docMk/>
            <pc:sldMk cId="978745888" sldId="275"/>
            <ac:spMk id="42" creationId="{34323D80-8A3C-8D5C-8BF7-C9D24261D154}"/>
          </ac:spMkLst>
        </pc:spChg>
        <pc:spChg chg="mod">
          <ac:chgData name="Jessica Henley" userId="63b1edf9-6e48-442a-9e00-04850b59a756" providerId="ADAL" clId="{D7E2F68E-A503-4B31-8CB2-DC1B28F456AF}" dt="2025-05-31T18:44:29.347" v="943"/>
          <ac:spMkLst>
            <pc:docMk/>
            <pc:sldMk cId="978745888" sldId="275"/>
            <ac:spMk id="43" creationId="{1CE97ACA-5B5B-BB54-BB49-5D8D3B1522EE}"/>
          </ac:spMkLst>
        </pc:spChg>
        <pc:spChg chg="mod">
          <ac:chgData name="Jessica Henley" userId="63b1edf9-6e48-442a-9e00-04850b59a756" providerId="ADAL" clId="{D7E2F68E-A503-4B31-8CB2-DC1B28F456AF}" dt="2025-05-31T18:57:13.110" v="1018" actId="14861"/>
          <ac:spMkLst>
            <pc:docMk/>
            <pc:sldMk cId="978745888" sldId="275"/>
            <ac:spMk id="44" creationId="{6325504E-CFBF-FC9E-EDCE-7016126AA087}"/>
          </ac:spMkLst>
        </pc:spChg>
        <pc:spChg chg="mod">
          <ac:chgData name="Jessica Henley" userId="63b1edf9-6e48-442a-9e00-04850b59a756" providerId="ADAL" clId="{D7E2F68E-A503-4B31-8CB2-DC1B28F456AF}" dt="2025-05-31T18:44:29.347" v="943"/>
          <ac:spMkLst>
            <pc:docMk/>
            <pc:sldMk cId="978745888" sldId="275"/>
            <ac:spMk id="45" creationId="{4051A518-BD82-9354-520D-E616E3D02518}"/>
          </ac:spMkLst>
        </pc:spChg>
        <pc:spChg chg="mod">
          <ac:chgData name="Jessica Henley" userId="63b1edf9-6e48-442a-9e00-04850b59a756" providerId="ADAL" clId="{D7E2F68E-A503-4B31-8CB2-DC1B28F456AF}" dt="2025-05-31T18:57:08.380" v="1017" actId="14861"/>
          <ac:spMkLst>
            <pc:docMk/>
            <pc:sldMk cId="978745888" sldId="275"/>
            <ac:spMk id="46" creationId="{F1ED26CF-314D-09E5-D3AB-F6C835E81626}"/>
          </ac:spMkLst>
        </pc:spChg>
        <pc:spChg chg="mod">
          <ac:chgData name="Jessica Henley" userId="63b1edf9-6e48-442a-9e00-04850b59a756" providerId="ADAL" clId="{D7E2F68E-A503-4B31-8CB2-DC1B28F456AF}" dt="2025-05-31T18:44:29.347" v="943"/>
          <ac:spMkLst>
            <pc:docMk/>
            <pc:sldMk cId="978745888" sldId="275"/>
            <ac:spMk id="47" creationId="{42D2D581-3AD7-10BF-DBDE-05BBB6F4CD77}"/>
          </ac:spMkLst>
        </pc:spChg>
        <pc:spChg chg="del mod">
          <ac:chgData name="Jessica Henley" userId="63b1edf9-6e48-442a-9e00-04850b59a756" providerId="ADAL" clId="{D7E2F68E-A503-4B31-8CB2-DC1B28F456AF}" dt="2025-05-31T18:45:03.472" v="945" actId="478"/>
          <ac:spMkLst>
            <pc:docMk/>
            <pc:sldMk cId="978745888" sldId="275"/>
            <ac:spMk id="49" creationId="{2F24B2E8-EF14-3950-F880-C780781FFF58}"/>
          </ac:spMkLst>
        </pc:spChg>
        <pc:spChg chg="mod">
          <ac:chgData name="Jessica Henley" userId="63b1edf9-6e48-442a-9e00-04850b59a756" providerId="ADAL" clId="{D7E2F68E-A503-4B31-8CB2-DC1B28F456AF}" dt="2025-05-31T18:44:29.347" v="943"/>
          <ac:spMkLst>
            <pc:docMk/>
            <pc:sldMk cId="978745888" sldId="275"/>
            <ac:spMk id="52" creationId="{DF6088FC-BB11-88AF-8CF9-3578869583F0}"/>
          </ac:spMkLst>
        </pc:spChg>
        <pc:spChg chg="add del mod">
          <ac:chgData name="Jessica Henley" userId="63b1edf9-6e48-442a-9e00-04850b59a756" providerId="ADAL" clId="{D7E2F68E-A503-4B31-8CB2-DC1B28F456AF}" dt="2025-05-31T18:49:40.774" v="969" actId="21"/>
          <ac:spMkLst>
            <pc:docMk/>
            <pc:sldMk cId="978745888" sldId="275"/>
            <ac:spMk id="54" creationId="{AD927928-9E4B-68D3-E9D8-063E95C13EFB}"/>
          </ac:spMkLst>
        </pc:spChg>
        <pc:spChg chg="mod">
          <ac:chgData name="Jessica Henley" userId="63b1edf9-6e48-442a-9e00-04850b59a756" providerId="ADAL" clId="{D7E2F68E-A503-4B31-8CB2-DC1B28F456AF}" dt="2025-05-31T19:05:45.189" v="2124"/>
          <ac:spMkLst>
            <pc:docMk/>
            <pc:sldMk cId="978745888" sldId="275"/>
            <ac:spMk id="56" creationId="{896B61CA-FB0E-25B4-D35D-79C14B041198}"/>
          </ac:spMkLst>
        </pc:spChg>
        <pc:spChg chg="mod">
          <ac:chgData name="Jessica Henley" userId="63b1edf9-6e48-442a-9e00-04850b59a756" providerId="ADAL" clId="{D7E2F68E-A503-4B31-8CB2-DC1B28F456AF}" dt="2025-05-31T19:05:45.189" v="2124"/>
          <ac:spMkLst>
            <pc:docMk/>
            <pc:sldMk cId="978745888" sldId="275"/>
            <ac:spMk id="61" creationId="{7C195DD2-0263-A47E-C638-3622A00A3116}"/>
          </ac:spMkLst>
        </pc:spChg>
        <pc:spChg chg="mod">
          <ac:chgData name="Jessica Henley" userId="63b1edf9-6e48-442a-9e00-04850b59a756" providerId="ADAL" clId="{D7E2F68E-A503-4B31-8CB2-DC1B28F456AF}" dt="2025-05-31T19:05:45.189" v="2124"/>
          <ac:spMkLst>
            <pc:docMk/>
            <pc:sldMk cId="978745888" sldId="275"/>
            <ac:spMk id="62" creationId="{2ABA609A-0803-96D5-CBEF-A13265147471}"/>
          </ac:spMkLst>
        </pc:spChg>
        <pc:spChg chg="mod">
          <ac:chgData name="Jessica Henley" userId="63b1edf9-6e48-442a-9e00-04850b59a756" providerId="ADAL" clId="{D7E2F68E-A503-4B31-8CB2-DC1B28F456AF}" dt="2025-05-31T19:05:45.189" v="2124"/>
          <ac:spMkLst>
            <pc:docMk/>
            <pc:sldMk cId="978745888" sldId="275"/>
            <ac:spMk id="63" creationId="{708A2461-46AA-84A2-4591-F4B49BBD5F84}"/>
          </ac:spMkLst>
        </pc:spChg>
        <pc:spChg chg="mod">
          <ac:chgData name="Jessica Henley" userId="63b1edf9-6e48-442a-9e00-04850b59a756" providerId="ADAL" clId="{D7E2F68E-A503-4B31-8CB2-DC1B28F456AF}" dt="2025-05-31T19:05:45.189" v="2124"/>
          <ac:spMkLst>
            <pc:docMk/>
            <pc:sldMk cId="978745888" sldId="275"/>
            <ac:spMk id="64" creationId="{B744CE1C-EFEB-5404-2772-822E747CC9BE}"/>
          </ac:spMkLst>
        </pc:spChg>
        <pc:spChg chg="mod">
          <ac:chgData name="Jessica Henley" userId="63b1edf9-6e48-442a-9e00-04850b59a756" providerId="ADAL" clId="{D7E2F68E-A503-4B31-8CB2-DC1B28F456AF}" dt="2025-05-31T19:05:45.189" v="2124"/>
          <ac:spMkLst>
            <pc:docMk/>
            <pc:sldMk cId="978745888" sldId="275"/>
            <ac:spMk id="65" creationId="{0B82C8DB-4398-06DC-F21F-56FF0B9EDD36}"/>
          </ac:spMkLst>
        </pc:spChg>
        <pc:spChg chg="mod">
          <ac:chgData name="Jessica Henley" userId="63b1edf9-6e48-442a-9e00-04850b59a756" providerId="ADAL" clId="{D7E2F68E-A503-4B31-8CB2-DC1B28F456AF}" dt="2025-05-31T19:05:45.189" v="2124"/>
          <ac:spMkLst>
            <pc:docMk/>
            <pc:sldMk cId="978745888" sldId="275"/>
            <ac:spMk id="66" creationId="{7CB74285-A121-F532-93A9-07A8CEFF8670}"/>
          </ac:spMkLst>
        </pc:spChg>
        <pc:spChg chg="mod">
          <ac:chgData name="Jessica Henley" userId="63b1edf9-6e48-442a-9e00-04850b59a756" providerId="ADAL" clId="{D7E2F68E-A503-4B31-8CB2-DC1B28F456AF}" dt="2025-05-31T19:05:45.189" v="2124"/>
          <ac:spMkLst>
            <pc:docMk/>
            <pc:sldMk cId="978745888" sldId="275"/>
            <ac:spMk id="67" creationId="{71B61B76-CC2F-3C03-2114-ADC0103EC456}"/>
          </ac:spMkLst>
        </pc:spChg>
        <pc:spChg chg="mod">
          <ac:chgData name="Jessica Henley" userId="63b1edf9-6e48-442a-9e00-04850b59a756" providerId="ADAL" clId="{D7E2F68E-A503-4B31-8CB2-DC1B28F456AF}" dt="2025-05-31T19:05:45.189" v="2124"/>
          <ac:spMkLst>
            <pc:docMk/>
            <pc:sldMk cId="978745888" sldId="275"/>
            <ac:spMk id="68" creationId="{27F1F656-FD9D-2A2F-B27C-A2ADE5FA2BFB}"/>
          </ac:spMkLst>
        </pc:spChg>
        <pc:grpChg chg="del">
          <ac:chgData name="Jessica Henley" userId="63b1edf9-6e48-442a-9e00-04850b59a756" providerId="ADAL" clId="{D7E2F68E-A503-4B31-8CB2-DC1B28F456AF}" dt="2025-05-31T18:06:28.854" v="264" actId="478"/>
          <ac:grpSpMkLst>
            <pc:docMk/>
            <pc:sldMk cId="978745888" sldId="275"/>
            <ac:grpSpMk id="3" creationId="{01FBB2F2-FC4D-5548-B4D3-69AE6B363D23}"/>
          </ac:grpSpMkLst>
        </pc:grpChg>
        <pc:grpChg chg="del">
          <ac:chgData name="Jessica Henley" userId="63b1edf9-6e48-442a-9e00-04850b59a756" providerId="ADAL" clId="{D7E2F68E-A503-4B31-8CB2-DC1B28F456AF}" dt="2025-05-31T18:06:39.532" v="267" actId="478"/>
          <ac:grpSpMkLst>
            <pc:docMk/>
            <pc:sldMk cId="978745888" sldId="275"/>
            <ac:grpSpMk id="10" creationId="{04B06608-DD71-60B4-BAB9-3F9956735FE2}"/>
          </ac:grpSpMkLst>
        </pc:grpChg>
        <pc:grpChg chg="del mod">
          <ac:chgData name="Jessica Henley" userId="63b1edf9-6e48-442a-9e00-04850b59a756" providerId="ADAL" clId="{D7E2F68E-A503-4B31-8CB2-DC1B28F456AF}" dt="2025-05-31T18:44:02.460" v="942" actId="478"/>
          <ac:grpSpMkLst>
            <pc:docMk/>
            <pc:sldMk cId="978745888" sldId="275"/>
            <ac:grpSpMk id="15" creationId="{159EFF62-1890-B6E4-5065-731D0DC44517}"/>
          </ac:grpSpMkLst>
        </pc:grpChg>
        <pc:grpChg chg="del mod">
          <ac:chgData name="Jessica Henley" userId="63b1edf9-6e48-442a-9e00-04850b59a756" providerId="ADAL" clId="{D7E2F68E-A503-4B31-8CB2-DC1B28F456AF}" dt="2025-05-31T18:43:50.045" v="939" actId="478"/>
          <ac:grpSpMkLst>
            <pc:docMk/>
            <pc:sldMk cId="978745888" sldId="275"/>
            <ac:grpSpMk id="29" creationId="{82ADA28E-6C84-8093-E8B9-25EE4C78CC75}"/>
          </ac:grpSpMkLst>
        </pc:grpChg>
        <pc:grpChg chg="del mod">
          <ac:chgData name="Jessica Henley" userId="63b1edf9-6e48-442a-9e00-04850b59a756" providerId="ADAL" clId="{D7E2F68E-A503-4B31-8CB2-DC1B28F456AF}" dt="2025-05-31T19:05:49.779" v="2125" actId="478"/>
          <ac:grpSpMkLst>
            <pc:docMk/>
            <pc:sldMk cId="978745888" sldId="275"/>
            <ac:grpSpMk id="34" creationId="{EDF5BAB6-83FC-798C-AFCE-D84839C7F9D7}"/>
          </ac:grpSpMkLst>
        </pc:grpChg>
        <pc:grpChg chg="mod">
          <ac:chgData name="Jessica Henley" userId="63b1edf9-6e48-442a-9e00-04850b59a756" providerId="ADAL" clId="{D7E2F68E-A503-4B31-8CB2-DC1B28F456AF}" dt="2025-05-31T18:44:34.771" v="944" actId="1076"/>
          <ac:grpSpMkLst>
            <pc:docMk/>
            <pc:sldMk cId="978745888" sldId="275"/>
            <ac:grpSpMk id="48" creationId="{0EBF7B49-0ED2-82F1-3A73-A4E3E0F5315B}"/>
          </ac:grpSpMkLst>
        </pc:grpChg>
        <pc:grpChg chg="mod">
          <ac:chgData name="Jessica Henley" userId="63b1edf9-6e48-442a-9e00-04850b59a756" providerId="ADAL" clId="{D7E2F68E-A503-4B31-8CB2-DC1B28F456AF}" dt="2025-05-31T19:06:04.765" v="2126" actId="1076"/>
          <ac:grpSpMkLst>
            <pc:docMk/>
            <pc:sldMk cId="978745888" sldId="275"/>
            <ac:grpSpMk id="55" creationId="{6845102A-13CA-CFBD-B0C0-D0822F6B068F}"/>
          </ac:grpSpMkLst>
        </pc:grpChg>
        <pc:grpChg chg="mod">
          <ac:chgData name="Jessica Henley" userId="63b1edf9-6e48-442a-9e00-04850b59a756" providerId="ADAL" clId="{D7E2F68E-A503-4B31-8CB2-DC1B28F456AF}" dt="2025-05-31T19:05:45.189" v="2124"/>
          <ac:grpSpMkLst>
            <pc:docMk/>
            <pc:sldMk cId="978745888" sldId="275"/>
            <ac:grpSpMk id="57" creationId="{706C2F0D-0FBF-1A5B-0A2E-B927E282B448}"/>
          </ac:grpSpMkLst>
        </pc:grpChg>
      </pc:sldChg>
      <pc:sldChg chg="addSp delSp modSp mod modNotesTx">
        <pc:chgData name="Jessica Henley" userId="63b1edf9-6e48-442a-9e00-04850b59a756" providerId="ADAL" clId="{D7E2F68E-A503-4B31-8CB2-DC1B28F456AF}" dt="2025-06-01T16:00:10.278" v="5909" actId="20577"/>
        <pc:sldMkLst>
          <pc:docMk/>
          <pc:sldMk cId="1075787680" sldId="280"/>
        </pc:sldMkLst>
        <pc:spChg chg="mod">
          <ac:chgData name="Jessica Henley" userId="63b1edf9-6e48-442a-9e00-04850b59a756" providerId="ADAL" clId="{D7E2F68E-A503-4B31-8CB2-DC1B28F456AF}" dt="2025-06-01T11:18:50.036" v="3895"/>
          <ac:spMkLst>
            <pc:docMk/>
            <pc:sldMk cId="1075787680" sldId="280"/>
            <ac:spMk id="6" creationId="{A8695EFA-B288-C537-5A0B-C9D00C1E90E4}"/>
          </ac:spMkLst>
        </pc:spChg>
        <pc:spChg chg="mod">
          <ac:chgData name="Jessica Henley" userId="63b1edf9-6e48-442a-9e00-04850b59a756" providerId="ADAL" clId="{D7E2F68E-A503-4B31-8CB2-DC1B28F456AF}" dt="2025-06-01T11:45:52.466" v="4111"/>
          <ac:spMkLst>
            <pc:docMk/>
            <pc:sldMk cId="1075787680" sldId="280"/>
            <ac:spMk id="17" creationId="{4C352FFB-D1A7-A275-872D-8307F30CB7ED}"/>
          </ac:spMkLst>
        </pc:spChg>
        <pc:spChg chg="mod topLvl">
          <ac:chgData name="Jessica Henley" userId="63b1edf9-6e48-442a-9e00-04850b59a756" providerId="ADAL" clId="{D7E2F68E-A503-4B31-8CB2-DC1B28F456AF}" dt="2025-05-31T17:46:03.587" v="58" actId="164"/>
          <ac:spMkLst>
            <pc:docMk/>
            <pc:sldMk cId="1075787680" sldId="280"/>
            <ac:spMk id="19" creationId="{F4F142B4-80A7-C11D-C612-FB72ADBDE560}"/>
          </ac:spMkLst>
        </pc:spChg>
        <pc:spChg chg="mod">
          <ac:chgData name="Jessica Henley" userId="63b1edf9-6e48-442a-9e00-04850b59a756" providerId="ADAL" clId="{D7E2F68E-A503-4B31-8CB2-DC1B28F456AF}" dt="2025-06-01T11:55:12.964" v="4221"/>
          <ac:spMkLst>
            <pc:docMk/>
            <pc:sldMk cId="1075787680" sldId="280"/>
            <ac:spMk id="24" creationId="{479FF6A1-1244-628B-EEA0-CFDFB6DC33B6}"/>
          </ac:spMkLst>
        </pc:spChg>
        <pc:spChg chg="mod">
          <ac:chgData name="Jessica Henley" userId="63b1edf9-6e48-442a-9e00-04850b59a756" providerId="ADAL" clId="{D7E2F68E-A503-4B31-8CB2-DC1B28F456AF}" dt="2025-06-01T12:22:25.436" v="4535"/>
          <ac:spMkLst>
            <pc:docMk/>
            <pc:sldMk cId="1075787680" sldId="280"/>
            <ac:spMk id="39" creationId="{7A43C6D2-570D-E811-1E1F-28835AD9566F}"/>
          </ac:spMkLst>
        </pc:spChg>
        <pc:spChg chg="mod">
          <ac:chgData name="Jessica Henley" userId="63b1edf9-6e48-442a-9e00-04850b59a756" providerId="ADAL" clId="{D7E2F68E-A503-4B31-8CB2-DC1B28F456AF}" dt="2025-05-31T18:07:40.761" v="268"/>
          <ac:spMkLst>
            <pc:docMk/>
            <pc:sldMk cId="1075787680" sldId="280"/>
            <ac:spMk id="39" creationId="{8C8D054F-D2E1-5C74-C421-453E512E656E}"/>
          </ac:spMkLst>
        </pc:spChg>
        <pc:spChg chg="mod">
          <ac:chgData name="Jessica Henley" userId="63b1edf9-6e48-442a-9e00-04850b59a756" providerId="ADAL" clId="{D7E2F68E-A503-4B31-8CB2-DC1B28F456AF}" dt="2025-06-01T12:23:14.006" v="4546"/>
          <ac:spMkLst>
            <pc:docMk/>
            <pc:sldMk cId="1075787680" sldId="280"/>
            <ac:spMk id="44" creationId="{34EACD44-6D45-C1DE-BF30-275C49EC801B}"/>
          </ac:spMkLst>
        </pc:spChg>
        <pc:spChg chg="mod">
          <ac:chgData name="Jessica Henley" userId="63b1edf9-6e48-442a-9e00-04850b59a756" providerId="ADAL" clId="{D7E2F68E-A503-4B31-8CB2-DC1B28F456AF}" dt="2025-05-31T19:11:07.323" v="2152"/>
          <ac:spMkLst>
            <pc:docMk/>
            <pc:sldMk cId="1075787680" sldId="280"/>
            <ac:spMk id="44" creationId="{5A10F943-BC91-DF89-32D9-628AE7B19C61}"/>
          </ac:spMkLst>
        </pc:spChg>
        <pc:spChg chg="mod">
          <ac:chgData name="Jessica Henley" userId="63b1edf9-6e48-442a-9e00-04850b59a756" providerId="ADAL" clId="{D7E2F68E-A503-4B31-8CB2-DC1B28F456AF}" dt="2025-06-01T12:23:52.137" v="4550"/>
          <ac:spMkLst>
            <pc:docMk/>
            <pc:sldMk cId="1075787680" sldId="280"/>
            <ac:spMk id="47" creationId="{1D5B397E-6BF0-2F1D-9CFD-62B166BB3F90}"/>
          </ac:spMkLst>
        </pc:spChg>
        <pc:spChg chg="mod">
          <ac:chgData name="Jessica Henley" userId="63b1edf9-6e48-442a-9e00-04850b59a756" providerId="ADAL" clId="{D7E2F68E-A503-4B31-8CB2-DC1B28F456AF}" dt="2025-05-31T19:27:28.040" v="2365"/>
          <ac:spMkLst>
            <pc:docMk/>
            <pc:sldMk cId="1075787680" sldId="280"/>
            <ac:spMk id="47" creationId="{D771EC73-0B2F-B151-1EB5-45E6E9AA27B5}"/>
          </ac:spMkLst>
        </pc:spChg>
        <pc:spChg chg="mod">
          <ac:chgData name="Jessica Henley" userId="63b1edf9-6e48-442a-9e00-04850b59a756" providerId="ADAL" clId="{D7E2F68E-A503-4B31-8CB2-DC1B28F456AF}" dt="2025-06-01T12:25:11.344" v="4560"/>
          <ac:spMkLst>
            <pc:docMk/>
            <pc:sldMk cId="1075787680" sldId="280"/>
            <ac:spMk id="50" creationId="{118C8637-54CD-5010-62EC-47FF1A75C565}"/>
          </ac:spMkLst>
        </pc:spChg>
        <pc:spChg chg="mod">
          <ac:chgData name="Jessica Henley" userId="63b1edf9-6e48-442a-9e00-04850b59a756" providerId="ADAL" clId="{D7E2F68E-A503-4B31-8CB2-DC1B28F456AF}" dt="2025-05-31T19:48:35.865" v="2622"/>
          <ac:spMkLst>
            <pc:docMk/>
            <pc:sldMk cId="1075787680" sldId="280"/>
            <ac:spMk id="50" creationId="{44BFD3B9-0C77-4A95-1FC0-3444426BEC78}"/>
          </ac:spMkLst>
        </pc:spChg>
        <pc:spChg chg="mod">
          <ac:chgData name="Jessica Henley" userId="63b1edf9-6e48-442a-9e00-04850b59a756" providerId="ADAL" clId="{D7E2F68E-A503-4B31-8CB2-DC1B28F456AF}" dt="2025-05-31T20:38:17.500" v="2912"/>
          <ac:spMkLst>
            <pc:docMk/>
            <pc:sldMk cId="1075787680" sldId="280"/>
            <ac:spMk id="56" creationId="{844DE921-9E9D-4E59-0AAB-F7368AC49197}"/>
          </ac:spMkLst>
        </pc:spChg>
        <pc:spChg chg="mod topLvl">
          <ac:chgData name="Jessica Henley" userId="63b1edf9-6e48-442a-9e00-04850b59a756" providerId="ADAL" clId="{D7E2F68E-A503-4B31-8CB2-DC1B28F456AF}" dt="2025-05-31T17:46:25.796" v="60" actId="164"/>
          <ac:spMkLst>
            <pc:docMk/>
            <pc:sldMk cId="1075787680" sldId="280"/>
            <ac:spMk id="81" creationId="{98463B26-6FCE-4CAB-7C5B-843FA4A386F2}"/>
          </ac:spMkLst>
        </pc:spChg>
        <pc:spChg chg="mod topLvl">
          <ac:chgData name="Jessica Henley" userId="63b1edf9-6e48-442a-9e00-04850b59a756" providerId="ADAL" clId="{D7E2F68E-A503-4B31-8CB2-DC1B28F456AF}" dt="2025-05-31T17:46:50.459" v="62" actId="164"/>
          <ac:spMkLst>
            <pc:docMk/>
            <pc:sldMk cId="1075787680" sldId="280"/>
            <ac:spMk id="84" creationId="{0F414691-D85D-55A6-6399-3CD06D7FCFFF}"/>
          </ac:spMkLst>
        </pc:spChg>
        <pc:spChg chg="mod topLvl">
          <ac:chgData name="Jessica Henley" userId="63b1edf9-6e48-442a-9e00-04850b59a756" providerId="ADAL" clId="{D7E2F68E-A503-4B31-8CB2-DC1B28F456AF}" dt="2025-05-31T17:57:44.552" v="236" actId="164"/>
          <ac:spMkLst>
            <pc:docMk/>
            <pc:sldMk cId="1075787680" sldId="280"/>
            <ac:spMk id="87" creationId="{00A96CE1-5985-A4D9-DABC-EA7FB44BC0CC}"/>
          </ac:spMkLst>
        </pc:spChg>
        <pc:spChg chg="mod topLvl">
          <ac:chgData name="Jessica Henley" userId="63b1edf9-6e48-442a-9e00-04850b59a756" providerId="ADAL" clId="{D7E2F68E-A503-4B31-8CB2-DC1B28F456AF}" dt="2025-05-31T17:44:15.854" v="53" actId="165"/>
          <ac:spMkLst>
            <pc:docMk/>
            <pc:sldMk cId="1075787680" sldId="280"/>
            <ac:spMk id="90" creationId="{388129E3-63DA-5454-7CF3-03B8C87AAE37}"/>
          </ac:spMkLst>
        </pc:spChg>
        <pc:spChg chg="mod ord topLvl">
          <ac:chgData name="Jessica Henley" userId="63b1edf9-6e48-442a-9e00-04850b59a756" providerId="ADAL" clId="{D7E2F68E-A503-4B31-8CB2-DC1B28F456AF}" dt="2025-05-31T17:59:17.631" v="248" actId="164"/>
          <ac:spMkLst>
            <pc:docMk/>
            <pc:sldMk cId="1075787680" sldId="280"/>
            <ac:spMk id="93" creationId="{45655F16-2ECE-EDA5-6F1F-965804C74FBE}"/>
          </ac:spMkLst>
        </pc:spChg>
        <pc:spChg chg="mod topLvl">
          <ac:chgData name="Jessica Henley" userId="63b1edf9-6e48-442a-9e00-04850b59a756" providerId="ADAL" clId="{D7E2F68E-A503-4B31-8CB2-DC1B28F456AF}" dt="2025-05-31T18:02:31.162" v="260" actId="164"/>
          <ac:spMkLst>
            <pc:docMk/>
            <pc:sldMk cId="1075787680" sldId="280"/>
            <ac:spMk id="96" creationId="{D788B742-9A70-2B7D-B38B-7FF78CADE6D8}"/>
          </ac:spMkLst>
        </pc:spChg>
        <pc:grpChg chg="add del mod">
          <ac:chgData name="Jessica Henley" userId="63b1edf9-6e48-442a-9e00-04850b59a756" providerId="ADAL" clId="{D7E2F68E-A503-4B31-8CB2-DC1B28F456AF}" dt="2025-06-01T11:18:51.046" v="3896" actId="21"/>
          <ac:grpSpMkLst>
            <pc:docMk/>
            <pc:sldMk cId="1075787680" sldId="280"/>
            <ac:grpSpMk id="2" creationId="{6C7FA53C-C642-E173-6075-C32D44C68A0A}"/>
          </ac:grpSpMkLst>
        </pc:grpChg>
        <pc:grpChg chg="add del mod">
          <ac:chgData name="Jessica Henley" userId="63b1edf9-6e48-442a-9e00-04850b59a756" providerId="ADAL" clId="{D7E2F68E-A503-4B31-8CB2-DC1B28F456AF}" dt="2025-05-31T17:56:59.874" v="232" actId="165"/>
          <ac:grpSpMkLst>
            <pc:docMk/>
            <pc:sldMk cId="1075787680" sldId="280"/>
            <ac:grpSpMk id="2" creationId="{E937205E-C478-C3D2-0B02-08AFCDAD6ACB}"/>
          </ac:grpSpMkLst>
        </pc:grpChg>
        <pc:grpChg chg="del">
          <ac:chgData name="Jessica Henley" userId="63b1edf9-6e48-442a-9e00-04850b59a756" providerId="ADAL" clId="{D7E2F68E-A503-4B31-8CB2-DC1B28F456AF}" dt="2025-05-31T17:41:40.402" v="31" actId="165"/>
          <ac:grpSpMkLst>
            <pc:docMk/>
            <pc:sldMk cId="1075787680" sldId="280"/>
            <ac:grpSpMk id="6" creationId="{D21C04B0-C968-8B36-9E53-12F1D6B48BD6}"/>
          </ac:grpSpMkLst>
        </pc:grpChg>
        <pc:grpChg chg="del">
          <ac:chgData name="Jessica Henley" userId="63b1edf9-6e48-442a-9e00-04850b59a756" providerId="ADAL" clId="{D7E2F68E-A503-4B31-8CB2-DC1B28F456AF}" dt="2025-05-31T17:41:55.187" v="35" actId="165"/>
          <ac:grpSpMkLst>
            <pc:docMk/>
            <pc:sldMk cId="1075787680" sldId="280"/>
            <ac:grpSpMk id="12" creationId="{17AF9F6A-79C8-42EB-0847-03B49AFABC5E}"/>
          </ac:grpSpMkLst>
        </pc:grpChg>
        <pc:grpChg chg="add del mod">
          <ac:chgData name="Jessica Henley" userId="63b1edf9-6e48-442a-9e00-04850b59a756" providerId="ADAL" clId="{D7E2F68E-A503-4B31-8CB2-DC1B28F456AF}" dt="2025-06-01T11:45:53.266" v="4112" actId="21"/>
          <ac:grpSpMkLst>
            <pc:docMk/>
            <pc:sldMk cId="1075787680" sldId="280"/>
            <ac:grpSpMk id="14" creationId="{1296645A-8538-F436-266C-A307603F593B}"/>
          </ac:grpSpMkLst>
        </pc:grpChg>
        <pc:grpChg chg="add del mod">
          <ac:chgData name="Jessica Henley" userId="63b1edf9-6e48-442a-9e00-04850b59a756" providerId="ADAL" clId="{D7E2F68E-A503-4B31-8CB2-DC1B28F456AF}" dt="2025-05-31T17:38:51.682" v="16" actId="165"/>
          <ac:grpSpMkLst>
            <pc:docMk/>
            <pc:sldMk cId="1075787680" sldId="280"/>
            <ac:grpSpMk id="14" creationId="{1383881F-ACF2-1A7B-DC42-FA97DFA72CE5}"/>
          </ac:grpSpMkLst>
        </pc:grpChg>
        <pc:grpChg chg="add del mod">
          <ac:chgData name="Jessica Henley" userId="63b1edf9-6e48-442a-9e00-04850b59a756" providerId="ADAL" clId="{D7E2F68E-A503-4B31-8CB2-DC1B28F456AF}" dt="2025-06-01T11:55:14.236" v="4222" actId="21"/>
          <ac:grpSpMkLst>
            <pc:docMk/>
            <pc:sldMk cId="1075787680" sldId="280"/>
            <ac:grpSpMk id="23" creationId="{2DC86CFD-7059-6639-15A8-CABAA8696484}"/>
          </ac:grpSpMkLst>
        </pc:grpChg>
        <pc:grpChg chg="add mod">
          <ac:chgData name="Jessica Henley" userId="63b1edf9-6e48-442a-9e00-04850b59a756" providerId="ADAL" clId="{D7E2F68E-A503-4B31-8CB2-DC1B28F456AF}" dt="2025-05-31T17:46:03.587" v="58" actId="164"/>
          <ac:grpSpMkLst>
            <pc:docMk/>
            <pc:sldMk cId="1075787680" sldId="280"/>
            <ac:grpSpMk id="27" creationId="{86AFB26A-EB41-8410-D38B-7DBBE8822895}"/>
          </ac:grpSpMkLst>
        </pc:grpChg>
        <pc:grpChg chg="add mod">
          <ac:chgData name="Jessica Henley" userId="63b1edf9-6e48-442a-9e00-04850b59a756" providerId="ADAL" clId="{D7E2F68E-A503-4B31-8CB2-DC1B28F456AF}" dt="2025-05-31T17:46:25.796" v="60" actId="164"/>
          <ac:grpSpMkLst>
            <pc:docMk/>
            <pc:sldMk cId="1075787680" sldId="280"/>
            <ac:grpSpMk id="30" creationId="{0B19496D-E265-FE02-2E36-EB11D6D21A3C}"/>
          </ac:grpSpMkLst>
        </pc:grpChg>
        <pc:grpChg chg="add mod">
          <ac:chgData name="Jessica Henley" userId="63b1edf9-6e48-442a-9e00-04850b59a756" providerId="ADAL" clId="{D7E2F68E-A503-4B31-8CB2-DC1B28F456AF}" dt="2025-05-31T17:46:50.459" v="62" actId="164"/>
          <ac:grpSpMkLst>
            <pc:docMk/>
            <pc:sldMk cId="1075787680" sldId="280"/>
            <ac:grpSpMk id="31" creationId="{4AD91FAB-E342-8A14-E53E-9929D5E4C441}"/>
          </ac:grpSpMkLst>
        </pc:grpChg>
        <pc:grpChg chg="add mod">
          <ac:chgData name="Jessica Henley" userId="63b1edf9-6e48-442a-9e00-04850b59a756" providerId="ADAL" clId="{D7E2F68E-A503-4B31-8CB2-DC1B28F456AF}" dt="2025-05-31T17:57:44.552" v="236" actId="164"/>
          <ac:grpSpMkLst>
            <pc:docMk/>
            <pc:sldMk cId="1075787680" sldId="280"/>
            <ac:grpSpMk id="33" creationId="{F11F8E21-C6EA-CFFB-8FEA-BD29114DBD52}"/>
          </ac:grpSpMkLst>
        </pc:grpChg>
        <pc:grpChg chg="add mod">
          <ac:chgData name="Jessica Henley" userId="63b1edf9-6e48-442a-9e00-04850b59a756" providerId="ADAL" clId="{D7E2F68E-A503-4B31-8CB2-DC1B28F456AF}" dt="2025-05-31T17:59:17.631" v="248" actId="164"/>
          <ac:grpSpMkLst>
            <pc:docMk/>
            <pc:sldMk cId="1075787680" sldId="280"/>
            <ac:grpSpMk id="34" creationId="{9F507FB8-AF06-54DE-2D93-52150B07B2AE}"/>
          </ac:grpSpMkLst>
        </pc:grpChg>
        <pc:grpChg chg="add mod">
          <ac:chgData name="Jessica Henley" userId="63b1edf9-6e48-442a-9e00-04850b59a756" providerId="ADAL" clId="{D7E2F68E-A503-4B31-8CB2-DC1B28F456AF}" dt="2025-05-31T18:02:31.162" v="260" actId="164"/>
          <ac:grpSpMkLst>
            <pc:docMk/>
            <pc:sldMk cId="1075787680" sldId="280"/>
            <ac:grpSpMk id="37" creationId="{1548F58F-3430-F03E-405F-6EB755E68702}"/>
          </ac:grpSpMkLst>
        </pc:grpChg>
        <pc:grpChg chg="add del mod">
          <ac:chgData name="Jessica Henley" userId="63b1edf9-6e48-442a-9e00-04850b59a756" providerId="ADAL" clId="{D7E2F68E-A503-4B31-8CB2-DC1B28F456AF}" dt="2025-05-31T18:07:43.532" v="269" actId="21"/>
          <ac:grpSpMkLst>
            <pc:docMk/>
            <pc:sldMk cId="1075787680" sldId="280"/>
            <ac:grpSpMk id="38" creationId="{89E2644C-D76A-3897-26AF-21E91BF5B55A}"/>
          </ac:grpSpMkLst>
        </pc:grpChg>
        <pc:grpChg chg="add del mod">
          <ac:chgData name="Jessica Henley" userId="63b1edf9-6e48-442a-9e00-04850b59a756" providerId="ADAL" clId="{D7E2F68E-A503-4B31-8CB2-DC1B28F456AF}" dt="2025-06-01T12:22:27.066" v="4536" actId="21"/>
          <ac:grpSpMkLst>
            <pc:docMk/>
            <pc:sldMk cId="1075787680" sldId="280"/>
            <ac:grpSpMk id="38" creationId="{DCCD6B2D-5989-B350-B657-DCACA19FE035}"/>
          </ac:grpSpMkLst>
        </pc:grpChg>
        <pc:grpChg chg="add del mod">
          <ac:chgData name="Jessica Henley" userId="63b1edf9-6e48-442a-9e00-04850b59a756" providerId="ADAL" clId="{D7E2F68E-A503-4B31-8CB2-DC1B28F456AF}" dt="2025-06-01T12:23:15.406" v="4547" actId="21"/>
          <ac:grpSpMkLst>
            <pc:docMk/>
            <pc:sldMk cId="1075787680" sldId="280"/>
            <ac:grpSpMk id="43" creationId="{206DE181-93B3-B036-0585-8A22ECB5B29E}"/>
          </ac:grpSpMkLst>
        </pc:grpChg>
        <pc:grpChg chg="add del mod">
          <ac:chgData name="Jessica Henley" userId="63b1edf9-6e48-442a-9e00-04850b59a756" providerId="ADAL" clId="{D7E2F68E-A503-4B31-8CB2-DC1B28F456AF}" dt="2025-05-31T19:11:08.678" v="2153" actId="21"/>
          <ac:grpSpMkLst>
            <pc:docMk/>
            <pc:sldMk cId="1075787680" sldId="280"/>
            <ac:grpSpMk id="43" creationId="{8C7BE6E8-B4F2-B35C-1F05-C1C2D96388BB}"/>
          </ac:grpSpMkLst>
        </pc:grpChg>
        <pc:grpChg chg="add del mod">
          <ac:chgData name="Jessica Henley" userId="63b1edf9-6e48-442a-9e00-04850b59a756" providerId="ADAL" clId="{D7E2F68E-A503-4B31-8CB2-DC1B28F456AF}" dt="2025-06-01T12:23:52.887" v="4551" actId="21"/>
          <ac:grpSpMkLst>
            <pc:docMk/>
            <pc:sldMk cId="1075787680" sldId="280"/>
            <ac:grpSpMk id="46" creationId="{24102F90-C447-422A-4B71-68DCE511D0DE}"/>
          </ac:grpSpMkLst>
        </pc:grpChg>
        <pc:grpChg chg="add del mod">
          <ac:chgData name="Jessica Henley" userId="63b1edf9-6e48-442a-9e00-04850b59a756" providerId="ADAL" clId="{D7E2F68E-A503-4B31-8CB2-DC1B28F456AF}" dt="2025-05-31T19:27:29.171" v="2366" actId="21"/>
          <ac:grpSpMkLst>
            <pc:docMk/>
            <pc:sldMk cId="1075787680" sldId="280"/>
            <ac:grpSpMk id="46" creationId="{CF629228-DA00-93CF-D73D-9B79D295DAC1}"/>
          </ac:grpSpMkLst>
        </pc:grpChg>
        <pc:grpChg chg="add del mod">
          <ac:chgData name="Jessica Henley" userId="63b1edf9-6e48-442a-9e00-04850b59a756" providerId="ADAL" clId="{D7E2F68E-A503-4B31-8CB2-DC1B28F456AF}" dt="2025-06-01T12:25:12.516" v="4561" actId="21"/>
          <ac:grpSpMkLst>
            <pc:docMk/>
            <pc:sldMk cId="1075787680" sldId="280"/>
            <ac:grpSpMk id="49" creationId="{873B7D12-C01B-AD9C-C2C5-5454514A3A17}"/>
          </ac:grpSpMkLst>
        </pc:grpChg>
        <pc:grpChg chg="add del mod">
          <ac:chgData name="Jessica Henley" userId="63b1edf9-6e48-442a-9e00-04850b59a756" providerId="ADAL" clId="{D7E2F68E-A503-4B31-8CB2-DC1B28F456AF}" dt="2025-05-31T19:48:53.553" v="2625" actId="21"/>
          <ac:grpSpMkLst>
            <pc:docMk/>
            <pc:sldMk cId="1075787680" sldId="280"/>
            <ac:grpSpMk id="49" creationId="{C6C74CB6-27DF-CE3A-D15C-D8819FBBD8E8}"/>
          </ac:grpSpMkLst>
        </pc:grpChg>
        <pc:grpChg chg="add del mod">
          <ac:chgData name="Jessica Henley" userId="63b1edf9-6e48-442a-9e00-04850b59a756" providerId="ADAL" clId="{D7E2F68E-A503-4B31-8CB2-DC1B28F456AF}" dt="2025-05-31T20:38:18.833" v="2913" actId="21"/>
          <ac:grpSpMkLst>
            <pc:docMk/>
            <pc:sldMk cId="1075787680" sldId="280"/>
            <ac:grpSpMk id="55" creationId="{D8FE979E-B93D-862C-7FCE-4704580EB6F0}"/>
          </ac:grpSpMkLst>
        </pc:grpChg>
        <pc:grpChg chg="del mod">
          <ac:chgData name="Jessica Henley" userId="63b1edf9-6e48-442a-9e00-04850b59a756" providerId="ADAL" clId="{D7E2F68E-A503-4B31-8CB2-DC1B28F456AF}" dt="2025-05-31T17:43:01.064" v="42" actId="165"/>
          <ac:grpSpMkLst>
            <pc:docMk/>
            <pc:sldMk cId="1075787680" sldId="280"/>
            <ac:grpSpMk id="83" creationId="{02C93F58-6DE8-870C-D1AE-B70C074E0601}"/>
          </ac:grpSpMkLst>
        </pc:grpChg>
        <pc:grpChg chg="add del mod">
          <ac:chgData name="Jessica Henley" userId="63b1edf9-6e48-442a-9e00-04850b59a756" providerId="ADAL" clId="{D7E2F68E-A503-4B31-8CB2-DC1B28F456AF}" dt="2025-05-31T17:44:15.854" v="53" actId="165"/>
          <ac:grpSpMkLst>
            <pc:docMk/>
            <pc:sldMk cId="1075787680" sldId="280"/>
            <ac:grpSpMk id="89" creationId="{566EDD2E-22AC-6031-0455-A2B2DCCA440F}"/>
          </ac:grpSpMkLst>
        </pc:grpChg>
        <pc:grpChg chg="del">
          <ac:chgData name="Jessica Henley" userId="63b1edf9-6e48-442a-9e00-04850b59a756" providerId="ADAL" clId="{D7E2F68E-A503-4B31-8CB2-DC1B28F456AF}" dt="2025-05-31T18:01:45.037" v="253" actId="165"/>
          <ac:grpSpMkLst>
            <pc:docMk/>
            <pc:sldMk cId="1075787680" sldId="280"/>
            <ac:grpSpMk id="95" creationId="{7B3CFE44-CCB2-0E22-A954-EDDDAD190D76}"/>
          </ac:grpSpMkLst>
        </pc:grpChg>
        <pc:graphicFrameChg chg="mod">
          <ac:chgData name="Jessica Henley" userId="63b1edf9-6e48-442a-9e00-04850b59a756" providerId="ADAL" clId="{D7E2F68E-A503-4B31-8CB2-DC1B28F456AF}" dt="2025-05-31T17:54:53.717" v="213" actId="1076"/>
          <ac:graphicFrameMkLst>
            <pc:docMk/>
            <pc:sldMk cId="1075787680" sldId="280"/>
            <ac:graphicFrameMk id="8" creationId="{A64A8C2C-A09D-914F-4D82-0AC210E81EC2}"/>
          </ac:graphicFrameMkLst>
        </pc:graphicFrameChg>
        <pc:graphicFrameChg chg="mod">
          <ac:chgData name="Jessica Henley" userId="63b1edf9-6e48-442a-9e00-04850b59a756" providerId="ADAL" clId="{D7E2F68E-A503-4B31-8CB2-DC1B28F456AF}" dt="2025-05-31T17:48:05.032" v="109" actId="1076"/>
          <ac:graphicFrameMkLst>
            <pc:docMk/>
            <pc:sldMk cId="1075787680" sldId="280"/>
            <ac:graphicFrameMk id="13" creationId="{8C693734-C934-C86F-DBF3-51A83A14962D}"/>
          </ac:graphicFrameMkLst>
        </pc:graphicFrameChg>
        <pc:graphicFrameChg chg="mod">
          <ac:chgData name="Jessica Henley" userId="63b1edf9-6e48-442a-9e00-04850b59a756" providerId="ADAL" clId="{D7E2F68E-A503-4B31-8CB2-DC1B28F456AF}" dt="2025-05-31T17:56:25.497" v="225" actId="1076"/>
          <ac:graphicFrameMkLst>
            <pc:docMk/>
            <pc:sldMk cId="1075787680" sldId="280"/>
            <ac:graphicFrameMk id="16" creationId="{366A5243-9F37-B263-172D-5FF4FD239A02}"/>
          </ac:graphicFrameMkLst>
        </pc:graphicFrameChg>
        <pc:picChg chg="mod">
          <ac:chgData name="Jessica Henley" userId="63b1edf9-6e48-442a-9e00-04850b59a756" providerId="ADAL" clId="{D7E2F68E-A503-4B31-8CB2-DC1B28F456AF}" dt="2025-06-01T11:18:50.036" v="3895"/>
          <ac:picMkLst>
            <pc:docMk/>
            <pc:sldMk cId="1075787680" sldId="280"/>
            <ac:picMk id="12" creationId="{EBA26557-C9B9-56A2-7E91-911CBDE512F9}"/>
          </ac:picMkLst>
        </pc:picChg>
        <pc:picChg chg="del mod topLvl">
          <ac:chgData name="Jessica Henley" userId="63b1edf9-6e48-442a-9e00-04850b59a756" providerId="ADAL" clId="{D7E2F68E-A503-4B31-8CB2-DC1B28F456AF}" dt="2025-05-31T17:41:09.992" v="26" actId="478"/>
          <ac:picMkLst>
            <pc:docMk/>
            <pc:sldMk cId="1075787680" sldId="280"/>
            <ac:picMk id="17" creationId="{7F1F66B5-4F23-8BC2-F0B2-4DC23C97C3F5}"/>
          </ac:picMkLst>
        </pc:picChg>
        <pc:picChg chg="mod">
          <ac:chgData name="Jessica Henley" userId="63b1edf9-6e48-442a-9e00-04850b59a756" providerId="ADAL" clId="{D7E2F68E-A503-4B31-8CB2-DC1B28F456AF}" dt="2025-06-01T11:45:52.466" v="4111"/>
          <ac:picMkLst>
            <pc:docMk/>
            <pc:sldMk cId="1075787680" sldId="280"/>
            <ac:picMk id="20" creationId="{0B1005C4-052D-61AE-8A3A-8706F061314E}"/>
          </ac:picMkLst>
        </pc:picChg>
        <pc:picChg chg="add mod">
          <ac:chgData name="Jessica Henley" userId="63b1edf9-6e48-442a-9e00-04850b59a756" providerId="ADAL" clId="{D7E2F68E-A503-4B31-8CB2-DC1B28F456AF}" dt="2025-05-31T17:46:03.587" v="58" actId="164"/>
          <ac:picMkLst>
            <pc:docMk/>
            <pc:sldMk cId="1075787680" sldId="280"/>
            <ac:picMk id="22" creationId="{4C666DC9-2BCB-03F1-A68C-E1692DA84E92}"/>
          </ac:picMkLst>
        </pc:picChg>
        <pc:picChg chg="del mod topLvl">
          <ac:chgData name="Jessica Henley" userId="63b1edf9-6e48-442a-9e00-04850b59a756" providerId="ADAL" clId="{D7E2F68E-A503-4B31-8CB2-DC1B28F456AF}" dt="2025-05-31T18:00:01.082" v="249" actId="478"/>
          <ac:picMkLst>
            <pc:docMk/>
            <pc:sldMk cId="1075787680" sldId="280"/>
            <ac:picMk id="24" creationId="{23887CA7-24AF-B9A9-393C-7CA6447BFE30}"/>
          </ac:picMkLst>
        </pc:picChg>
        <pc:picChg chg="add mod">
          <ac:chgData name="Jessica Henley" userId="63b1edf9-6e48-442a-9e00-04850b59a756" providerId="ADAL" clId="{D7E2F68E-A503-4B31-8CB2-DC1B28F456AF}" dt="2025-05-31T17:46:50.459" v="62" actId="164"/>
          <ac:picMkLst>
            <pc:docMk/>
            <pc:sldMk cId="1075787680" sldId="280"/>
            <ac:picMk id="25" creationId="{3DC8ED95-A810-9926-19D6-5B8EBEC408C3}"/>
          </ac:picMkLst>
        </pc:picChg>
        <pc:picChg chg="mod topLvl">
          <ac:chgData name="Jessica Henley" userId="63b1edf9-6e48-442a-9e00-04850b59a756" providerId="ADAL" clId="{D7E2F68E-A503-4B31-8CB2-DC1B28F456AF}" dt="2025-05-31T17:46:25.796" v="60" actId="164"/>
          <ac:picMkLst>
            <pc:docMk/>
            <pc:sldMk cId="1075787680" sldId="280"/>
            <ac:picMk id="26" creationId="{1434E0F3-00C7-8F22-9FC1-FD4AD98C30AC}"/>
          </ac:picMkLst>
        </pc:picChg>
        <pc:picChg chg="mod topLvl">
          <ac:chgData name="Jessica Henley" userId="63b1edf9-6e48-442a-9e00-04850b59a756" providerId="ADAL" clId="{D7E2F68E-A503-4B31-8CB2-DC1B28F456AF}" dt="2025-05-31T17:57:44.552" v="236" actId="164"/>
          <ac:picMkLst>
            <pc:docMk/>
            <pc:sldMk cId="1075787680" sldId="280"/>
            <ac:picMk id="32" creationId="{CBA2D37F-5D9A-F494-831B-104F8A00F432}"/>
          </ac:picMkLst>
        </pc:picChg>
        <pc:picChg chg="mod">
          <ac:chgData name="Jessica Henley" userId="63b1edf9-6e48-442a-9e00-04850b59a756" providerId="ADAL" clId="{D7E2F68E-A503-4B31-8CB2-DC1B28F456AF}" dt="2025-06-01T11:55:12.964" v="4221"/>
          <ac:picMkLst>
            <pc:docMk/>
            <pc:sldMk cId="1075787680" sldId="280"/>
            <ac:picMk id="35" creationId="{C3A8CAF6-49F3-352E-B8F0-0E6F9B7D0B6E}"/>
          </ac:picMkLst>
        </pc:picChg>
        <pc:picChg chg="add mod">
          <ac:chgData name="Jessica Henley" userId="63b1edf9-6e48-442a-9e00-04850b59a756" providerId="ADAL" clId="{D7E2F68E-A503-4B31-8CB2-DC1B28F456AF}" dt="2025-05-31T18:02:31.162" v="260" actId="164"/>
          <ac:picMkLst>
            <pc:docMk/>
            <pc:sldMk cId="1075787680" sldId="280"/>
            <ac:picMk id="36" creationId="{E35109AF-65FA-0CA5-A767-18B6BBA028CD}"/>
          </ac:picMkLst>
        </pc:picChg>
        <pc:picChg chg="mod">
          <ac:chgData name="Jessica Henley" userId="63b1edf9-6e48-442a-9e00-04850b59a756" providerId="ADAL" clId="{D7E2F68E-A503-4B31-8CB2-DC1B28F456AF}" dt="2025-06-01T12:22:25.436" v="4535"/>
          <ac:picMkLst>
            <pc:docMk/>
            <pc:sldMk cId="1075787680" sldId="280"/>
            <ac:picMk id="42" creationId="{B179E91D-03B3-B7D6-D084-C0543BF84D9F}"/>
          </ac:picMkLst>
        </pc:picChg>
        <pc:picChg chg="mod">
          <ac:chgData name="Jessica Henley" userId="63b1edf9-6e48-442a-9e00-04850b59a756" providerId="ADAL" clId="{D7E2F68E-A503-4B31-8CB2-DC1B28F456AF}" dt="2025-05-31T18:07:40.761" v="268"/>
          <ac:picMkLst>
            <pc:docMk/>
            <pc:sldMk cId="1075787680" sldId="280"/>
            <ac:picMk id="42" creationId="{F3AC12C3-D774-FE5C-56DE-245CCA5822A3}"/>
          </ac:picMkLst>
        </pc:picChg>
        <pc:picChg chg="mod">
          <ac:chgData name="Jessica Henley" userId="63b1edf9-6e48-442a-9e00-04850b59a756" providerId="ADAL" clId="{D7E2F68E-A503-4B31-8CB2-DC1B28F456AF}" dt="2025-05-31T19:11:07.323" v="2152"/>
          <ac:picMkLst>
            <pc:docMk/>
            <pc:sldMk cId="1075787680" sldId="280"/>
            <ac:picMk id="45" creationId="{2AD6DCEB-8293-D04C-9758-A579E3A1628C}"/>
          </ac:picMkLst>
        </pc:picChg>
        <pc:picChg chg="mod">
          <ac:chgData name="Jessica Henley" userId="63b1edf9-6e48-442a-9e00-04850b59a756" providerId="ADAL" clId="{D7E2F68E-A503-4B31-8CB2-DC1B28F456AF}" dt="2025-06-01T12:23:14.006" v="4546"/>
          <ac:picMkLst>
            <pc:docMk/>
            <pc:sldMk cId="1075787680" sldId="280"/>
            <ac:picMk id="45" creationId="{5364F4D8-5132-B646-CDFB-BD4C64BE8278}"/>
          </ac:picMkLst>
        </pc:picChg>
        <pc:picChg chg="mod">
          <ac:chgData name="Jessica Henley" userId="63b1edf9-6e48-442a-9e00-04850b59a756" providerId="ADAL" clId="{D7E2F68E-A503-4B31-8CB2-DC1B28F456AF}" dt="2025-05-31T19:27:28.040" v="2365"/>
          <ac:picMkLst>
            <pc:docMk/>
            <pc:sldMk cId="1075787680" sldId="280"/>
            <ac:picMk id="48" creationId="{048C2AB8-4D48-6DE5-CB60-6C7140D89B50}"/>
          </ac:picMkLst>
        </pc:picChg>
        <pc:picChg chg="mod">
          <ac:chgData name="Jessica Henley" userId="63b1edf9-6e48-442a-9e00-04850b59a756" providerId="ADAL" clId="{D7E2F68E-A503-4B31-8CB2-DC1B28F456AF}" dt="2025-06-01T12:23:52.137" v="4550"/>
          <ac:picMkLst>
            <pc:docMk/>
            <pc:sldMk cId="1075787680" sldId="280"/>
            <ac:picMk id="48" creationId="{FDB6EB8E-E85E-62F8-3930-D70A41BDBD14}"/>
          </ac:picMkLst>
        </pc:picChg>
        <pc:picChg chg="mod">
          <ac:chgData name="Jessica Henley" userId="63b1edf9-6e48-442a-9e00-04850b59a756" providerId="ADAL" clId="{D7E2F68E-A503-4B31-8CB2-DC1B28F456AF}" dt="2025-05-31T19:48:35.865" v="2622"/>
          <ac:picMkLst>
            <pc:docMk/>
            <pc:sldMk cId="1075787680" sldId="280"/>
            <ac:picMk id="53" creationId="{246456D5-E1A1-20CB-3274-CF0C8B528814}"/>
          </ac:picMkLst>
        </pc:picChg>
        <pc:picChg chg="mod">
          <ac:chgData name="Jessica Henley" userId="63b1edf9-6e48-442a-9e00-04850b59a756" providerId="ADAL" clId="{D7E2F68E-A503-4B31-8CB2-DC1B28F456AF}" dt="2025-06-01T12:25:11.344" v="4560"/>
          <ac:picMkLst>
            <pc:docMk/>
            <pc:sldMk cId="1075787680" sldId="280"/>
            <ac:picMk id="53" creationId="{9EF7AEC4-B4D2-1C6A-20FF-72CD63D77DB4}"/>
          </ac:picMkLst>
        </pc:picChg>
        <pc:picChg chg="mod">
          <ac:chgData name="Jessica Henley" userId="63b1edf9-6e48-442a-9e00-04850b59a756" providerId="ADAL" clId="{D7E2F68E-A503-4B31-8CB2-DC1B28F456AF}" dt="2025-05-31T20:38:17.500" v="2912"/>
          <ac:picMkLst>
            <pc:docMk/>
            <pc:sldMk cId="1075787680" sldId="280"/>
            <ac:picMk id="57" creationId="{9CD79A9C-9477-6027-0F1D-CDBA11FC82BA}"/>
          </ac:picMkLst>
        </pc:picChg>
        <pc:picChg chg="mod ord topLvl">
          <ac:chgData name="Jessica Henley" userId="63b1edf9-6e48-442a-9e00-04850b59a756" providerId="ADAL" clId="{D7E2F68E-A503-4B31-8CB2-DC1B28F456AF}" dt="2025-05-31T17:59:17.631" v="248" actId="164"/>
          <ac:picMkLst>
            <pc:docMk/>
            <pc:sldMk cId="1075787680" sldId="280"/>
            <ac:picMk id="85" creationId="{5CF24868-AC3E-1F7F-E655-7F620EAAA3DB}"/>
          </ac:picMkLst>
        </pc:picChg>
        <pc:picChg chg="mod topLvl">
          <ac:chgData name="Jessica Henley" userId="63b1edf9-6e48-442a-9e00-04850b59a756" providerId="ADAL" clId="{D7E2F68E-A503-4B31-8CB2-DC1B28F456AF}" dt="2025-05-31T17:44:15.854" v="53" actId="165"/>
          <ac:picMkLst>
            <pc:docMk/>
            <pc:sldMk cId="1075787680" sldId="280"/>
            <ac:picMk id="91" creationId="{5D96F2BD-B628-D112-2E38-FB30D72EF76F}"/>
          </ac:picMkLst>
        </pc:picChg>
        <pc:picChg chg="del mod topLvl">
          <ac:chgData name="Jessica Henley" userId="63b1edf9-6e48-442a-9e00-04850b59a756" providerId="ADAL" clId="{D7E2F68E-A503-4B31-8CB2-DC1B28F456AF}" dt="2025-05-31T18:02:37.200" v="261" actId="478"/>
          <ac:picMkLst>
            <pc:docMk/>
            <pc:sldMk cId="1075787680" sldId="280"/>
            <ac:picMk id="97" creationId="{79C69A43-9E36-291C-6CF0-244B275780D1}"/>
          </ac:picMkLst>
        </pc:picChg>
      </pc:sldChg>
      <pc:sldChg chg="addSp delSp modSp mod">
        <pc:chgData name="Jessica Henley" userId="63b1edf9-6e48-442a-9e00-04850b59a756" providerId="ADAL" clId="{D7E2F68E-A503-4B31-8CB2-DC1B28F456AF}" dt="2025-05-31T19:13:07.862" v="2172" actId="20577"/>
        <pc:sldMkLst>
          <pc:docMk/>
          <pc:sldMk cId="236446107" sldId="282"/>
        </pc:sldMkLst>
        <pc:spChg chg="add del mod">
          <ac:chgData name="Jessica Henley" userId="63b1edf9-6e48-442a-9e00-04850b59a756" providerId="ADAL" clId="{D7E2F68E-A503-4B31-8CB2-DC1B28F456AF}" dt="2025-05-31T19:09:34.026" v="2135" actId="21"/>
          <ac:spMkLst>
            <pc:docMk/>
            <pc:sldMk cId="236446107" sldId="282"/>
            <ac:spMk id="2" creationId="{BBAE7056-33CB-042F-9C08-4C85D672D509}"/>
          </ac:spMkLst>
        </pc:spChg>
        <pc:spChg chg="mod">
          <ac:chgData name="Jessica Henley" userId="63b1edf9-6e48-442a-9e00-04850b59a756" providerId="ADAL" clId="{D7E2F68E-A503-4B31-8CB2-DC1B28F456AF}" dt="2025-05-31T19:09:19.971" v="2133" actId="20577"/>
          <ac:spMkLst>
            <pc:docMk/>
            <pc:sldMk cId="236446107" sldId="282"/>
            <ac:spMk id="4" creationId="{04CCCD1D-24F7-7818-1BC1-F700A1D07CDD}"/>
          </ac:spMkLst>
        </pc:spChg>
        <pc:spChg chg="mod">
          <ac:chgData name="Jessica Henley" userId="63b1edf9-6e48-442a-9e00-04850b59a756" providerId="ADAL" clId="{D7E2F68E-A503-4B31-8CB2-DC1B28F456AF}" dt="2025-05-31T19:12:26.638" v="2163"/>
          <ac:spMkLst>
            <pc:docMk/>
            <pc:sldMk cId="236446107" sldId="282"/>
            <ac:spMk id="6" creationId="{B4257058-8EBA-F838-2F6F-D95853082A19}"/>
          </ac:spMkLst>
        </pc:spChg>
        <pc:spChg chg="mod">
          <ac:chgData name="Jessica Henley" userId="63b1edf9-6e48-442a-9e00-04850b59a756" providerId="ADAL" clId="{D7E2F68E-A503-4B31-8CB2-DC1B28F456AF}" dt="2025-05-31T19:12:26.638" v="2163"/>
          <ac:spMkLst>
            <pc:docMk/>
            <pc:sldMk cId="236446107" sldId="282"/>
            <ac:spMk id="7" creationId="{24420F9B-41EA-F55E-B767-71A05C531AEE}"/>
          </ac:spMkLst>
        </pc:spChg>
        <pc:spChg chg="mod">
          <ac:chgData name="Jessica Henley" userId="63b1edf9-6e48-442a-9e00-04850b59a756" providerId="ADAL" clId="{D7E2F68E-A503-4B31-8CB2-DC1B28F456AF}" dt="2025-05-31T19:12:26.638" v="2163"/>
          <ac:spMkLst>
            <pc:docMk/>
            <pc:sldMk cId="236446107" sldId="282"/>
            <ac:spMk id="10" creationId="{3CA6D510-EF0C-53F0-89C9-D2D532BD8C2A}"/>
          </ac:spMkLst>
        </pc:spChg>
        <pc:spChg chg="mod">
          <ac:chgData name="Jessica Henley" userId="63b1edf9-6e48-442a-9e00-04850b59a756" providerId="ADAL" clId="{D7E2F68E-A503-4B31-8CB2-DC1B28F456AF}" dt="2025-05-31T19:12:26.638" v="2163"/>
          <ac:spMkLst>
            <pc:docMk/>
            <pc:sldMk cId="236446107" sldId="282"/>
            <ac:spMk id="11" creationId="{D89246D0-8309-BA7D-0B6F-F1FC9A1BBEA4}"/>
          </ac:spMkLst>
        </pc:spChg>
        <pc:spChg chg="mod">
          <ac:chgData name="Jessica Henley" userId="63b1edf9-6e48-442a-9e00-04850b59a756" providerId="ADAL" clId="{D7E2F68E-A503-4B31-8CB2-DC1B28F456AF}" dt="2025-05-31T19:12:26.638" v="2163"/>
          <ac:spMkLst>
            <pc:docMk/>
            <pc:sldMk cId="236446107" sldId="282"/>
            <ac:spMk id="15" creationId="{5A28B097-8683-E6E7-33B4-291B0990C4BB}"/>
          </ac:spMkLst>
        </pc:spChg>
        <pc:spChg chg="mod">
          <ac:chgData name="Jessica Henley" userId="63b1edf9-6e48-442a-9e00-04850b59a756" providerId="ADAL" clId="{D7E2F68E-A503-4B31-8CB2-DC1B28F456AF}" dt="2025-05-31T19:12:26.638" v="2163"/>
          <ac:spMkLst>
            <pc:docMk/>
            <pc:sldMk cId="236446107" sldId="282"/>
            <ac:spMk id="16" creationId="{D44E4E55-34FD-D02E-3C37-EF931CD2A0A9}"/>
          </ac:spMkLst>
        </pc:spChg>
        <pc:spChg chg="mod">
          <ac:chgData name="Jessica Henley" userId="63b1edf9-6e48-442a-9e00-04850b59a756" providerId="ADAL" clId="{D7E2F68E-A503-4B31-8CB2-DC1B28F456AF}" dt="2025-05-31T19:12:26.638" v="2163"/>
          <ac:spMkLst>
            <pc:docMk/>
            <pc:sldMk cId="236446107" sldId="282"/>
            <ac:spMk id="17" creationId="{A58B393A-6D7C-4CCC-2021-4E7B678678B5}"/>
          </ac:spMkLst>
        </pc:spChg>
        <pc:spChg chg="mod">
          <ac:chgData name="Jessica Henley" userId="63b1edf9-6e48-442a-9e00-04850b59a756" providerId="ADAL" clId="{D7E2F68E-A503-4B31-8CB2-DC1B28F456AF}" dt="2025-05-31T19:12:26.638" v="2163"/>
          <ac:spMkLst>
            <pc:docMk/>
            <pc:sldMk cId="236446107" sldId="282"/>
            <ac:spMk id="19" creationId="{2EBA92F8-EA6D-B028-BB4D-43E215443181}"/>
          </ac:spMkLst>
        </pc:spChg>
        <pc:spChg chg="mod">
          <ac:chgData name="Jessica Henley" userId="63b1edf9-6e48-442a-9e00-04850b59a756" providerId="ADAL" clId="{D7E2F68E-A503-4B31-8CB2-DC1B28F456AF}" dt="2025-05-31T19:12:26.638" v="2163"/>
          <ac:spMkLst>
            <pc:docMk/>
            <pc:sldMk cId="236446107" sldId="282"/>
            <ac:spMk id="23" creationId="{286C7067-8397-BAA6-7BB8-F121EB5451D9}"/>
          </ac:spMkLst>
        </pc:spChg>
        <pc:spChg chg="mod">
          <ac:chgData name="Jessica Henley" userId="63b1edf9-6e48-442a-9e00-04850b59a756" providerId="ADAL" clId="{D7E2F68E-A503-4B31-8CB2-DC1B28F456AF}" dt="2025-05-31T19:12:26.638" v="2163"/>
          <ac:spMkLst>
            <pc:docMk/>
            <pc:sldMk cId="236446107" sldId="282"/>
            <ac:spMk id="34" creationId="{32AD4817-313F-718C-7B74-771B6BB54090}"/>
          </ac:spMkLst>
        </pc:spChg>
        <pc:spChg chg="mod">
          <ac:chgData name="Jessica Henley" userId="63b1edf9-6e48-442a-9e00-04850b59a756" providerId="ADAL" clId="{D7E2F68E-A503-4B31-8CB2-DC1B28F456AF}" dt="2025-05-31T19:12:33.806" v="2164"/>
          <ac:spMkLst>
            <pc:docMk/>
            <pc:sldMk cId="236446107" sldId="282"/>
            <ac:spMk id="39" creationId="{C7F79C34-E7DF-C42A-BE89-81FFCC1912F1}"/>
          </ac:spMkLst>
        </pc:spChg>
        <pc:spChg chg="mod">
          <ac:chgData name="Jessica Henley" userId="63b1edf9-6e48-442a-9e00-04850b59a756" providerId="ADAL" clId="{D7E2F68E-A503-4B31-8CB2-DC1B28F456AF}" dt="2025-05-31T19:12:33.806" v="2164"/>
          <ac:spMkLst>
            <pc:docMk/>
            <pc:sldMk cId="236446107" sldId="282"/>
            <ac:spMk id="40" creationId="{F3FB81C9-6DF4-20A0-F859-B5C19F9321EE}"/>
          </ac:spMkLst>
        </pc:spChg>
        <pc:spChg chg="mod">
          <ac:chgData name="Jessica Henley" userId="63b1edf9-6e48-442a-9e00-04850b59a756" providerId="ADAL" clId="{D7E2F68E-A503-4B31-8CB2-DC1B28F456AF}" dt="2025-05-31T19:12:33.806" v="2164"/>
          <ac:spMkLst>
            <pc:docMk/>
            <pc:sldMk cId="236446107" sldId="282"/>
            <ac:spMk id="42" creationId="{6F7D4B22-3D66-5FE4-EEDB-AEBF9F0EDD0B}"/>
          </ac:spMkLst>
        </pc:spChg>
        <pc:spChg chg="mod">
          <ac:chgData name="Jessica Henley" userId="63b1edf9-6e48-442a-9e00-04850b59a756" providerId="ADAL" clId="{D7E2F68E-A503-4B31-8CB2-DC1B28F456AF}" dt="2025-05-31T19:12:33.806" v="2164"/>
          <ac:spMkLst>
            <pc:docMk/>
            <pc:sldMk cId="236446107" sldId="282"/>
            <ac:spMk id="46" creationId="{AEEEAC4D-CA07-5781-696C-3FD460C36869}"/>
          </ac:spMkLst>
        </pc:spChg>
        <pc:spChg chg="mod">
          <ac:chgData name="Jessica Henley" userId="63b1edf9-6e48-442a-9e00-04850b59a756" providerId="ADAL" clId="{D7E2F68E-A503-4B31-8CB2-DC1B28F456AF}" dt="2025-05-31T19:12:33.806" v="2164"/>
          <ac:spMkLst>
            <pc:docMk/>
            <pc:sldMk cId="236446107" sldId="282"/>
            <ac:spMk id="47" creationId="{90591AAC-6243-4AA0-1CF4-A592C8C17709}"/>
          </ac:spMkLst>
        </pc:spChg>
        <pc:spChg chg="mod">
          <ac:chgData name="Jessica Henley" userId="63b1edf9-6e48-442a-9e00-04850b59a756" providerId="ADAL" clId="{D7E2F68E-A503-4B31-8CB2-DC1B28F456AF}" dt="2025-05-31T19:12:33.806" v="2164"/>
          <ac:spMkLst>
            <pc:docMk/>
            <pc:sldMk cId="236446107" sldId="282"/>
            <ac:spMk id="48" creationId="{016A0C1E-8A56-01C9-80F6-7B7C6326E64A}"/>
          </ac:spMkLst>
        </pc:spChg>
        <pc:spChg chg="mod">
          <ac:chgData name="Jessica Henley" userId="63b1edf9-6e48-442a-9e00-04850b59a756" providerId="ADAL" clId="{D7E2F68E-A503-4B31-8CB2-DC1B28F456AF}" dt="2025-05-31T19:12:33.806" v="2164"/>
          <ac:spMkLst>
            <pc:docMk/>
            <pc:sldMk cId="236446107" sldId="282"/>
            <ac:spMk id="50" creationId="{51539A0C-FE66-495B-8CA6-90D7932DCC79}"/>
          </ac:spMkLst>
        </pc:spChg>
        <pc:spChg chg="mod">
          <ac:chgData name="Jessica Henley" userId="63b1edf9-6e48-442a-9e00-04850b59a756" providerId="ADAL" clId="{D7E2F68E-A503-4B31-8CB2-DC1B28F456AF}" dt="2025-05-31T19:12:33.806" v="2164"/>
          <ac:spMkLst>
            <pc:docMk/>
            <pc:sldMk cId="236446107" sldId="282"/>
            <ac:spMk id="54" creationId="{D50ED5C1-FFFD-691B-C842-6A4B20BE2B1C}"/>
          </ac:spMkLst>
        </pc:spChg>
        <pc:spChg chg="mod">
          <ac:chgData name="Jessica Henley" userId="63b1edf9-6e48-442a-9e00-04850b59a756" providerId="ADAL" clId="{D7E2F68E-A503-4B31-8CB2-DC1B28F456AF}" dt="2025-05-31T19:13:07.862" v="2172" actId="20577"/>
          <ac:spMkLst>
            <pc:docMk/>
            <pc:sldMk cId="236446107" sldId="282"/>
            <ac:spMk id="55" creationId="{91A1E5B2-237C-5D8E-66B5-39762E63490F}"/>
          </ac:spMkLst>
        </pc:spChg>
        <pc:spChg chg="add del mod">
          <ac:chgData name="Jessica Henley" userId="63b1edf9-6e48-442a-9e00-04850b59a756" providerId="ADAL" clId="{D7E2F68E-A503-4B31-8CB2-DC1B28F456AF}" dt="2025-05-31T19:12:50.348" v="2166" actId="478"/>
          <ac:spMkLst>
            <pc:docMk/>
            <pc:sldMk cId="236446107" sldId="282"/>
            <ac:spMk id="56" creationId="{7E6339DB-9AA4-E12F-AFE8-7784269F5195}"/>
          </ac:spMkLst>
        </pc:spChg>
        <pc:spChg chg="mod">
          <ac:chgData name="Jessica Henley" userId="63b1edf9-6e48-442a-9e00-04850b59a756" providerId="ADAL" clId="{D7E2F68E-A503-4B31-8CB2-DC1B28F456AF}" dt="2025-05-31T19:12:33.806" v="2164"/>
          <ac:spMkLst>
            <pc:docMk/>
            <pc:sldMk cId="236446107" sldId="282"/>
            <ac:spMk id="60" creationId="{25125244-D828-BDF5-B659-E92CACB71883}"/>
          </ac:spMkLst>
        </pc:spChg>
        <pc:grpChg chg="del">
          <ac:chgData name="Jessica Henley" userId="63b1edf9-6e48-442a-9e00-04850b59a756" providerId="ADAL" clId="{D7E2F68E-A503-4B31-8CB2-DC1B28F456AF}" dt="2025-05-31T19:12:20.536" v="2161" actId="478"/>
          <ac:grpSpMkLst>
            <pc:docMk/>
            <pc:sldMk cId="236446107" sldId="282"/>
            <ac:grpSpMk id="28" creationId="{E24AC97A-4E31-C1E7-62F7-B4B6105F2CA0}"/>
          </ac:grpSpMkLst>
        </pc:grpChg>
        <pc:grpChg chg="mod">
          <ac:chgData name="Jessica Henley" userId="63b1edf9-6e48-442a-9e00-04850b59a756" providerId="ADAL" clId="{D7E2F68E-A503-4B31-8CB2-DC1B28F456AF}" dt="2025-05-31T19:12:41.461" v="2165" actId="1076"/>
          <ac:grpSpMkLst>
            <pc:docMk/>
            <pc:sldMk cId="236446107" sldId="282"/>
            <ac:grpSpMk id="36" creationId="{2E438BDD-F576-0884-FA36-C60A25BE4674}"/>
          </ac:grpSpMkLst>
        </pc:grpChg>
        <pc:grpChg chg="mod">
          <ac:chgData name="Jessica Henley" userId="63b1edf9-6e48-442a-9e00-04850b59a756" providerId="ADAL" clId="{D7E2F68E-A503-4B31-8CB2-DC1B28F456AF}" dt="2025-05-31T19:12:41.461" v="2165" actId="1076"/>
          <ac:grpSpMkLst>
            <pc:docMk/>
            <pc:sldMk cId="236446107" sldId="282"/>
            <ac:grpSpMk id="57" creationId="{52F27B81-C3C8-F985-EED8-E414E366597E}"/>
          </ac:grpSpMkLst>
        </pc:grpChg>
        <pc:graphicFrameChg chg="del">
          <ac:chgData name="Jessica Henley" userId="63b1edf9-6e48-442a-9e00-04850b59a756" providerId="ADAL" clId="{D7E2F68E-A503-4B31-8CB2-DC1B28F456AF}" dt="2025-05-31T19:12:25.208" v="2162" actId="478"/>
          <ac:graphicFrameMkLst>
            <pc:docMk/>
            <pc:sldMk cId="236446107" sldId="282"/>
            <ac:graphicFrameMk id="18" creationId="{EEAC0349-37D2-EA6E-10D2-9E8224E00DC1}"/>
          </ac:graphicFrameMkLst>
        </pc:graphicFrameChg>
      </pc:sldChg>
      <pc:sldChg chg="addSp delSp modSp mod modAnim">
        <pc:chgData name="Jessica Henley" userId="63b1edf9-6e48-442a-9e00-04850b59a756" providerId="ADAL" clId="{D7E2F68E-A503-4B31-8CB2-DC1B28F456AF}" dt="2025-05-31T19:30:43.207" v="2399" actId="478"/>
        <pc:sldMkLst>
          <pc:docMk/>
          <pc:sldMk cId="2212010097" sldId="284"/>
        </pc:sldMkLst>
        <pc:spChg chg="add del mod">
          <ac:chgData name="Jessica Henley" userId="63b1edf9-6e48-442a-9e00-04850b59a756" providerId="ADAL" clId="{D7E2F68E-A503-4B31-8CB2-DC1B28F456AF}" dt="2025-05-31T19:24:16.464" v="2331" actId="21"/>
          <ac:spMkLst>
            <pc:docMk/>
            <pc:sldMk cId="2212010097" sldId="284"/>
            <ac:spMk id="2" creationId="{D4253C5A-2526-7970-4C5E-9A1B3DC41BDD}"/>
          </ac:spMkLst>
        </pc:spChg>
        <pc:spChg chg="add del mod">
          <ac:chgData name="Jessica Henley" userId="63b1edf9-6e48-442a-9e00-04850b59a756" providerId="ADAL" clId="{D7E2F68E-A503-4B31-8CB2-DC1B28F456AF}" dt="2025-05-31T19:24:23.307" v="2333" actId="21"/>
          <ac:spMkLst>
            <pc:docMk/>
            <pc:sldMk cId="2212010097" sldId="284"/>
            <ac:spMk id="3" creationId="{784CBC8A-0D36-2D62-A7D9-7E6DDE6EE138}"/>
          </ac:spMkLst>
        </pc:spChg>
        <pc:spChg chg="mod">
          <ac:chgData name="Jessica Henley" userId="63b1edf9-6e48-442a-9e00-04850b59a756" providerId="ADAL" clId="{D7E2F68E-A503-4B31-8CB2-DC1B28F456AF}" dt="2025-05-31T17:47:37.237" v="92" actId="20577"/>
          <ac:spMkLst>
            <pc:docMk/>
            <pc:sldMk cId="2212010097" sldId="284"/>
            <ac:spMk id="4" creationId="{04CCCD1D-24F7-7818-1BC1-F700A1D07CDD}"/>
          </ac:spMkLst>
        </pc:spChg>
        <pc:spChg chg="add del mod">
          <ac:chgData name="Jessica Henley" userId="63b1edf9-6e48-442a-9e00-04850b59a756" providerId="ADAL" clId="{D7E2F68E-A503-4B31-8CB2-DC1B28F456AF}" dt="2025-05-31T19:24:46.730" v="2339" actId="21"/>
          <ac:spMkLst>
            <pc:docMk/>
            <pc:sldMk cId="2212010097" sldId="284"/>
            <ac:spMk id="5" creationId="{29C8057C-789E-0F0D-DEEA-D6E3E75C6B06}"/>
          </ac:spMkLst>
        </pc:spChg>
        <pc:spChg chg="add del mod">
          <ac:chgData name="Jessica Henley" userId="63b1edf9-6e48-442a-9e00-04850b59a756" providerId="ADAL" clId="{D7E2F68E-A503-4B31-8CB2-DC1B28F456AF}" dt="2025-05-31T19:25:09.310" v="2344" actId="21"/>
          <ac:spMkLst>
            <pc:docMk/>
            <pc:sldMk cId="2212010097" sldId="284"/>
            <ac:spMk id="6" creationId="{29FFB59C-4666-29E3-3D87-D882FA4845B1}"/>
          </ac:spMkLst>
        </pc:spChg>
        <pc:spChg chg="add mod">
          <ac:chgData name="Jessica Henley" userId="63b1edf9-6e48-442a-9e00-04850b59a756" providerId="ADAL" clId="{D7E2F68E-A503-4B31-8CB2-DC1B28F456AF}" dt="2025-05-31T19:30:31.922" v="2395" actId="1076"/>
          <ac:spMkLst>
            <pc:docMk/>
            <pc:sldMk cId="2212010097" sldId="284"/>
            <ac:spMk id="7" creationId="{4832652D-94A7-1771-E95E-10CE9039D914}"/>
          </ac:spMkLst>
        </pc:spChg>
        <pc:spChg chg="add mod">
          <ac:chgData name="Jessica Henley" userId="63b1edf9-6e48-442a-9e00-04850b59a756" providerId="ADAL" clId="{D7E2F68E-A503-4B31-8CB2-DC1B28F456AF}" dt="2025-05-31T19:30:31.922" v="2395" actId="1076"/>
          <ac:spMkLst>
            <pc:docMk/>
            <pc:sldMk cId="2212010097" sldId="284"/>
            <ac:spMk id="8" creationId="{4F2A934F-2C58-1FC5-7EA3-85482CA38811}"/>
          </ac:spMkLst>
        </pc:spChg>
        <pc:spChg chg="add del mod">
          <ac:chgData name="Jessica Henley" userId="63b1edf9-6e48-442a-9e00-04850b59a756" providerId="ADAL" clId="{D7E2F68E-A503-4B31-8CB2-DC1B28F456AF}" dt="2025-05-31T19:30:43.207" v="2399" actId="478"/>
          <ac:spMkLst>
            <pc:docMk/>
            <pc:sldMk cId="2212010097" sldId="284"/>
            <ac:spMk id="9" creationId="{83984FC4-3C52-D343-F40D-0FDA85CD173B}"/>
          </ac:spMkLst>
        </pc:spChg>
        <pc:spChg chg="add del mod">
          <ac:chgData name="Jessica Henley" userId="63b1edf9-6e48-442a-9e00-04850b59a756" providerId="ADAL" clId="{D7E2F68E-A503-4B31-8CB2-DC1B28F456AF}" dt="2025-05-31T19:30:37.744" v="2397" actId="478"/>
          <ac:spMkLst>
            <pc:docMk/>
            <pc:sldMk cId="2212010097" sldId="284"/>
            <ac:spMk id="10" creationId="{496E6F40-A126-27BC-A976-8E78372A1A6E}"/>
          </ac:spMkLst>
        </pc:spChg>
        <pc:spChg chg="mod">
          <ac:chgData name="Jessica Henley" userId="63b1edf9-6e48-442a-9e00-04850b59a756" providerId="ADAL" clId="{D7E2F68E-A503-4B31-8CB2-DC1B28F456AF}" dt="2025-05-31T19:30:26.827" v="2394"/>
          <ac:spMkLst>
            <pc:docMk/>
            <pc:sldMk cId="2212010097" sldId="284"/>
            <ac:spMk id="14" creationId="{6640A871-11B9-07B8-9895-C7FC5B7D8883}"/>
          </ac:spMkLst>
        </pc:spChg>
        <pc:spChg chg="mod">
          <ac:chgData name="Jessica Henley" userId="63b1edf9-6e48-442a-9e00-04850b59a756" providerId="ADAL" clId="{D7E2F68E-A503-4B31-8CB2-DC1B28F456AF}" dt="2025-05-31T17:47:21.672" v="91" actId="14100"/>
          <ac:spMkLst>
            <pc:docMk/>
            <pc:sldMk cId="2212010097" sldId="284"/>
            <ac:spMk id="43" creationId="{15C80923-62A8-BB07-08F1-C144961070B3}"/>
          </ac:spMkLst>
        </pc:spChg>
        <pc:grpChg chg="add mod">
          <ac:chgData name="Jessica Henley" userId="63b1edf9-6e48-442a-9e00-04850b59a756" providerId="ADAL" clId="{D7E2F68E-A503-4B31-8CB2-DC1B28F456AF}" dt="2025-05-31T19:30:31.922" v="2395" actId="1076"/>
          <ac:grpSpMkLst>
            <pc:docMk/>
            <pc:sldMk cId="2212010097" sldId="284"/>
            <ac:grpSpMk id="11" creationId="{CB3AC9A0-1B86-1F92-B9D2-51E4738833E8}"/>
          </ac:grpSpMkLst>
        </pc:grpChg>
        <pc:grpChg chg="mod">
          <ac:chgData name="Jessica Henley" userId="63b1edf9-6e48-442a-9e00-04850b59a756" providerId="ADAL" clId="{D7E2F68E-A503-4B31-8CB2-DC1B28F456AF}" dt="2025-05-31T19:30:26.827" v="2394"/>
          <ac:grpSpMkLst>
            <pc:docMk/>
            <pc:sldMk cId="2212010097" sldId="284"/>
            <ac:grpSpMk id="13" creationId="{ED1494E4-05A6-576A-D1C0-129D52A26738}"/>
          </ac:grpSpMkLst>
        </pc:grpChg>
        <pc:grpChg chg="del">
          <ac:chgData name="Jessica Henley" userId="63b1edf9-6e48-442a-9e00-04850b59a756" providerId="ADAL" clId="{D7E2F68E-A503-4B31-8CB2-DC1B28F456AF}" dt="2025-05-31T19:30:25.536" v="2393" actId="478"/>
          <ac:grpSpMkLst>
            <pc:docMk/>
            <pc:sldMk cId="2212010097" sldId="284"/>
            <ac:grpSpMk id="3072" creationId="{E65DC780-E7F0-9E79-2486-B4036106423F}"/>
          </ac:grpSpMkLst>
        </pc:grpChg>
        <pc:picChg chg="mod">
          <ac:chgData name="Jessica Henley" userId="63b1edf9-6e48-442a-9e00-04850b59a756" providerId="ADAL" clId="{D7E2F68E-A503-4B31-8CB2-DC1B28F456AF}" dt="2025-05-31T19:30:26.827" v="2394"/>
          <ac:picMkLst>
            <pc:docMk/>
            <pc:sldMk cId="2212010097" sldId="284"/>
            <ac:picMk id="15" creationId="{2E449C5A-CFC1-B8DF-338D-4303421B8C6E}"/>
          </ac:picMkLst>
        </pc:picChg>
        <pc:cxnChg chg="mod">
          <ac:chgData name="Jessica Henley" userId="63b1edf9-6e48-442a-9e00-04850b59a756" providerId="ADAL" clId="{D7E2F68E-A503-4B31-8CB2-DC1B28F456AF}" dt="2025-05-31T19:30:26.827" v="2394"/>
          <ac:cxnSpMkLst>
            <pc:docMk/>
            <pc:sldMk cId="2212010097" sldId="284"/>
            <ac:cxnSpMk id="12" creationId="{6392C928-694E-DB8A-A45D-C90BA53459D3}"/>
          </ac:cxnSpMkLst>
        </pc:cxnChg>
      </pc:sldChg>
      <pc:sldChg chg="addSp delSp modSp mod modAnim">
        <pc:chgData name="Jessica Henley" userId="63b1edf9-6e48-442a-9e00-04850b59a756" providerId="ADAL" clId="{D7E2F68E-A503-4B31-8CB2-DC1B28F456AF}" dt="2025-05-31T19:50:30.143" v="2642" actId="21"/>
        <pc:sldMkLst>
          <pc:docMk/>
          <pc:sldMk cId="3576960306" sldId="286"/>
        </pc:sldMkLst>
        <pc:spChg chg="mod">
          <ac:chgData name="Jessica Henley" userId="63b1edf9-6e48-442a-9e00-04850b59a756" providerId="ADAL" clId="{D7E2F68E-A503-4B31-8CB2-DC1B28F456AF}" dt="2025-05-31T17:55:57.720" v="220" actId="14100"/>
          <ac:spMkLst>
            <pc:docMk/>
            <pc:sldMk cId="3576960306" sldId="286"/>
            <ac:spMk id="4" creationId="{04CCCD1D-24F7-7818-1BC1-F700A1D07CDD}"/>
          </ac:spMkLst>
        </pc:spChg>
        <pc:spChg chg="mod">
          <ac:chgData name="Jessica Henley" userId="63b1edf9-6e48-442a-9e00-04850b59a756" providerId="ADAL" clId="{D7E2F68E-A503-4B31-8CB2-DC1B28F456AF}" dt="2025-05-31T19:49:59.797" v="2637"/>
          <ac:spMkLst>
            <pc:docMk/>
            <pc:sldMk cId="3576960306" sldId="286"/>
            <ac:spMk id="10" creationId="{FF2543C4-99B4-07A2-144F-5BCC4EBB2E45}"/>
          </ac:spMkLst>
        </pc:spChg>
        <pc:spChg chg="add del mod">
          <ac:chgData name="Jessica Henley" userId="63b1edf9-6e48-442a-9e00-04850b59a756" providerId="ADAL" clId="{D7E2F68E-A503-4B31-8CB2-DC1B28F456AF}" dt="2025-05-31T19:50:30.143" v="2642" actId="21"/>
          <ac:spMkLst>
            <pc:docMk/>
            <pc:sldMk cId="3576960306" sldId="286"/>
            <ac:spMk id="12" creationId="{3DB5B2FC-F3F0-321E-BF71-380DF017F01D}"/>
          </ac:spMkLst>
        </pc:spChg>
        <pc:spChg chg="mod">
          <ac:chgData name="Jessica Henley" userId="63b1edf9-6e48-442a-9e00-04850b59a756" providerId="ADAL" clId="{D7E2F68E-A503-4B31-8CB2-DC1B28F456AF}" dt="2025-05-31T19:49:41.562" v="2631"/>
          <ac:spMkLst>
            <pc:docMk/>
            <pc:sldMk cId="3576960306" sldId="286"/>
            <ac:spMk id="18" creationId="{AA1BB422-B1EF-50A0-DCBB-F947BDE80DA0}"/>
          </ac:spMkLst>
        </pc:spChg>
        <pc:grpChg chg="add mod">
          <ac:chgData name="Jessica Henley" userId="63b1edf9-6e48-442a-9e00-04850b59a756" providerId="ADAL" clId="{D7E2F68E-A503-4B31-8CB2-DC1B28F456AF}" dt="2025-05-31T19:49:41.562" v="2631"/>
          <ac:grpSpMkLst>
            <pc:docMk/>
            <pc:sldMk cId="3576960306" sldId="286"/>
            <ac:grpSpMk id="2" creationId="{2B03781F-C7AF-E98B-5BFB-3C1B53E90819}"/>
          </ac:grpSpMkLst>
        </pc:grpChg>
        <pc:grpChg chg="add del mod">
          <ac:chgData name="Jessica Henley" userId="63b1edf9-6e48-442a-9e00-04850b59a756" providerId="ADAL" clId="{D7E2F68E-A503-4B31-8CB2-DC1B28F456AF}" dt="2025-05-31T19:50:01.222" v="2638" actId="21"/>
          <ac:grpSpMkLst>
            <pc:docMk/>
            <pc:sldMk cId="3576960306" sldId="286"/>
            <ac:grpSpMk id="6" creationId="{9F14331E-E4EE-04D6-ED84-9559C252ABD0}"/>
          </ac:grpSpMkLst>
        </pc:grpChg>
        <pc:grpChg chg="mod">
          <ac:chgData name="Jessica Henley" userId="63b1edf9-6e48-442a-9e00-04850b59a756" providerId="ADAL" clId="{D7E2F68E-A503-4B31-8CB2-DC1B28F456AF}" dt="2025-05-31T19:49:41.562" v="2631"/>
          <ac:grpSpMkLst>
            <pc:docMk/>
            <pc:sldMk cId="3576960306" sldId="286"/>
            <ac:grpSpMk id="7" creationId="{BAF79173-A8D7-7B42-4048-4739C3D80D4D}"/>
          </ac:grpSpMkLst>
        </pc:grpChg>
        <pc:grpChg chg="mod">
          <ac:chgData name="Jessica Henley" userId="63b1edf9-6e48-442a-9e00-04850b59a756" providerId="ADAL" clId="{D7E2F68E-A503-4B31-8CB2-DC1B28F456AF}" dt="2025-05-31T19:49:59.797" v="2637"/>
          <ac:grpSpMkLst>
            <pc:docMk/>
            <pc:sldMk cId="3576960306" sldId="286"/>
            <ac:grpSpMk id="9" creationId="{513D0EA1-1FA1-3A2C-4685-3A298A9E1655}"/>
          </ac:grpSpMkLst>
        </pc:grpChg>
        <pc:grpChg chg="del">
          <ac:chgData name="Jessica Henley" userId="63b1edf9-6e48-442a-9e00-04850b59a756" providerId="ADAL" clId="{D7E2F68E-A503-4B31-8CB2-DC1B28F456AF}" dt="2025-05-31T19:48:02.592" v="2620" actId="478"/>
          <ac:grpSpMkLst>
            <pc:docMk/>
            <pc:sldMk cId="3576960306" sldId="286"/>
            <ac:grpSpMk id="15" creationId="{388BD26F-44D0-2411-8AC4-8989EB075916}"/>
          </ac:grpSpMkLst>
        </pc:grpChg>
        <pc:grpChg chg="del">
          <ac:chgData name="Jessica Henley" userId="63b1edf9-6e48-442a-9e00-04850b59a756" providerId="ADAL" clId="{D7E2F68E-A503-4B31-8CB2-DC1B28F456AF}" dt="2025-05-31T19:48:08.910" v="2621" actId="478"/>
          <ac:grpSpMkLst>
            <pc:docMk/>
            <pc:sldMk cId="3576960306" sldId="286"/>
            <ac:grpSpMk id="20" creationId="{8C8AA114-7A42-AFB1-CD9E-75103D8BE562}"/>
          </ac:grpSpMkLst>
        </pc:grpChg>
        <pc:picChg chg="mod">
          <ac:chgData name="Jessica Henley" userId="63b1edf9-6e48-442a-9e00-04850b59a756" providerId="ADAL" clId="{D7E2F68E-A503-4B31-8CB2-DC1B28F456AF}" dt="2025-05-31T19:49:59.797" v="2637"/>
          <ac:picMkLst>
            <pc:docMk/>
            <pc:sldMk cId="3576960306" sldId="286"/>
            <ac:picMk id="11" creationId="{6970EA6C-2606-829B-8AEE-D3B1B0809810}"/>
          </ac:picMkLst>
        </pc:picChg>
        <pc:picChg chg="mod">
          <ac:chgData name="Jessica Henley" userId="63b1edf9-6e48-442a-9e00-04850b59a756" providerId="ADAL" clId="{D7E2F68E-A503-4B31-8CB2-DC1B28F456AF}" dt="2025-05-31T19:49:41.562" v="2631"/>
          <ac:picMkLst>
            <pc:docMk/>
            <pc:sldMk cId="3576960306" sldId="286"/>
            <ac:picMk id="19" creationId="{61352F7C-E0FB-94F8-6B85-995423EC1EA7}"/>
          </ac:picMkLst>
        </pc:picChg>
        <pc:cxnChg chg="add del mod">
          <ac:chgData name="Jessica Henley" userId="63b1edf9-6e48-442a-9e00-04850b59a756" providerId="ADAL" clId="{D7E2F68E-A503-4B31-8CB2-DC1B28F456AF}" dt="2025-05-31T19:49:43.392" v="2632" actId="21"/>
          <ac:cxnSpMkLst>
            <pc:docMk/>
            <pc:sldMk cId="3576960306" sldId="286"/>
            <ac:cxnSpMk id="3" creationId="{22E27F64-04F0-8FD2-5B29-B94B72313C98}"/>
          </ac:cxnSpMkLst>
        </pc:cxnChg>
        <pc:cxnChg chg="mod">
          <ac:chgData name="Jessica Henley" userId="63b1edf9-6e48-442a-9e00-04850b59a756" providerId="ADAL" clId="{D7E2F68E-A503-4B31-8CB2-DC1B28F456AF}" dt="2025-05-31T19:49:41.562" v="2631"/>
          <ac:cxnSpMkLst>
            <pc:docMk/>
            <pc:sldMk cId="3576960306" sldId="286"/>
            <ac:cxnSpMk id="5" creationId="{573A5413-33BB-713C-9391-F35CE50A7806}"/>
          </ac:cxnSpMkLst>
        </pc:cxnChg>
        <pc:cxnChg chg="mod">
          <ac:chgData name="Jessica Henley" userId="63b1edf9-6e48-442a-9e00-04850b59a756" providerId="ADAL" clId="{D7E2F68E-A503-4B31-8CB2-DC1B28F456AF}" dt="2025-05-31T19:49:59.797" v="2637"/>
          <ac:cxnSpMkLst>
            <pc:docMk/>
            <pc:sldMk cId="3576960306" sldId="286"/>
            <ac:cxnSpMk id="8" creationId="{2E076D13-8A1E-CE37-3B5E-68E408AEDC68}"/>
          </ac:cxnSpMkLst>
        </pc:cxnChg>
      </pc:sldChg>
      <pc:sldChg chg="addSp delSp modSp mod">
        <pc:chgData name="Jessica Henley" userId="63b1edf9-6e48-442a-9e00-04850b59a756" providerId="ADAL" clId="{D7E2F68E-A503-4B31-8CB2-DC1B28F456AF}" dt="2025-05-31T20:40:39.861" v="2933" actId="478"/>
        <pc:sldMkLst>
          <pc:docMk/>
          <pc:sldMk cId="2415979649" sldId="288"/>
        </pc:sldMkLst>
        <pc:spChg chg="add del mod">
          <ac:chgData name="Jessica Henley" userId="63b1edf9-6e48-442a-9e00-04850b59a756" providerId="ADAL" clId="{D7E2F68E-A503-4B31-8CB2-DC1B28F456AF}" dt="2025-05-31T20:39:21.059" v="2921" actId="21"/>
          <ac:spMkLst>
            <pc:docMk/>
            <pc:sldMk cId="2415979649" sldId="288"/>
            <ac:spMk id="2" creationId="{B04B49FE-68BC-C54E-C8F6-E0A778AAB54F}"/>
          </ac:spMkLst>
        </pc:spChg>
        <pc:spChg chg="mod">
          <ac:chgData name="Jessica Henley" userId="63b1edf9-6e48-442a-9e00-04850b59a756" providerId="ADAL" clId="{D7E2F68E-A503-4B31-8CB2-DC1B28F456AF}" dt="2025-05-31T20:40:26.552" v="2931"/>
          <ac:spMkLst>
            <pc:docMk/>
            <pc:sldMk cId="2415979649" sldId="288"/>
            <ac:spMk id="4" creationId="{3E6DDFAD-2755-046C-6165-9B7D87AF5E81}"/>
          </ac:spMkLst>
        </pc:spChg>
        <pc:spChg chg="mod">
          <ac:chgData name="Jessica Henley" userId="63b1edf9-6e48-442a-9e00-04850b59a756" providerId="ADAL" clId="{D7E2F68E-A503-4B31-8CB2-DC1B28F456AF}" dt="2025-05-31T20:40:26.552" v="2931"/>
          <ac:spMkLst>
            <pc:docMk/>
            <pc:sldMk cId="2415979649" sldId="288"/>
            <ac:spMk id="5" creationId="{B9D79E05-EA84-B683-A192-E185C42A435B}"/>
          </ac:spMkLst>
        </pc:spChg>
        <pc:spChg chg="mod">
          <ac:chgData name="Jessica Henley" userId="63b1edf9-6e48-442a-9e00-04850b59a756" providerId="ADAL" clId="{D7E2F68E-A503-4B31-8CB2-DC1B28F456AF}" dt="2025-05-31T20:40:26.552" v="2931"/>
          <ac:spMkLst>
            <pc:docMk/>
            <pc:sldMk cId="2415979649" sldId="288"/>
            <ac:spMk id="6" creationId="{55EF93D4-9A08-6B89-35F1-F24CC9C11CC6}"/>
          </ac:spMkLst>
        </pc:spChg>
        <pc:spChg chg="mod">
          <ac:chgData name="Jessica Henley" userId="63b1edf9-6e48-442a-9e00-04850b59a756" providerId="ADAL" clId="{D7E2F68E-A503-4B31-8CB2-DC1B28F456AF}" dt="2025-05-31T20:40:26.552" v="2931"/>
          <ac:spMkLst>
            <pc:docMk/>
            <pc:sldMk cId="2415979649" sldId="288"/>
            <ac:spMk id="9" creationId="{88E17F4C-4B46-E106-D9FA-D2A2348F33A0}"/>
          </ac:spMkLst>
        </pc:spChg>
        <pc:spChg chg="mod">
          <ac:chgData name="Jessica Henley" userId="63b1edf9-6e48-442a-9e00-04850b59a756" providerId="ADAL" clId="{D7E2F68E-A503-4B31-8CB2-DC1B28F456AF}" dt="2025-05-31T20:40:26.552" v="2931"/>
          <ac:spMkLst>
            <pc:docMk/>
            <pc:sldMk cId="2415979649" sldId="288"/>
            <ac:spMk id="10" creationId="{EDA4F5F4-C568-87F2-D585-245A30E4762D}"/>
          </ac:spMkLst>
        </pc:spChg>
        <pc:spChg chg="mod">
          <ac:chgData name="Jessica Henley" userId="63b1edf9-6e48-442a-9e00-04850b59a756" providerId="ADAL" clId="{D7E2F68E-A503-4B31-8CB2-DC1B28F456AF}" dt="2025-05-31T20:40:26.552" v="2931"/>
          <ac:spMkLst>
            <pc:docMk/>
            <pc:sldMk cId="2415979649" sldId="288"/>
            <ac:spMk id="11" creationId="{A5BE4651-57DD-B1A7-5FE4-42E6E32DAB7D}"/>
          </ac:spMkLst>
        </pc:spChg>
        <pc:spChg chg="add mod">
          <ac:chgData name="Jessica Henley" userId="63b1edf9-6e48-442a-9e00-04850b59a756" providerId="ADAL" clId="{D7E2F68E-A503-4B31-8CB2-DC1B28F456AF}" dt="2025-05-31T20:40:34.225" v="2932" actId="1076"/>
          <ac:spMkLst>
            <pc:docMk/>
            <pc:sldMk cId="2415979649" sldId="288"/>
            <ac:spMk id="13" creationId="{ABF1E0A5-01A6-1B4F-9A05-15E38B4B76FF}"/>
          </ac:spMkLst>
        </pc:spChg>
        <pc:spChg chg="mod">
          <ac:chgData name="Jessica Henley" userId="63b1edf9-6e48-442a-9e00-04850b59a756" providerId="ADAL" clId="{D7E2F68E-A503-4B31-8CB2-DC1B28F456AF}" dt="2025-05-31T20:40:26.552" v="2931"/>
          <ac:spMkLst>
            <pc:docMk/>
            <pc:sldMk cId="2415979649" sldId="288"/>
            <ac:spMk id="17" creationId="{1A88F5C2-A15D-871C-903C-E54AD8A61693}"/>
          </ac:spMkLst>
        </pc:spChg>
        <pc:spChg chg="add del mod">
          <ac:chgData name="Jessica Henley" userId="63b1edf9-6e48-442a-9e00-04850b59a756" providerId="ADAL" clId="{D7E2F68E-A503-4B31-8CB2-DC1B28F456AF}" dt="2025-05-31T20:40:39.861" v="2933" actId="478"/>
          <ac:spMkLst>
            <pc:docMk/>
            <pc:sldMk cId="2415979649" sldId="288"/>
            <ac:spMk id="19" creationId="{F6FCA6FD-2A47-DD91-8DEE-140AE560E088}"/>
          </ac:spMkLst>
        </pc:spChg>
        <pc:spChg chg="mod">
          <ac:chgData name="Jessica Henley" userId="63b1edf9-6e48-442a-9e00-04850b59a756" providerId="ADAL" clId="{D7E2F68E-A503-4B31-8CB2-DC1B28F456AF}" dt="2025-05-31T17:48:33.611" v="130" actId="20577"/>
          <ac:spMkLst>
            <pc:docMk/>
            <pc:sldMk cId="2415979649" sldId="288"/>
            <ac:spMk id="35" creationId="{4BD21AB4-0B99-8212-4C32-0B1F9CF86644}"/>
          </ac:spMkLst>
        </pc:spChg>
        <pc:grpChg chg="mod">
          <ac:chgData name="Jessica Henley" userId="63b1edf9-6e48-442a-9e00-04850b59a756" providerId="ADAL" clId="{D7E2F68E-A503-4B31-8CB2-DC1B28F456AF}" dt="2025-05-31T20:40:34.225" v="2932" actId="1076"/>
          <ac:grpSpMkLst>
            <pc:docMk/>
            <pc:sldMk cId="2415979649" sldId="288"/>
            <ac:grpSpMk id="3" creationId="{5C64F1CD-40D6-FCE9-4617-734409AC7627}"/>
          </ac:grpSpMkLst>
        </pc:grpChg>
        <pc:grpChg chg="mod">
          <ac:chgData name="Jessica Henley" userId="63b1edf9-6e48-442a-9e00-04850b59a756" providerId="ADAL" clId="{D7E2F68E-A503-4B31-8CB2-DC1B28F456AF}" dt="2025-05-31T20:40:34.225" v="2932" actId="1076"/>
          <ac:grpSpMkLst>
            <pc:docMk/>
            <pc:sldMk cId="2415979649" sldId="288"/>
            <ac:grpSpMk id="14" creationId="{F9FB2998-E095-1DB7-443E-C77E5E928489}"/>
          </ac:grpSpMkLst>
        </pc:grpChg>
        <pc:grpChg chg="del">
          <ac:chgData name="Jessica Henley" userId="63b1edf9-6e48-442a-9e00-04850b59a756" providerId="ADAL" clId="{D7E2F68E-A503-4B31-8CB2-DC1B28F456AF}" dt="2025-05-31T20:40:23.050" v="2929" actId="478"/>
          <ac:grpSpMkLst>
            <pc:docMk/>
            <pc:sldMk cId="2415979649" sldId="288"/>
            <ac:grpSpMk id="58" creationId="{817B6F9F-EC66-5DEA-2A36-7AD2E9E8B4BE}"/>
          </ac:grpSpMkLst>
        </pc:grpChg>
        <pc:grpChg chg="del">
          <ac:chgData name="Jessica Henley" userId="63b1edf9-6e48-442a-9e00-04850b59a756" providerId="ADAL" clId="{D7E2F68E-A503-4B31-8CB2-DC1B28F456AF}" dt="2025-05-31T20:40:25.209" v="2930" actId="478"/>
          <ac:grpSpMkLst>
            <pc:docMk/>
            <pc:sldMk cId="2415979649" sldId="288"/>
            <ac:grpSpMk id="82" creationId="{D19D64D3-1803-4AF5-073B-02A34D212A5C}"/>
          </ac:grpSpMkLst>
        </pc:grpChg>
        <pc:picChg chg="mod">
          <ac:chgData name="Jessica Henley" userId="63b1edf9-6e48-442a-9e00-04850b59a756" providerId="ADAL" clId="{D7E2F68E-A503-4B31-8CB2-DC1B28F456AF}" dt="2025-05-31T20:40:26.552" v="2931"/>
          <ac:picMkLst>
            <pc:docMk/>
            <pc:sldMk cId="2415979649" sldId="288"/>
            <ac:picMk id="18" creationId="{F6D382F2-76CE-2357-3A9E-A1D4D32FBA3C}"/>
          </ac:picMkLst>
        </pc:picChg>
      </pc:sldChg>
      <pc:sldChg chg="addSp delSp modSp mod">
        <pc:chgData name="Jessica Henley" userId="63b1edf9-6e48-442a-9e00-04850b59a756" providerId="ADAL" clId="{D7E2F68E-A503-4B31-8CB2-DC1B28F456AF}" dt="2025-06-01T11:58:16.268" v="4359" actId="1076"/>
        <pc:sldMkLst>
          <pc:docMk/>
          <pc:sldMk cId="2711027437" sldId="293"/>
        </pc:sldMkLst>
        <pc:spChg chg="mod">
          <ac:chgData name="Jessica Henley" userId="63b1edf9-6e48-442a-9e00-04850b59a756" providerId="ADAL" clId="{D7E2F68E-A503-4B31-8CB2-DC1B28F456AF}" dt="2025-05-31T17:55:48.359" v="219" actId="20577"/>
          <ac:spMkLst>
            <pc:docMk/>
            <pc:sldMk cId="2711027437" sldId="293"/>
            <ac:spMk id="2" creationId="{140348A4-0996-F30E-B712-42D5397924F2}"/>
          </ac:spMkLst>
        </pc:spChg>
        <pc:spChg chg="add del mod">
          <ac:chgData name="Jessica Henley" userId="63b1edf9-6e48-442a-9e00-04850b59a756" providerId="ADAL" clId="{D7E2F68E-A503-4B31-8CB2-DC1B28F456AF}" dt="2025-06-01T11:55:50.864" v="4228" actId="21"/>
          <ac:spMkLst>
            <pc:docMk/>
            <pc:sldMk cId="2711027437" sldId="293"/>
            <ac:spMk id="3" creationId="{2D0ACD58-3521-D214-6C61-FC8F5D90FF9D}"/>
          </ac:spMkLst>
        </pc:spChg>
        <pc:spChg chg="add mod">
          <ac:chgData name="Jessica Henley" userId="63b1edf9-6e48-442a-9e00-04850b59a756" providerId="ADAL" clId="{D7E2F68E-A503-4B31-8CB2-DC1B28F456AF}" dt="2025-06-01T11:58:16.268" v="4359" actId="1076"/>
          <ac:spMkLst>
            <pc:docMk/>
            <pc:sldMk cId="2711027437" sldId="293"/>
            <ac:spMk id="4" creationId="{FE0689E9-C03A-FBD5-01BB-4DCC85C05948}"/>
          </ac:spMkLst>
        </pc:spChg>
        <pc:spChg chg="del mod">
          <ac:chgData name="Jessica Henley" userId="63b1edf9-6e48-442a-9e00-04850b59a756" providerId="ADAL" clId="{D7E2F68E-A503-4B31-8CB2-DC1B28F456AF}" dt="2025-05-31T17:53:13.877" v="197"/>
          <ac:spMkLst>
            <pc:docMk/>
            <pc:sldMk cId="2711027437" sldId="293"/>
            <ac:spMk id="5" creationId="{C15E72E7-6CC6-148C-6F6F-84F4FB44DCA3}"/>
          </ac:spMkLst>
        </pc:spChg>
        <pc:spChg chg="del">
          <ac:chgData name="Jessica Henley" userId="63b1edf9-6e48-442a-9e00-04850b59a756" providerId="ADAL" clId="{D7E2F68E-A503-4B31-8CB2-DC1B28F456AF}" dt="2025-06-01T11:58:09.696" v="4357" actId="478"/>
          <ac:spMkLst>
            <pc:docMk/>
            <pc:sldMk cId="2711027437" sldId="293"/>
            <ac:spMk id="7" creationId="{C20E4750-15C8-F3A9-5185-4A5B0921E5E9}"/>
          </ac:spMkLst>
        </pc:spChg>
        <pc:spChg chg="mod">
          <ac:chgData name="Jessica Henley" userId="63b1edf9-6e48-442a-9e00-04850b59a756" providerId="ADAL" clId="{D7E2F68E-A503-4B31-8CB2-DC1B28F456AF}" dt="2025-06-01T11:58:11.266" v="4358"/>
          <ac:spMkLst>
            <pc:docMk/>
            <pc:sldMk cId="2711027437" sldId="293"/>
            <ac:spMk id="14" creationId="{9C285349-02B4-A070-51B0-DE4D98D1E5DD}"/>
          </ac:spMkLst>
        </pc:spChg>
        <pc:grpChg chg="add mod">
          <ac:chgData name="Jessica Henley" userId="63b1edf9-6e48-442a-9e00-04850b59a756" providerId="ADAL" clId="{D7E2F68E-A503-4B31-8CB2-DC1B28F456AF}" dt="2025-06-01T11:58:16.268" v="4359" actId="1076"/>
          <ac:grpSpMkLst>
            <pc:docMk/>
            <pc:sldMk cId="2711027437" sldId="293"/>
            <ac:grpSpMk id="5" creationId="{35C3FE39-97C8-3DEF-8B87-975C13665599}"/>
          </ac:grpSpMkLst>
        </pc:grpChg>
        <pc:grpChg chg="del">
          <ac:chgData name="Jessica Henley" userId="63b1edf9-6e48-442a-9e00-04850b59a756" providerId="ADAL" clId="{D7E2F68E-A503-4B31-8CB2-DC1B28F456AF}" dt="2025-06-01T11:58:07.728" v="4356" actId="478"/>
          <ac:grpSpMkLst>
            <pc:docMk/>
            <pc:sldMk cId="2711027437" sldId="293"/>
            <ac:grpSpMk id="8" creationId="{FAF3DF22-E96E-3BC0-454D-160D84082D39}"/>
          </ac:grpSpMkLst>
        </pc:grpChg>
        <pc:grpChg chg="mod">
          <ac:chgData name="Jessica Henley" userId="63b1edf9-6e48-442a-9e00-04850b59a756" providerId="ADAL" clId="{D7E2F68E-A503-4B31-8CB2-DC1B28F456AF}" dt="2025-06-01T11:58:11.266" v="4358"/>
          <ac:grpSpMkLst>
            <pc:docMk/>
            <pc:sldMk cId="2711027437" sldId="293"/>
            <ac:grpSpMk id="13" creationId="{9FCB156F-4AA2-E8E4-E76C-0E1793CF3533}"/>
          </ac:grpSpMkLst>
        </pc:grpChg>
        <pc:picChg chg="mod">
          <ac:chgData name="Jessica Henley" userId="63b1edf9-6e48-442a-9e00-04850b59a756" providerId="ADAL" clId="{D7E2F68E-A503-4B31-8CB2-DC1B28F456AF}" dt="2025-06-01T11:58:11.266" v="4358"/>
          <ac:picMkLst>
            <pc:docMk/>
            <pc:sldMk cId="2711027437" sldId="293"/>
            <ac:picMk id="15" creationId="{62AA9672-221D-A4BE-3E7B-45C7A511E611}"/>
          </ac:picMkLst>
        </pc:picChg>
        <pc:cxnChg chg="mod">
          <ac:chgData name="Jessica Henley" userId="63b1edf9-6e48-442a-9e00-04850b59a756" providerId="ADAL" clId="{D7E2F68E-A503-4B31-8CB2-DC1B28F456AF}" dt="2025-06-01T11:58:11.266" v="4358"/>
          <ac:cxnSpMkLst>
            <pc:docMk/>
            <pc:sldMk cId="2711027437" sldId="293"/>
            <ac:cxnSpMk id="6" creationId="{C866AA1C-13E8-D74B-8521-D1A6138F6F6D}"/>
          </ac:cxnSpMkLst>
        </pc:cxnChg>
      </pc:sldChg>
      <pc:sldChg chg="addSp delSp modSp del mod ord addAnim delAnim modShow">
        <pc:chgData name="Jessica Henley" userId="63b1edf9-6e48-442a-9e00-04850b59a756" providerId="ADAL" clId="{D7E2F68E-A503-4B31-8CB2-DC1B28F456AF}" dt="2025-05-31T18:39:20.696" v="931" actId="2696"/>
        <pc:sldMkLst>
          <pc:docMk/>
          <pc:sldMk cId="1731993871" sldId="294"/>
        </pc:sldMkLst>
        <pc:spChg chg="add del mod">
          <ac:chgData name="Jessica Henley" userId="63b1edf9-6e48-442a-9e00-04850b59a756" providerId="ADAL" clId="{D7E2F68E-A503-4B31-8CB2-DC1B28F456AF}" dt="2025-05-31T18:34:47.656" v="902" actId="478"/>
          <ac:spMkLst>
            <pc:docMk/>
            <pc:sldMk cId="1731993871" sldId="294"/>
            <ac:spMk id="3" creationId="{286DE8E1-B3CB-CC66-47E2-30B5FE1E7D7E}"/>
          </ac:spMkLst>
        </pc:spChg>
        <pc:spChg chg="add">
          <ac:chgData name="Jessica Henley" userId="63b1edf9-6e48-442a-9e00-04850b59a756" providerId="ADAL" clId="{D7E2F68E-A503-4B31-8CB2-DC1B28F456AF}" dt="2025-05-31T18:21:11.122" v="562"/>
          <ac:spMkLst>
            <pc:docMk/>
            <pc:sldMk cId="1731993871" sldId="294"/>
            <ac:spMk id="6" creationId="{4080D275-548B-3463-90D9-83A082699181}"/>
          </ac:spMkLst>
        </pc:spChg>
        <pc:spChg chg="add del mod">
          <ac:chgData name="Jessica Henley" userId="63b1edf9-6e48-442a-9e00-04850b59a756" providerId="ADAL" clId="{D7E2F68E-A503-4B31-8CB2-DC1B28F456AF}" dt="2025-05-31T18:34:46.179" v="900" actId="478"/>
          <ac:spMkLst>
            <pc:docMk/>
            <pc:sldMk cId="1731993871" sldId="294"/>
            <ac:spMk id="7" creationId="{0AB26F1A-061E-1AC2-8F72-8BAACCE6D69E}"/>
          </ac:spMkLst>
        </pc:spChg>
        <pc:spChg chg="mod">
          <ac:chgData name="Jessica Henley" userId="63b1edf9-6e48-442a-9e00-04850b59a756" providerId="ADAL" clId="{D7E2F68E-A503-4B31-8CB2-DC1B28F456AF}" dt="2025-05-31T18:27:46.127" v="763" actId="20577"/>
          <ac:spMkLst>
            <pc:docMk/>
            <pc:sldMk cId="1731993871" sldId="294"/>
            <ac:spMk id="8" creationId="{DE67B341-40E8-F985-F120-F4DFB461A15A}"/>
          </ac:spMkLst>
        </pc:spChg>
        <pc:spChg chg="mod">
          <ac:chgData name="Jessica Henley" userId="63b1edf9-6e48-442a-9e00-04850b59a756" providerId="ADAL" clId="{D7E2F68E-A503-4B31-8CB2-DC1B28F456AF}" dt="2025-05-31T18:27:21.512" v="709"/>
          <ac:spMkLst>
            <pc:docMk/>
            <pc:sldMk cId="1731993871" sldId="294"/>
            <ac:spMk id="12" creationId="{43554BFB-5C5D-1BC2-D8E3-ACA8FD23FC13}"/>
          </ac:spMkLst>
        </pc:spChg>
        <pc:spChg chg="mod">
          <ac:chgData name="Jessica Henley" userId="63b1edf9-6e48-442a-9e00-04850b59a756" providerId="ADAL" clId="{D7E2F68E-A503-4B31-8CB2-DC1B28F456AF}" dt="2025-05-31T18:27:21.512" v="709"/>
          <ac:spMkLst>
            <pc:docMk/>
            <pc:sldMk cId="1731993871" sldId="294"/>
            <ac:spMk id="19" creationId="{DE67B341-40E8-F985-F120-F4DFB461A15A}"/>
          </ac:spMkLst>
        </pc:spChg>
        <pc:spChg chg="mod">
          <ac:chgData name="Jessica Henley" userId="63b1edf9-6e48-442a-9e00-04850b59a756" providerId="ADAL" clId="{D7E2F68E-A503-4B31-8CB2-DC1B28F456AF}" dt="2025-05-31T18:27:21.512" v="709"/>
          <ac:spMkLst>
            <pc:docMk/>
            <pc:sldMk cId="1731993871" sldId="294"/>
            <ac:spMk id="20" creationId="{31C23810-3E66-4B71-1B26-B5CF85716A56}"/>
          </ac:spMkLst>
        </pc:spChg>
        <pc:spChg chg="mod">
          <ac:chgData name="Jessica Henley" userId="63b1edf9-6e48-442a-9e00-04850b59a756" providerId="ADAL" clId="{D7E2F68E-A503-4B31-8CB2-DC1B28F456AF}" dt="2025-05-31T18:27:21.512" v="709"/>
          <ac:spMkLst>
            <pc:docMk/>
            <pc:sldMk cId="1731993871" sldId="294"/>
            <ac:spMk id="21" creationId="{E9AFD201-998B-23D9-0B8C-8E95E6C5A57E}"/>
          </ac:spMkLst>
        </pc:spChg>
        <pc:spChg chg="mod">
          <ac:chgData name="Jessica Henley" userId="63b1edf9-6e48-442a-9e00-04850b59a756" providerId="ADAL" clId="{D7E2F68E-A503-4B31-8CB2-DC1B28F456AF}" dt="2025-05-31T18:27:21.512" v="709"/>
          <ac:spMkLst>
            <pc:docMk/>
            <pc:sldMk cId="1731993871" sldId="294"/>
            <ac:spMk id="22" creationId="{B7F9E378-A72C-2845-197E-64B5B5E76D85}"/>
          </ac:spMkLst>
        </pc:spChg>
        <pc:spChg chg="mod">
          <ac:chgData name="Jessica Henley" userId="63b1edf9-6e48-442a-9e00-04850b59a756" providerId="ADAL" clId="{D7E2F68E-A503-4B31-8CB2-DC1B28F456AF}" dt="2025-05-31T18:27:21.512" v="709"/>
          <ac:spMkLst>
            <pc:docMk/>
            <pc:sldMk cId="1731993871" sldId="294"/>
            <ac:spMk id="23" creationId="{4EE1EC55-20B7-1C19-FDD1-258DA588D099}"/>
          </ac:spMkLst>
        </pc:spChg>
        <pc:spChg chg="mod">
          <ac:chgData name="Jessica Henley" userId="63b1edf9-6e48-442a-9e00-04850b59a756" providerId="ADAL" clId="{D7E2F68E-A503-4B31-8CB2-DC1B28F456AF}" dt="2025-05-31T18:27:21.512" v="709"/>
          <ac:spMkLst>
            <pc:docMk/>
            <pc:sldMk cId="1731993871" sldId="294"/>
            <ac:spMk id="24" creationId="{046AF7CA-D767-91F9-49BA-12EF704F0792}"/>
          </ac:spMkLst>
        </pc:spChg>
        <pc:spChg chg="mod">
          <ac:chgData name="Jessica Henley" userId="63b1edf9-6e48-442a-9e00-04850b59a756" providerId="ADAL" clId="{D7E2F68E-A503-4B31-8CB2-DC1B28F456AF}" dt="2025-05-31T18:27:21.512" v="709"/>
          <ac:spMkLst>
            <pc:docMk/>
            <pc:sldMk cId="1731993871" sldId="294"/>
            <ac:spMk id="25" creationId="{91D068FF-3030-CCBA-94B1-D05773C1C58F}"/>
          </ac:spMkLst>
        </pc:spChg>
        <pc:spChg chg="mod">
          <ac:chgData name="Jessica Henley" userId="63b1edf9-6e48-442a-9e00-04850b59a756" providerId="ADAL" clId="{D7E2F68E-A503-4B31-8CB2-DC1B28F456AF}" dt="2025-05-31T18:27:21.512" v="709"/>
          <ac:spMkLst>
            <pc:docMk/>
            <pc:sldMk cId="1731993871" sldId="294"/>
            <ac:spMk id="28" creationId="{15AB06D0-0CE8-534E-F3FB-C87175A8F271}"/>
          </ac:spMkLst>
        </pc:spChg>
        <pc:spChg chg="mod">
          <ac:chgData name="Jessica Henley" userId="63b1edf9-6e48-442a-9e00-04850b59a756" providerId="ADAL" clId="{D7E2F68E-A503-4B31-8CB2-DC1B28F456AF}" dt="2025-05-31T18:27:21.512" v="709"/>
          <ac:spMkLst>
            <pc:docMk/>
            <pc:sldMk cId="1731993871" sldId="294"/>
            <ac:spMk id="29" creationId="{5DB45C1E-4850-69DF-2F22-7007A73A7846}"/>
          </ac:spMkLst>
        </pc:spChg>
        <pc:spChg chg="add mod">
          <ac:chgData name="Jessica Henley" userId="63b1edf9-6e48-442a-9e00-04850b59a756" providerId="ADAL" clId="{D7E2F68E-A503-4B31-8CB2-DC1B28F456AF}" dt="2025-05-31T18:32:14.222" v="874" actId="165"/>
          <ac:spMkLst>
            <pc:docMk/>
            <pc:sldMk cId="1731993871" sldId="294"/>
            <ac:spMk id="32" creationId="{051E38AB-A3AD-2AB8-D41F-496579C94674}"/>
          </ac:spMkLst>
        </pc:spChg>
        <pc:spChg chg="mod">
          <ac:chgData name="Jessica Henley" userId="63b1edf9-6e48-442a-9e00-04850b59a756" providerId="ADAL" clId="{D7E2F68E-A503-4B31-8CB2-DC1B28F456AF}" dt="2025-05-31T18:32:14.222" v="874" actId="165"/>
          <ac:spMkLst>
            <pc:docMk/>
            <pc:sldMk cId="1731993871" sldId="294"/>
            <ac:spMk id="35" creationId="{31C23810-3E66-4B71-1B26-B5CF85716A56}"/>
          </ac:spMkLst>
        </pc:spChg>
        <pc:spChg chg="mod">
          <ac:chgData name="Jessica Henley" userId="63b1edf9-6e48-442a-9e00-04850b59a756" providerId="ADAL" clId="{D7E2F68E-A503-4B31-8CB2-DC1B28F456AF}" dt="2025-05-31T18:32:14.222" v="874" actId="165"/>
          <ac:spMkLst>
            <pc:docMk/>
            <pc:sldMk cId="1731993871" sldId="294"/>
            <ac:spMk id="38" creationId="{4EE1EC55-20B7-1C19-FDD1-258DA588D099}"/>
          </ac:spMkLst>
        </pc:spChg>
        <pc:spChg chg="mod">
          <ac:chgData name="Jessica Henley" userId="63b1edf9-6e48-442a-9e00-04850b59a756" providerId="ADAL" clId="{D7E2F68E-A503-4B31-8CB2-DC1B28F456AF}" dt="2025-05-31T18:32:14.222" v="874" actId="165"/>
          <ac:spMkLst>
            <pc:docMk/>
            <pc:sldMk cId="1731993871" sldId="294"/>
            <ac:spMk id="39" creationId="{046AF7CA-D767-91F9-49BA-12EF704F0792}"/>
          </ac:spMkLst>
        </pc:spChg>
        <pc:spChg chg="mod">
          <ac:chgData name="Jessica Henley" userId="63b1edf9-6e48-442a-9e00-04850b59a756" providerId="ADAL" clId="{D7E2F68E-A503-4B31-8CB2-DC1B28F456AF}" dt="2025-05-31T18:32:14.222" v="874" actId="165"/>
          <ac:spMkLst>
            <pc:docMk/>
            <pc:sldMk cId="1731993871" sldId="294"/>
            <ac:spMk id="41" creationId="{8507C541-C729-6227-7982-2F831E3AD661}"/>
          </ac:spMkLst>
        </pc:spChg>
        <pc:spChg chg="mod">
          <ac:chgData name="Jessica Henley" userId="63b1edf9-6e48-442a-9e00-04850b59a756" providerId="ADAL" clId="{D7E2F68E-A503-4B31-8CB2-DC1B28F456AF}" dt="2025-05-31T18:32:14.222" v="874" actId="165"/>
          <ac:spMkLst>
            <pc:docMk/>
            <pc:sldMk cId="1731993871" sldId="294"/>
            <ac:spMk id="42" creationId="{075605DA-48B6-8FAC-2991-1A0AC27B6231}"/>
          </ac:spMkLst>
        </pc:spChg>
        <pc:spChg chg="mod">
          <ac:chgData name="Jessica Henley" userId="63b1edf9-6e48-442a-9e00-04850b59a756" providerId="ADAL" clId="{D7E2F68E-A503-4B31-8CB2-DC1B28F456AF}" dt="2025-05-31T18:32:14.222" v="874" actId="165"/>
          <ac:spMkLst>
            <pc:docMk/>
            <pc:sldMk cId="1731993871" sldId="294"/>
            <ac:spMk id="43" creationId="{15AB06D0-0CE8-534E-F3FB-C87175A8F271}"/>
          </ac:spMkLst>
        </pc:spChg>
        <pc:spChg chg="mod">
          <ac:chgData name="Jessica Henley" userId="63b1edf9-6e48-442a-9e00-04850b59a756" providerId="ADAL" clId="{D7E2F68E-A503-4B31-8CB2-DC1B28F456AF}" dt="2025-05-31T18:32:14.222" v="874" actId="165"/>
          <ac:spMkLst>
            <pc:docMk/>
            <pc:sldMk cId="1731993871" sldId="294"/>
            <ac:spMk id="45" creationId="{839F361D-7BE4-D584-133E-A4385BB68628}"/>
          </ac:spMkLst>
        </pc:spChg>
        <pc:spChg chg="del">
          <ac:chgData name="Jessica Henley" userId="63b1edf9-6e48-442a-9e00-04850b59a756" providerId="ADAL" clId="{D7E2F68E-A503-4B31-8CB2-DC1B28F456AF}" dt="2025-05-31T18:17:57.692" v="467" actId="478"/>
          <ac:spMkLst>
            <pc:docMk/>
            <pc:sldMk cId="1731993871" sldId="294"/>
            <ac:spMk id="47" creationId="{9DDD8D35-C4E1-4595-7A07-92DE862D7A8A}"/>
          </ac:spMkLst>
        </pc:spChg>
        <pc:spChg chg="del mod">
          <ac:chgData name="Jessica Henley" userId="63b1edf9-6e48-442a-9e00-04850b59a756" providerId="ADAL" clId="{D7E2F68E-A503-4B31-8CB2-DC1B28F456AF}" dt="2025-05-31T18:18:02.492" v="469" actId="478"/>
          <ac:spMkLst>
            <pc:docMk/>
            <pc:sldMk cId="1731993871" sldId="294"/>
            <ac:spMk id="48" creationId="{41E0C239-2126-A556-4EF1-24D50B6C777F}"/>
          </ac:spMkLst>
        </pc:spChg>
        <pc:spChg chg="del">
          <ac:chgData name="Jessica Henley" userId="63b1edf9-6e48-442a-9e00-04850b59a756" providerId="ADAL" clId="{D7E2F68E-A503-4B31-8CB2-DC1B28F456AF}" dt="2025-05-31T18:18:05.617" v="470" actId="478"/>
          <ac:spMkLst>
            <pc:docMk/>
            <pc:sldMk cId="1731993871" sldId="294"/>
            <ac:spMk id="49" creationId="{472306C0-8D32-BCD9-E89E-A2978106362E}"/>
          </ac:spMkLst>
        </pc:spChg>
        <pc:spChg chg="del mod">
          <ac:chgData name="Jessica Henley" userId="63b1edf9-6e48-442a-9e00-04850b59a756" providerId="ADAL" clId="{D7E2F68E-A503-4B31-8CB2-DC1B28F456AF}" dt="2025-05-31T18:18:16.270" v="473" actId="478"/>
          <ac:spMkLst>
            <pc:docMk/>
            <pc:sldMk cId="1731993871" sldId="294"/>
            <ac:spMk id="50" creationId="{346BFFAE-DAA3-B226-E97A-1D219B608504}"/>
          </ac:spMkLst>
        </pc:spChg>
        <pc:spChg chg="del">
          <ac:chgData name="Jessica Henley" userId="63b1edf9-6e48-442a-9e00-04850b59a756" providerId="ADAL" clId="{D7E2F68E-A503-4B31-8CB2-DC1B28F456AF}" dt="2025-05-31T18:18:19.272" v="474" actId="478"/>
          <ac:spMkLst>
            <pc:docMk/>
            <pc:sldMk cId="1731993871" sldId="294"/>
            <ac:spMk id="51" creationId="{DF82C00A-7A5D-6566-6CA3-64D659C99CA7}"/>
          </ac:spMkLst>
        </pc:spChg>
        <pc:spChg chg="del mod">
          <ac:chgData name="Jessica Henley" userId="63b1edf9-6e48-442a-9e00-04850b59a756" providerId="ADAL" clId="{D7E2F68E-A503-4B31-8CB2-DC1B28F456AF}" dt="2025-05-31T18:18:24.977" v="476" actId="478"/>
          <ac:spMkLst>
            <pc:docMk/>
            <pc:sldMk cId="1731993871" sldId="294"/>
            <ac:spMk id="52" creationId="{762983A4-D33A-9722-9930-607481A65755}"/>
          </ac:spMkLst>
        </pc:spChg>
        <pc:spChg chg="del">
          <ac:chgData name="Jessica Henley" userId="63b1edf9-6e48-442a-9e00-04850b59a756" providerId="ADAL" clId="{D7E2F68E-A503-4B31-8CB2-DC1B28F456AF}" dt="2025-05-31T18:18:29.003" v="477" actId="478"/>
          <ac:spMkLst>
            <pc:docMk/>
            <pc:sldMk cId="1731993871" sldId="294"/>
            <ac:spMk id="53" creationId="{6D4147CD-EAB8-E2DD-3256-DE75A10F6322}"/>
          </ac:spMkLst>
        </pc:spChg>
        <pc:spChg chg="del">
          <ac:chgData name="Jessica Henley" userId="63b1edf9-6e48-442a-9e00-04850b59a756" providerId="ADAL" clId="{D7E2F68E-A503-4B31-8CB2-DC1B28F456AF}" dt="2025-05-31T18:18:33.182" v="478" actId="478"/>
          <ac:spMkLst>
            <pc:docMk/>
            <pc:sldMk cId="1731993871" sldId="294"/>
            <ac:spMk id="54" creationId="{C6C6524D-2A1E-1D46-CF5E-4177C7829D92}"/>
          </ac:spMkLst>
        </pc:spChg>
        <pc:spChg chg="del">
          <ac:chgData name="Jessica Henley" userId="63b1edf9-6e48-442a-9e00-04850b59a756" providerId="ADAL" clId="{D7E2F68E-A503-4B31-8CB2-DC1B28F456AF}" dt="2025-05-31T18:18:38.482" v="479" actId="478"/>
          <ac:spMkLst>
            <pc:docMk/>
            <pc:sldMk cId="1731993871" sldId="294"/>
            <ac:spMk id="55" creationId="{1AF66A41-A15C-E46E-8E75-16DD9F1E5B11}"/>
          </ac:spMkLst>
        </pc:spChg>
        <pc:spChg chg="del">
          <ac:chgData name="Jessica Henley" userId="63b1edf9-6e48-442a-9e00-04850b59a756" providerId="ADAL" clId="{D7E2F68E-A503-4B31-8CB2-DC1B28F456AF}" dt="2025-05-31T18:18:42.729" v="480" actId="478"/>
          <ac:spMkLst>
            <pc:docMk/>
            <pc:sldMk cId="1731993871" sldId="294"/>
            <ac:spMk id="56" creationId="{F18FB59E-E16C-F5EE-53CA-8576E1646D12}"/>
          </ac:spMkLst>
        </pc:spChg>
        <pc:spChg chg="del">
          <ac:chgData name="Jessica Henley" userId="63b1edf9-6e48-442a-9e00-04850b59a756" providerId="ADAL" clId="{D7E2F68E-A503-4B31-8CB2-DC1B28F456AF}" dt="2025-05-31T18:18:45.767" v="481" actId="478"/>
          <ac:spMkLst>
            <pc:docMk/>
            <pc:sldMk cId="1731993871" sldId="294"/>
            <ac:spMk id="57" creationId="{48741736-1597-C0A6-FDB7-A839220D0E98}"/>
          </ac:spMkLst>
        </pc:spChg>
        <pc:spChg chg="del">
          <ac:chgData name="Jessica Henley" userId="63b1edf9-6e48-442a-9e00-04850b59a756" providerId="ADAL" clId="{D7E2F68E-A503-4B31-8CB2-DC1B28F456AF}" dt="2025-05-31T18:18:09.675" v="471" actId="478"/>
          <ac:spMkLst>
            <pc:docMk/>
            <pc:sldMk cId="1731993871" sldId="294"/>
            <ac:spMk id="58" creationId="{C0AADD43-C018-1E9A-7646-8D81C45BA100}"/>
          </ac:spMkLst>
        </pc:spChg>
        <pc:spChg chg="mod">
          <ac:chgData name="Jessica Henley" userId="63b1edf9-6e48-442a-9e00-04850b59a756" providerId="ADAL" clId="{D7E2F68E-A503-4B31-8CB2-DC1B28F456AF}" dt="2025-05-31T18:26:21.907" v="696"/>
          <ac:spMkLst>
            <pc:docMk/>
            <pc:sldMk cId="1731993871" sldId="294"/>
            <ac:spMk id="59" creationId="{4F311636-4BE5-81B7-E97E-AA37326B09A4}"/>
          </ac:spMkLst>
        </pc:spChg>
        <pc:spChg chg="add del mod">
          <ac:chgData name="Jessica Henley" userId="63b1edf9-6e48-442a-9e00-04850b59a756" providerId="ADAL" clId="{D7E2F68E-A503-4B31-8CB2-DC1B28F456AF}" dt="2025-05-31T18:27:06.609" v="707" actId="478"/>
          <ac:spMkLst>
            <pc:docMk/>
            <pc:sldMk cId="1731993871" sldId="294"/>
            <ac:spMk id="60" creationId="{34409035-BD94-099A-4B18-87181DBBD17D}"/>
          </ac:spMkLst>
        </pc:spChg>
        <pc:spChg chg="mod">
          <ac:chgData name="Jessica Henley" userId="63b1edf9-6e48-442a-9e00-04850b59a756" providerId="ADAL" clId="{D7E2F68E-A503-4B31-8CB2-DC1B28F456AF}" dt="2025-05-31T18:24:56.280" v="676" actId="14100"/>
          <ac:spMkLst>
            <pc:docMk/>
            <pc:sldMk cId="1731993871" sldId="294"/>
            <ac:spMk id="61" creationId="{360C4E68-9533-2B5D-4961-96D93C8F5987}"/>
          </ac:spMkLst>
        </pc:spChg>
        <pc:spChg chg="del mod">
          <ac:chgData name="Jessica Henley" userId="63b1edf9-6e48-442a-9e00-04850b59a756" providerId="ADAL" clId="{D7E2F68E-A503-4B31-8CB2-DC1B28F456AF}" dt="2025-05-31T18:28:10.492" v="767" actId="478"/>
          <ac:spMkLst>
            <pc:docMk/>
            <pc:sldMk cId="1731993871" sldId="294"/>
            <ac:spMk id="62" creationId="{04DE2B04-AF8F-FF54-69FF-40BD65627BAA}"/>
          </ac:spMkLst>
        </pc:spChg>
        <pc:spChg chg="mod">
          <ac:chgData name="Jessica Henley" userId="63b1edf9-6e48-442a-9e00-04850b59a756" providerId="ADAL" clId="{D7E2F68E-A503-4B31-8CB2-DC1B28F456AF}" dt="2025-05-31T18:32:14.222" v="874" actId="165"/>
          <ac:spMkLst>
            <pc:docMk/>
            <pc:sldMk cId="1731993871" sldId="294"/>
            <ac:spMk id="63" creationId="{0F20DCDC-4048-816C-8F60-BA17C648488C}"/>
          </ac:spMkLst>
        </pc:spChg>
        <pc:spChg chg="mod">
          <ac:chgData name="Jessica Henley" userId="63b1edf9-6e48-442a-9e00-04850b59a756" providerId="ADAL" clId="{D7E2F68E-A503-4B31-8CB2-DC1B28F456AF}" dt="2025-05-31T18:32:58.585" v="881"/>
          <ac:spMkLst>
            <pc:docMk/>
            <pc:sldMk cId="1731993871" sldId="294"/>
            <ac:spMk id="64" creationId="{941C80BD-6E4A-1E06-8E12-59B0DF32E489}"/>
          </ac:spMkLst>
        </pc:spChg>
        <pc:spChg chg="mod">
          <ac:chgData name="Jessica Henley" userId="63b1edf9-6e48-442a-9e00-04850b59a756" providerId="ADAL" clId="{D7E2F68E-A503-4B31-8CB2-DC1B28F456AF}" dt="2025-05-31T18:32:58.585" v="881"/>
          <ac:spMkLst>
            <pc:docMk/>
            <pc:sldMk cId="1731993871" sldId="294"/>
            <ac:spMk id="67" creationId="{25E99587-B904-15F2-703B-8BF0C070CA17}"/>
          </ac:spMkLst>
        </pc:spChg>
        <pc:spChg chg="mod topLvl">
          <ac:chgData name="Jessica Henley" userId="63b1edf9-6e48-442a-9e00-04850b59a756" providerId="ADAL" clId="{D7E2F68E-A503-4B31-8CB2-DC1B28F456AF}" dt="2025-05-31T18:32:14.222" v="874" actId="165"/>
          <ac:spMkLst>
            <pc:docMk/>
            <pc:sldMk cId="1731993871" sldId="294"/>
            <ac:spMk id="82" creationId="{43554BFB-5C5D-1BC2-D8E3-ACA8FD23FC13}"/>
          </ac:spMkLst>
        </pc:spChg>
        <pc:grpChg chg="add del">
          <ac:chgData name="Jessica Henley" userId="63b1edf9-6e48-442a-9e00-04850b59a756" providerId="ADAL" clId="{D7E2F68E-A503-4B31-8CB2-DC1B28F456AF}" dt="2025-05-31T18:34:43.112" v="898" actId="478"/>
          <ac:grpSpMkLst>
            <pc:docMk/>
            <pc:sldMk cId="1731993871" sldId="294"/>
            <ac:grpSpMk id="2" creationId="{21172BC2-C42B-0D73-78E5-F08DFF2DC301}"/>
          </ac:grpSpMkLst>
        </pc:grpChg>
        <pc:grpChg chg="add mod">
          <ac:chgData name="Jessica Henley" userId="63b1edf9-6e48-442a-9e00-04850b59a756" providerId="ADAL" clId="{D7E2F68E-A503-4B31-8CB2-DC1B28F456AF}" dt="2025-05-31T18:34:29.262" v="891" actId="1076"/>
          <ac:grpSpMkLst>
            <pc:docMk/>
            <pc:sldMk cId="1731993871" sldId="294"/>
            <ac:grpSpMk id="33" creationId="{37F5CAD2-13AC-62FE-255B-7C74F0E85987}"/>
          </ac:grpSpMkLst>
        </pc:grpChg>
        <pc:grpChg chg="mod">
          <ac:chgData name="Jessica Henley" userId="63b1edf9-6e48-442a-9e00-04850b59a756" providerId="ADAL" clId="{D7E2F68E-A503-4B31-8CB2-DC1B28F456AF}" dt="2025-05-31T18:32:58.585" v="881"/>
          <ac:grpSpMkLst>
            <pc:docMk/>
            <pc:sldMk cId="1731993871" sldId="294"/>
            <ac:grpSpMk id="66" creationId="{E7162263-5E28-A08A-50AB-6D0AE1EE2C67}"/>
          </ac:grpSpMkLst>
        </pc:grpChg>
        <pc:grpChg chg="add del mod">
          <ac:chgData name="Jessica Henley" userId="63b1edf9-6e48-442a-9e00-04850b59a756" providerId="ADAL" clId="{D7E2F68E-A503-4B31-8CB2-DC1B28F456AF}" dt="2025-05-31T18:27:00.611" v="705" actId="1076"/>
          <ac:grpSpMkLst>
            <pc:docMk/>
            <pc:sldMk cId="1731993871" sldId="294"/>
            <ac:grpSpMk id="83" creationId="{B8B126C8-77F4-6588-731B-AE798005B269}"/>
          </ac:grpSpMkLst>
        </pc:grpChg>
        <pc:picChg chg="mod">
          <ac:chgData name="Jessica Henley" userId="63b1edf9-6e48-442a-9e00-04850b59a756" providerId="ADAL" clId="{D7E2F68E-A503-4B31-8CB2-DC1B28F456AF}" dt="2025-05-31T18:32:58.585" v="881"/>
          <ac:picMkLst>
            <pc:docMk/>
            <pc:sldMk cId="1731993871" sldId="294"/>
            <ac:picMk id="68" creationId="{57E5C5A2-29E1-B457-72AA-A2EEF3732DA0}"/>
          </ac:picMkLst>
        </pc:picChg>
        <pc:cxnChg chg="add del">
          <ac:chgData name="Jessica Henley" userId="63b1edf9-6e48-442a-9e00-04850b59a756" providerId="ADAL" clId="{D7E2F68E-A503-4B31-8CB2-DC1B28F456AF}" dt="2025-05-31T18:34:49.499" v="903" actId="478"/>
          <ac:cxnSpMkLst>
            <pc:docMk/>
            <pc:sldMk cId="1731993871" sldId="294"/>
            <ac:cxnSpMk id="10" creationId="{F6F4AC99-EA79-392B-78ED-51684A8B3E48}"/>
          </ac:cxnSpMkLst>
        </pc:cxnChg>
        <pc:cxnChg chg="mod">
          <ac:chgData name="Jessica Henley" userId="63b1edf9-6e48-442a-9e00-04850b59a756" providerId="ADAL" clId="{D7E2F68E-A503-4B31-8CB2-DC1B28F456AF}" dt="2025-05-31T18:32:58.585" v="881"/>
          <ac:cxnSpMkLst>
            <pc:docMk/>
            <pc:sldMk cId="1731993871" sldId="294"/>
            <ac:cxnSpMk id="65" creationId="{77936E82-9B1E-39D9-D537-32D3AA201CDB}"/>
          </ac:cxnSpMkLst>
        </pc:cxnChg>
      </pc:sldChg>
      <pc:sldChg chg="addSp delSp modSp mod">
        <pc:chgData name="Jessica Henley" userId="63b1edf9-6e48-442a-9e00-04850b59a756" providerId="ADAL" clId="{D7E2F68E-A503-4B31-8CB2-DC1B28F456AF}" dt="2025-06-01T11:50:25.971" v="4151" actId="1076"/>
        <pc:sldMkLst>
          <pc:docMk/>
          <pc:sldMk cId="2319019701" sldId="295"/>
        </pc:sldMkLst>
        <pc:spChg chg="add del mod">
          <ac:chgData name="Jessica Henley" userId="63b1edf9-6e48-442a-9e00-04850b59a756" providerId="ADAL" clId="{D7E2F68E-A503-4B31-8CB2-DC1B28F456AF}" dt="2025-06-01T11:17:52.567" v="3885" actId="21"/>
          <ac:spMkLst>
            <pc:docMk/>
            <pc:sldMk cId="2319019701" sldId="295"/>
            <ac:spMk id="2" creationId="{CF832FEA-EB50-10FB-AD85-D08CC6495D03}"/>
          </ac:spMkLst>
        </pc:spChg>
        <pc:spChg chg="mod">
          <ac:chgData name="Jessica Henley" userId="63b1edf9-6e48-442a-9e00-04850b59a756" providerId="ADAL" clId="{D7E2F68E-A503-4B31-8CB2-DC1B28F456AF}" dt="2025-05-31T17:53:55.502" v="204" actId="1076"/>
          <ac:spMkLst>
            <pc:docMk/>
            <pc:sldMk cId="2319019701" sldId="295"/>
            <ac:spMk id="4" creationId="{04CCCD1D-24F7-7818-1BC1-F700A1D07CDD}"/>
          </ac:spMkLst>
        </pc:spChg>
        <pc:spChg chg="del mod">
          <ac:chgData name="Jessica Henley" userId="63b1edf9-6e48-442a-9e00-04850b59a756" providerId="ADAL" clId="{D7E2F68E-A503-4B31-8CB2-DC1B28F456AF}" dt="2025-05-31T17:48:57.722" v="164"/>
          <ac:spMkLst>
            <pc:docMk/>
            <pc:sldMk cId="2319019701" sldId="295"/>
            <ac:spMk id="6" creationId="{D3D44218-D5DF-FC54-5A74-42592184E18F}"/>
          </ac:spMkLst>
        </pc:spChg>
        <pc:spChg chg="add mod">
          <ac:chgData name="Jessica Henley" userId="63b1edf9-6e48-442a-9e00-04850b59a756" providerId="ADAL" clId="{D7E2F68E-A503-4B31-8CB2-DC1B28F456AF}" dt="2025-06-01T11:50:25.971" v="4151" actId="1076"/>
          <ac:spMkLst>
            <pc:docMk/>
            <pc:sldMk cId="2319019701" sldId="295"/>
            <ac:spMk id="25" creationId="{717D1C74-0570-2C66-991D-FE212CE84B98}"/>
          </ac:spMkLst>
        </pc:spChg>
        <pc:spChg chg="add mod">
          <ac:chgData name="Jessica Henley" userId="63b1edf9-6e48-442a-9e00-04850b59a756" providerId="ADAL" clId="{D7E2F68E-A503-4B31-8CB2-DC1B28F456AF}" dt="2025-06-01T11:50:25.971" v="4151" actId="1076"/>
          <ac:spMkLst>
            <pc:docMk/>
            <pc:sldMk cId="2319019701" sldId="295"/>
            <ac:spMk id="27" creationId="{0DAB279A-A7C4-0A93-2F06-9EBACE7BA4DE}"/>
          </ac:spMkLst>
        </pc:spChg>
        <pc:spChg chg="add mod">
          <ac:chgData name="Jessica Henley" userId="63b1edf9-6e48-442a-9e00-04850b59a756" providerId="ADAL" clId="{D7E2F68E-A503-4B31-8CB2-DC1B28F456AF}" dt="2025-06-01T11:50:25.971" v="4151" actId="1076"/>
          <ac:spMkLst>
            <pc:docMk/>
            <pc:sldMk cId="2319019701" sldId="295"/>
            <ac:spMk id="28" creationId="{A93DFD63-5098-514D-E88A-71DCC0FA5522}"/>
          </ac:spMkLst>
        </pc:spChg>
        <pc:spChg chg="add mod">
          <ac:chgData name="Jessica Henley" userId="63b1edf9-6e48-442a-9e00-04850b59a756" providerId="ADAL" clId="{D7E2F68E-A503-4B31-8CB2-DC1B28F456AF}" dt="2025-06-01T11:50:25.971" v="4151" actId="1076"/>
          <ac:spMkLst>
            <pc:docMk/>
            <pc:sldMk cId="2319019701" sldId="295"/>
            <ac:spMk id="29" creationId="{C942DB85-A129-6BD5-82D0-A4995044BFEA}"/>
          </ac:spMkLst>
        </pc:spChg>
        <pc:spChg chg="add mod">
          <ac:chgData name="Jessica Henley" userId="63b1edf9-6e48-442a-9e00-04850b59a756" providerId="ADAL" clId="{D7E2F68E-A503-4B31-8CB2-DC1B28F456AF}" dt="2025-06-01T11:50:25.971" v="4151" actId="1076"/>
          <ac:spMkLst>
            <pc:docMk/>
            <pc:sldMk cId="2319019701" sldId="295"/>
            <ac:spMk id="30" creationId="{A4669159-0DC3-7A4C-C8AF-89511F99DDA4}"/>
          </ac:spMkLst>
        </pc:spChg>
        <pc:spChg chg="add mod">
          <ac:chgData name="Jessica Henley" userId="63b1edf9-6e48-442a-9e00-04850b59a756" providerId="ADAL" clId="{D7E2F68E-A503-4B31-8CB2-DC1B28F456AF}" dt="2025-06-01T11:50:25.971" v="4151" actId="1076"/>
          <ac:spMkLst>
            <pc:docMk/>
            <pc:sldMk cId="2319019701" sldId="295"/>
            <ac:spMk id="32" creationId="{F74E1E34-2023-D6A1-2289-8005B6EFB244}"/>
          </ac:spMkLst>
        </pc:spChg>
        <pc:spChg chg="add mod">
          <ac:chgData name="Jessica Henley" userId="63b1edf9-6e48-442a-9e00-04850b59a756" providerId="ADAL" clId="{D7E2F68E-A503-4B31-8CB2-DC1B28F456AF}" dt="2025-06-01T11:50:25.971" v="4151" actId="1076"/>
          <ac:spMkLst>
            <pc:docMk/>
            <pc:sldMk cId="2319019701" sldId="295"/>
            <ac:spMk id="33" creationId="{75794F42-C293-D510-C0CB-8B0BE8E5CF04}"/>
          </ac:spMkLst>
        </pc:spChg>
        <pc:spChg chg="add mod">
          <ac:chgData name="Jessica Henley" userId="63b1edf9-6e48-442a-9e00-04850b59a756" providerId="ADAL" clId="{D7E2F68E-A503-4B31-8CB2-DC1B28F456AF}" dt="2025-06-01T11:50:25.971" v="4151" actId="1076"/>
          <ac:spMkLst>
            <pc:docMk/>
            <pc:sldMk cId="2319019701" sldId="295"/>
            <ac:spMk id="34" creationId="{0671BB91-86B0-7082-8BFC-AA172E5E678E}"/>
          </ac:spMkLst>
        </pc:spChg>
        <pc:spChg chg="add mod">
          <ac:chgData name="Jessica Henley" userId="63b1edf9-6e48-442a-9e00-04850b59a756" providerId="ADAL" clId="{D7E2F68E-A503-4B31-8CB2-DC1B28F456AF}" dt="2025-06-01T11:50:25.971" v="4151" actId="1076"/>
          <ac:spMkLst>
            <pc:docMk/>
            <pc:sldMk cId="2319019701" sldId="295"/>
            <ac:spMk id="35" creationId="{DAABA8FC-E811-F676-4C68-E69AB1CE6EFD}"/>
          </ac:spMkLst>
        </pc:spChg>
        <pc:spChg chg="add mod">
          <ac:chgData name="Jessica Henley" userId="63b1edf9-6e48-442a-9e00-04850b59a756" providerId="ADAL" clId="{D7E2F68E-A503-4B31-8CB2-DC1B28F456AF}" dt="2025-06-01T11:50:25.971" v="4151" actId="1076"/>
          <ac:spMkLst>
            <pc:docMk/>
            <pc:sldMk cId="2319019701" sldId="295"/>
            <ac:spMk id="36" creationId="{E1C0EE0B-07DB-E2DD-EA5E-6168B75A419C}"/>
          </ac:spMkLst>
        </pc:spChg>
        <pc:grpChg chg="del">
          <ac:chgData name="Jessica Henley" userId="63b1edf9-6e48-442a-9e00-04850b59a756" providerId="ADAL" clId="{D7E2F68E-A503-4B31-8CB2-DC1B28F456AF}" dt="2025-06-01T11:17:08.270" v="3881" actId="478"/>
          <ac:grpSpMkLst>
            <pc:docMk/>
            <pc:sldMk cId="2319019701" sldId="295"/>
            <ac:grpSpMk id="3" creationId="{DFF93DC0-3317-E47D-D2CB-6A7AEF8E87A5}"/>
          </ac:grpSpMkLst>
        </pc:grpChg>
        <pc:grpChg chg="del">
          <ac:chgData name="Jessica Henley" userId="63b1edf9-6e48-442a-9e00-04850b59a756" providerId="ADAL" clId="{D7E2F68E-A503-4B31-8CB2-DC1B28F456AF}" dt="2025-06-01T11:17:11.047" v="3882" actId="478"/>
          <ac:grpSpMkLst>
            <pc:docMk/>
            <pc:sldMk cId="2319019701" sldId="295"/>
            <ac:grpSpMk id="44" creationId="{B183F564-8666-733E-E181-DDC9ED007E97}"/>
          </ac:grpSpMkLst>
        </pc:grpChg>
        <pc:cxnChg chg="mod">
          <ac:chgData name="Jessica Henley" userId="63b1edf9-6e48-442a-9e00-04850b59a756" providerId="ADAL" clId="{D7E2F68E-A503-4B31-8CB2-DC1B28F456AF}" dt="2025-06-01T11:17:08.270" v="3881" actId="478"/>
          <ac:cxnSpMkLst>
            <pc:docMk/>
            <pc:sldMk cId="2319019701" sldId="295"/>
            <ac:cxnSpMk id="8" creationId="{F0279A86-10AF-9430-FA12-29E29042FFEA}"/>
          </ac:cxnSpMkLst>
        </pc:cxnChg>
        <pc:cxnChg chg="mod">
          <ac:chgData name="Jessica Henley" userId="63b1edf9-6e48-442a-9e00-04850b59a756" providerId="ADAL" clId="{D7E2F68E-A503-4B31-8CB2-DC1B28F456AF}" dt="2025-06-01T11:17:08.270" v="3881" actId="478"/>
          <ac:cxnSpMkLst>
            <pc:docMk/>
            <pc:sldMk cId="2319019701" sldId="295"/>
            <ac:cxnSpMk id="19" creationId="{9DB8BEB6-FC44-D3DE-EB3A-B459891AAEA5}"/>
          </ac:cxnSpMkLst>
        </pc:cxnChg>
        <pc:cxnChg chg="mod">
          <ac:chgData name="Jessica Henley" userId="63b1edf9-6e48-442a-9e00-04850b59a756" providerId="ADAL" clId="{D7E2F68E-A503-4B31-8CB2-DC1B28F456AF}" dt="2025-06-01T11:17:08.270" v="3881" actId="478"/>
          <ac:cxnSpMkLst>
            <pc:docMk/>
            <pc:sldMk cId="2319019701" sldId="295"/>
            <ac:cxnSpMk id="20" creationId="{9A9E0CD5-B1BE-6877-4467-154BB0478341}"/>
          </ac:cxnSpMkLst>
        </pc:cxnChg>
        <pc:cxnChg chg="mod">
          <ac:chgData name="Jessica Henley" userId="63b1edf9-6e48-442a-9e00-04850b59a756" providerId="ADAL" clId="{D7E2F68E-A503-4B31-8CB2-DC1B28F456AF}" dt="2025-06-01T11:17:08.270" v="3881" actId="478"/>
          <ac:cxnSpMkLst>
            <pc:docMk/>
            <pc:sldMk cId="2319019701" sldId="295"/>
            <ac:cxnSpMk id="21" creationId="{54F803CB-F78B-B694-B6BB-C8139F1BDD98}"/>
          </ac:cxnSpMkLst>
        </pc:cxnChg>
        <pc:cxnChg chg="mod">
          <ac:chgData name="Jessica Henley" userId="63b1edf9-6e48-442a-9e00-04850b59a756" providerId="ADAL" clId="{D7E2F68E-A503-4B31-8CB2-DC1B28F456AF}" dt="2025-06-01T11:17:08.270" v="3881" actId="478"/>
          <ac:cxnSpMkLst>
            <pc:docMk/>
            <pc:sldMk cId="2319019701" sldId="295"/>
            <ac:cxnSpMk id="22" creationId="{7B4B37FE-D689-30F8-47C0-ABC8021D1BB5}"/>
          </ac:cxnSpMkLst>
        </pc:cxnChg>
        <pc:cxnChg chg="mod">
          <ac:chgData name="Jessica Henley" userId="63b1edf9-6e48-442a-9e00-04850b59a756" providerId="ADAL" clId="{D7E2F68E-A503-4B31-8CB2-DC1B28F456AF}" dt="2025-06-01T11:17:08.270" v="3881" actId="478"/>
          <ac:cxnSpMkLst>
            <pc:docMk/>
            <pc:sldMk cId="2319019701" sldId="295"/>
            <ac:cxnSpMk id="40" creationId="{18BD11DB-55AB-C737-F67C-C445888E0981}"/>
          </ac:cxnSpMkLst>
        </pc:cxnChg>
        <pc:cxnChg chg="mod">
          <ac:chgData name="Jessica Henley" userId="63b1edf9-6e48-442a-9e00-04850b59a756" providerId="ADAL" clId="{D7E2F68E-A503-4B31-8CB2-DC1B28F456AF}" dt="2025-06-01T11:17:08.270" v="3881" actId="478"/>
          <ac:cxnSpMkLst>
            <pc:docMk/>
            <pc:sldMk cId="2319019701" sldId="295"/>
            <ac:cxnSpMk id="41" creationId="{E54FE0BD-7E3C-4B60-1411-6F74B2FF4C5A}"/>
          </ac:cxnSpMkLst>
        </pc:cxnChg>
      </pc:sldChg>
      <pc:sldChg chg="addSp delSp modSp del mod ord">
        <pc:chgData name="Jessica Henley" userId="63b1edf9-6e48-442a-9e00-04850b59a756" providerId="ADAL" clId="{D7E2F68E-A503-4B31-8CB2-DC1B28F456AF}" dt="2025-06-01T11:46:48.014" v="4120" actId="2696"/>
        <pc:sldMkLst>
          <pc:docMk/>
          <pc:sldMk cId="1420564316" sldId="296"/>
        </pc:sldMkLst>
        <pc:spChg chg="del">
          <ac:chgData name="Jessica Henley" userId="63b1edf9-6e48-442a-9e00-04850b59a756" providerId="ADAL" clId="{D7E2F68E-A503-4B31-8CB2-DC1B28F456AF}" dt="2025-06-01T11:18:23.391" v="3891" actId="478"/>
          <ac:spMkLst>
            <pc:docMk/>
            <pc:sldMk cId="1420564316" sldId="296"/>
            <ac:spMk id="2" creationId="{5AC45562-EF5A-7E04-A272-61897D8CA6A5}"/>
          </ac:spMkLst>
        </pc:spChg>
        <pc:spChg chg="del mod">
          <ac:chgData name="Jessica Henley" userId="63b1edf9-6e48-442a-9e00-04850b59a756" providerId="ADAL" clId="{D7E2F68E-A503-4B31-8CB2-DC1B28F456AF}" dt="2025-06-01T11:18:20.847" v="3890" actId="478"/>
          <ac:spMkLst>
            <pc:docMk/>
            <pc:sldMk cId="1420564316" sldId="296"/>
            <ac:spMk id="5" creationId="{64773C44-A1E6-E506-438D-453A7AD559A6}"/>
          </ac:spMkLst>
        </pc:spChg>
        <pc:spChg chg="del">
          <ac:chgData name="Jessica Henley" userId="63b1edf9-6e48-442a-9e00-04850b59a756" providerId="ADAL" clId="{D7E2F68E-A503-4B31-8CB2-DC1B28F456AF}" dt="2025-06-01T11:18:34.916" v="3893" actId="478"/>
          <ac:spMkLst>
            <pc:docMk/>
            <pc:sldMk cId="1420564316" sldId="296"/>
            <ac:spMk id="7" creationId="{9A22C53F-3E56-34E9-2CA1-3B30B8FB208B}"/>
          </ac:spMkLst>
        </pc:spChg>
        <pc:spChg chg="add mod">
          <ac:chgData name="Jessica Henley" userId="63b1edf9-6e48-442a-9e00-04850b59a756" providerId="ADAL" clId="{D7E2F68E-A503-4B31-8CB2-DC1B28F456AF}" dt="2025-06-01T11:18:30.273" v="3892" actId="1076"/>
          <ac:spMkLst>
            <pc:docMk/>
            <pc:sldMk cId="1420564316" sldId="296"/>
            <ac:spMk id="8" creationId="{CF832FEA-EB50-10FB-AD85-D08CC6495D03}"/>
          </ac:spMkLst>
        </pc:spChg>
        <pc:spChg chg="mod">
          <ac:chgData name="Jessica Henley" userId="63b1edf9-6e48-442a-9e00-04850b59a756" providerId="ADAL" clId="{D7E2F68E-A503-4B31-8CB2-DC1B28F456AF}" dt="2025-06-01T11:45:45.470" v="4110"/>
          <ac:spMkLst>
            <pc:docMk/>
            <pc:sldMk cId="1420564316" sldId="296"/>
            <ac:spMk id="10" creationId="{A8695EFA-B288-C537-5A0B-C9D00C1E90E4}"/>
          </ac:spMkLst>
        </pc:spChg>
        <pc:spChg chg="mod">
          <ac:chgData name="Jessica Henley" userId="63b1edf9-6e48-442a-9e00-04850b59a756" providerId="ADAL" clId="{D7E2F68E-A503-4B31-8CB2-DC1B28F456AF}" dt="2025-06-01T11:26:37.068" v="3914"/>
          <ac:spMkLst>
            <pc:docMk/>
            <pc:sldMk cId="1420564316" sldId="296"/>
            <ac:spMk id="15" creationId="{F55C36E2-18FA-56AD-08CD-C9F6008CFF20}"/>
          </ac:spMkLst>
        </pc:spChg>
        <pc:spChg chg="mod">
          <ac:chgData name="Jessica Henley" userId="63b1edf9-6e48-442a-9e00-04850b59a756" providerId="ADAL" clId="{D7E2F68E-A503-4B31-8CB2-DC1B28F456AF}" dt="2025-06-01T11:26:37.068" v="3914"/>
          <ac:spMkLst>
            <pc:docMk/>
            <pc:sldMk cId="1420564316" sldId="296"/>
            <ac:spMk id="19" creationId="{2ECE2F64-BF46-4BDF-D6AF-AE272C0E7B50}"/>
          </ac:spMkLst>
        </pc:spChg>
        <pc:spChg chg="mod">
          <ac:chgData name="Jessica Henley" userId="63b1edf9-6e48-442a-9e00-04850b59a756" providerId="ADAL" clId="{D7E2F68E-A503-4B31-8CB2-DC1B28F456AF}" dt="2025-06-01T11:26:37.068" v="3914"/>
          <ac:spMkLst>
            <pc:docMk/>
            <pc:sldMk cId="1420564316" sldId="296"/>
            <ac:spMk id="20" creationId="{6B520C42-80EB-0B31-7965-6B59AC995D95}"/>
          </ac:spMkLst>
        </pc:spChg>
        <pc:spChg chg="mod">
          <ac:chgData name="Jessica Henley" userId="63b1edf9-6e48-442a-9e00-04850b59a756" providerId="ADAL" clId="{D7E2F68E-A503-4B31-8CB2-DC1B28F456AF}" dt="2025-06-01T11:26:37.068" v="3914"/>
          <ac:spMkLst>
            <pc:docMk/>
            <pc:sldMk cId="1420564316" sldId="296"/>
            <ac:spMk id="23" creationId="{A0A1241B-288E-38C1-2B41-B05FF98DD8AE}"/>
          </ac:spMkLst>
        </pc:spChg>
        <pc:spChg chg="add mod">
          <ac:chgData name="Jessica Henley" userId="63b1edf9-6e48-442a-9e00-04850b59a756" providerId="ADAL" clId="{D7E2F68E-A503-4B31-8CB2-DC1B28F456AF}" dt="2025-06-01T11:26:37.068" v="3914"/>
          <ac:spMkLst>
            <pc:docMk/>
            <pc:sldMk cId="1420564316" sldId="296"/>
            <ac:spMk id="28" creationId="{AD67009A-0F57-6AD4-F672-30ED9A85BB1E}"/>
          </ac:spMkLst>
        </pc:spChg>
        <pc:spChg chg="add mod">
          <ac:chgData name="Jessica Henley" userId="63b1edf9-6e48-442a-9e00-04850b59a756" providerId="ADAL" clId="{D7E2F68E-A503-4B31-8CB2-DC1B28F456AF}" dt="2025-06-01T11:26:37.068" v="3914"/>
          <ac:spMkLst>
            <pc:docMk/>
            <pc:sldMk cId="1420564316" sldId="296"/>
            <ac:spMk id="30" creationId="{640D5F97-1551-E3D8-1F3F-68003CB2174A}"/>
          </ac:spMkLst>
        </pc:spChg>
        <pc:spChg chg="mod">
          <ac:chgData name="Jessica Henley" userId="63b1edf9-6e48-442a-9e00-04850b59a756" providerId="ADAL" clId="{D7E2F68E-A503-4B31-8CB2-DC1B28F456AF}" dt="2025-06-01T11:26:37.068" v="3914"/>
          <ac:spMkLst>
            <pc:docMk/>
            <pc:sldMk cId="1420564316" sldId="296"/>
            <ac:spMk id="35" creationId="{1B8CB04F-D715-155D-AE59-340902941347}"/>
          </ac:spMkLst>
        </pc:spChg>
        <pc:spChg chg="mod">
          <ac:chgData name="Jessica Henley" userId="63b1edf9-6e48-442a-9e00-04850b59a756" providerId="ADAL" clId="{D7E2F68E-A503-4B31-8CB2-DC1B28F456AF}" dt="2025-06-01T11:45:14.770" v="4096"/>
          <ac:spMkLst>
            <pc:docMk/>
            <pc:sldMk cId="1420564316" sldId="296"/>
            <ac:spMk id="43" creationId="{73C25E56-A4F5-F238-949B-8E4D05A73F08}"/>
          </ac:spMkLst>
        </pc:spChg>
        <pc:spChg chg="mod">
          <ac:chgData name="Jessica Henley" userId="63b1edf9-6e48-442a-9e00-04850b59a756" providerId="ADAL" clId="{D7E2F68E-A503-4B31-8CB2-DC1B28F456AF}" dt="2025-06-01T11:26:37.068" v="3914"/>
          <ac:spMkLst>
            <pc:docMk/>
            <pc:sldMk cId="1420564316" sldId="296"/>
            <ac:spMk id="44" creationId="{3747CBC2-8D01-1E6E-BE63-A82AFD7329BE}"/>
          </ac:spMkLst>
        </pc:spChg>
        <pc:spChg chg="add mod">
          <ac:chgData name="Jessica Henley" userId="63b1edf9-6e48-442a-9e00-04850b59a756" providerId="ADAL" clId="{D7E2F68E-A503-4B31-8CB2-DC1B28F456AF}" dt="2025-06-01T11:45:45.470" v="4110"/>
          <ac:spMkLst>
            <pc:docMk/>
            <pc:sldMk cId="1420564316" sldId="296"/>
            <ac:spMk id="47" creationId="{80412F68-F200-6BF3-7522-5DF9CE055CD4}"/>
          </ac:spMkLst>
        </pc:spChg>
        <pc:spChg chg="add del mod">
          <ac:chgData name="Jessica Henley" userId="63b1edf9-6e48-442a-9e00-04850b59a756" providerId="ADAL" clId="{D7E2F68E-A503-4B31-8CB2-DC1B28F456AF}" dt="2025-06-01T11:46:43.077" v="4119" actId="21"/>
          <ac:spMkLst>
            <pc:docMk/>
            <pc:sldMk cId="1420564316" sldId="296"/>
            <ac:spMk id="49" creationId="{868E37D2-6875-01AB-F990-3B4C85C1D42F}"/>
          </ac:spMkLst>
        </pc:spChg>
        <pc:spChg chg="mod">
          <ac:chgData name="Jessica Henley" userId="63b1edf9-6e48-442a-9e00-04850b59a756" providerId="ADAL" clId="{D7E2F68E-A503-4B31-8CB2-DC1B28F456AF}" dt="2025-06-01T11:26:37.068" v="3914"/>
          <ac:spMkLst>
            <pc:docMk/>
            <pc:sldMk cId="1420564316" sldId="296"/>
            <ac:spMk id="50" creationId="{1F8C4DEB-AAE8-7E5D-E117-8E02C747BF2B}"/>
          </ac:spMkLst>
        </pc:spChg>
        <pc:spChg chg="mod">
          <ac:chgData name="Jessica Henley" userId="63b1edf9-6e48-442a-9e00-04850b59a756" providerId="ADAL" clId="{D7E2F68E-A503-4B31-8CB2-DC1B28F456AF}" dt="2025-06-01T11:26:37.068" v="3914"/>
          <ac:spMkLst>
            <pc:docMk/>
            <pc:sldMk cId="1420564316" sldId="296"/>
            <ac:spMk id="54" creationId="{9748E06C-80E2-C753-29D8-35588CE5DC28}"/>
          </ac:spMkLst>
        </pc:spChg>
        <pc:spChg chg="mod ord topLvl">
          <ac:chgData name="Jessica Henley" userId="63b1edf9-6e48-442a-9e00-04850b59a756" providerId="ADAL" clId="{D7E2F68E-A503-4B31-8CB2-DC1B28F456AF}" dt="2025-06-01T11:27:54.146" v="3933" actId="1076"/>
          <ac:spMkLst>
            <pc:docMk/>
            <pc:sldMk cId="1420564316" sldId="296"/>
            <ac:spMk id="61" creationId="{028F190D-3C66-7AB2-7AA2-2F6932660BA5}"/>
          </ac:spMkLst>
        </pc:spChg>
        <pc:grpChg chg="del">
          <ac:chgData name="Jessica Henley" userId="63b1edf9-6e48-442a-9e00-04850b59a756" providerId="ADAL" clId="{D7E2F68E-A503-4B31-8CB2-DC1B28F456AF}" dt="2025-06-01T11:18:37.925" v="3894" actId="478"/>
          <ac:grpSpMkLst>
            <pc:docMk/>
            <pc:sldMk cId="1420564316" sldId="296"/>
            <ac:grpSpMk id="4" creationId="{12CE5581-8539-4BE7-34B0-A57F671EBFFA}"/>
          </ac:grpSpMkLst>
        </pc:grpChg>
        <pc:grpChg chg="del">
          <ac:chgData name="Jessica Henley" userId="63b1edf9-6e48-442a-9e00-04850b59a756" providerId="ADAL" clId="{D7E2F68E-A503-4B31-8CB2-DC1B28F456AF}" dt="2025-06-01T11:18:34.916" v="3893" actId="478"/>
          <ac:grpSpMkLst>
            <pc:docMk/>
            <pc:sldMk cId="1420564316" sldId="296"/>
            <ac:grpSpMk id="6" creationId="{74012B2E-5A72-9F26-6B5E-56414F0A3580}"/>
          </ac:grpSpMkLst>
        </pc:grpChg>
        <pc:grpChg chg="add mod">
          <ac:chgData name="Jessica Henley" userId="63b1edf9-6e48-442a-9e00-04850b59a756" providerId="ADAL" clId="{D7E2F68E-A503-4B31-8CB2-DC1B28F456AF}" dt="2025-06-01T11:45:45.470" v="4110"/>
          <ac:grpSpMkLst>
            <pc:docMk/>
            <pc:sldMk cId="1420564316" sldId="296"/>
            <ac:grpSpMk id="9" creationId="{6C7FA53C-C642-E173-6075-C32D44C68A0A}"/>
          </ac:grpSpMkLst>
        </pc:grpChg>
        <pc:grpChg chg="add mod">
          <ac:chgData name="Jessica Henley" userId="63b1edf9-6e48-442a-9e00-04850b59a756" providerId="ADAL" clId="{D7E2F68E-A503-4B31-8CB2-DC1B28F456AF}" dt="2025-06-01T11:45:45.470" v="4110"/>
          <ac:grpSpMkLst>
            <pc:docMk/>
            <pc:sldMk cId="1420564316" sldId="296"/>
            <ac:grpSpMk id="13" creationId="{DCE88916-F9E8-5D33-14BD-BD6D6442A4DC}"/>
          </ac:grpSpMkLst>
        </pc:grpChg>
        <pc:grpChg chg="add del mod">
          <ac:chgData name="Jessica Henley" userId="63b1edf9-6e48-442a-9e00-04850b59a756" providerId="ADAL" clId="{D7E2F68E-A503-4B31-8CB2-DC1B28F456AF}" dt="2025-06-01T11:45:16.406" v="4097" actId="21"/>
          <ac:grpSpMkLst>
            <pc:docMk/>
            <pc:sldMk cId="1420564316" sldId="296"/>
            <ac:grpSpMk id="34" creationId="{9A23015E-4B69-3092-D40B-AF20FE292F46}"/>
          </ac:grpSpMkLst>
        </pc:grpChg>
        <pc:grpChg chg="mod">
          <ac:chgData name="Jessica Henley" userId="63b1edf9-6e48-442a-9e00-04850b59a756" providerId="ADAL" clId="{D7E2F68E-A503-4B31-8CB2-DC1B28F456AF}" dt="2025-06-01T11:45:14.770" v="4096"/>
          <ac:grpSpMkLst>
            <pc:docMk/>
            <pc:sldMk cId="1420564316" sldId="296"/>
            <ac:grpSpMk id="37" creationId="{1AF5E11A-9715-B6A9-9C92-184200B14899}"/>
          </ac:grpSpMkLst>
        </pc:grpChg>
        <pc:grpChg chg="del mod">
          <ac:chgData name="Jessica Henley" userId="63b1edf9-6e48-442a-9e00-04850b59a756" providerId="ADAL" clId="{D7E2F68E-A503-4B31-8CB2-DC1B28F456AF}" dt="2025-06-01T11:26:50.046" v="3917" actId="478"/>
          <ac:grpSpMkLst>
            <pc:docMk/>
            <pc:sldMk cId="1420564316" sldId="296"/>
            <ac:grpSpMk id="60" creationId="{DAAF6D20-15D8-3AEF-6E89-774E9FEB6C00}"/>
          </ac:grpSpMkLst>
        </pc:grpChg>
        <pc:grpChg chg="del">
          <ac:chgData name="Jessica Henley" userId="63b1edf9-6e48-442a-9e00-04850b59a756" providerId="ADAL" clId="{D7E2F68E-A503-4B31-8CB2-DC1B28F456AF}" dt="2025-06-01T11:17:43.173" v="3883" actId="478"/>
          <ac:grpSpMkLst>
            <pc:docMk/>
            <pc:sldMk cId="1420564316" sldId="296"/>
            <ac:grpSpMk id="86" creationId="{6A9AD9D3-05F7-8676-BABB-2C52FAF9BAE8}"/>
          </ac:grpSpMkLst>
        </pc:grpChg>
        <pc:picChg chg="del topLvl">
          <ac:chgData name="Jessica Henley" userId="63b1edf9-6e48-442a-9e00-04850b59a756" providerId="ADAL" clId="{D7E2F68E-A503-4B31-8CB2-DC1B28F456AF}" dt="2025-06-01T11:18:37.925" v="3894" actId="478"/>
          <ac:picMkLst>
            <pc:docMk/>
            <pc:sldMk cId="1420564316" sldId="296"/>
            <ac:picMk id="11" creationId="{3EC2CCEE-EFF3-9F23-541D-D7987B57CBF4}"/>
          </ac:picMkLst>
        </pc:picChg>
        <pc:picChg chg="mod">
          <ac:chgData name="Jessica Henley" userId="63b1edf9-6e48-442a-9e00-04850b59a756" providerId="ADAL" clId="{D7E2F68E-A503-4B31-8CB2-DC1B28F456AF}" dt="2025-06-01T11:45:45.470" v="4110"/>
          <ac:picMkLst>
            <pc:docMk/>
            <pc:sldMk cId="1420564316" sldId="296"/>
            <ac:picMk id="12" creationId="{EBA26557-C9B9-56A2-7E91-911CBDE512F9}"/>
          </ac:picMkLst>
        </pc:picChg>
        <pc:picChg chg="del topLvl">
          <ac:chgData name="Jessica Henley" userId="63b1edf9-6e48-442a-9e00-04850b59a756" providerId="ADAL" clId="{D7E2F68E-A503-4B31-8CB2-DC1B28F456AF}" dt="2025-06-01T11:26:50.046" v="3917" actId="478"/>
          <ac:picMkLst>
            <pc:docMk/>
            <pc:sldMk cId="1420564316" sldId="296"/>
            <ac:picMk id="31" creationId="{0E66EC10-F8F4-9AB6-4872-AE83B89CB298}"/>
          </ac:picMkLst>
        </pc:picChg>
        <pc:picChg chg="add del mod ord">
          <ac:chgData name="Jessica Henley" userId="63b1edf9-6e48-442a-9e00-04850b59a756" providerId="ADAL" clId="{D7E2F68E-A503-4B31-8CB2-DC1B28F456AF}" dt="2025-06-01T11:27:51.732" v="3931" actId="21"/>
          <ac:picMkLst>
            <pc:docMk/>
            <pc:sldMk cId="1420564316" sldId="296"/>
            <ac:picMk id="32" creationId="{0EED725E-3161-B1A8-2D53-C895E71F00E3}"/>
          </ac:picMkLst>
        </pc:picChg>
        <pc:picChg chg="add del mod">
          <ac:chgData name="Jessica Henley" userId="63b1edf9-6e48-442a-9e00-04850b59a756" providerId="ADAL" clId="{D7E2F68E-A503-4B31-8CB2-DC1B28F456AF}" dt="2025-06-01T11:28:12.994" v="3936" actId="478"/>
          <ac:picMkLst>
            <pc:docMk/>
            <pc:sldMk cId="1420564316" sldId="296"/>
            <ac:picMk id="33" creationId="{69A194A9-7FC4-6ABF-9130-0B98D49CBFEC}"/>
          </ac:picMkLst>
        </pc:picChg>
        <pc:picChg chg="mod">
          <ac:chgData name="Jessica Henley" userId="63b1edf9-6e48-442a-9e00-04850b59a756" providerId="ADAL" clId="{D7E2F68E-A503-4B31-8CB2-DC1B28F456AF}" dt="2025-06-01T11:45:14.770" v="4096"/>
          <ac:picMkLst>
            <pc:docMk/>
            <pc:sldMk cId="1420564316" sldId="296"/>
            <ac:picMk id="45" creationId="{AAFCEDD1-2AD0-B051-5D40-E096CEBDDEF1}"/>
          </ac:picMkLst>
        </pc:picChg>
        <pc:cxnChg chg="mod topLvl">
          <ac:chgData name="Jessica Henley" userId="63b1edf9-6e48-442a-9e00-04850b59a756" providerId="ADAL" clId="{D7E2F68E-A503-4B31-8CB2-DC1B28F456AF}" dt="2025-06-01T11:45:45.470" v="4110"/>
          <ac:cxnSpMkLst>
            <pc:docMk/>
            <pc:sldMk cId="1420564316" sldId="296"/>
            <ac:cxnSpMk id="3" creationId="{C41B7FAE-4866-A263-E991-D4FCBCB852E5}"/>
          </ac:cxnSpMkLst>
        </pc:cxnChg>
        <pc:cxnChg chg="mod">
          <ac:chgData name="Jessica Henley" userId="63b1edf9-6e48-442a-9e00-04850b59a756" providerId="ADAL" clId="{D7E2F68E-A503-4B31-8CB2-DC1B28F456AF}" dt="2025-06-01T11:45:14.770" v="4096"/>
          <ac:cxnSpMkLst>
            <pc:docMk/>
            <pc:sldMk cId="1420564316" sldId="296"/>
            <ac:cxnSpMk id="36" creationId="{54CBF597-7E17-C94A-2D81-D824A75EFB90}"/>
          </ac:cxnSpMkLst>
        </pc:cxnChg>
        <pc:cxnChg chg="mod">
          <ac:chgData name="Jessica Henley" userId="63b1edf9-6e48-442a-9e00-04850b59a756" providerId="ADAL" clId="{D7E2F68E-A503-4B31-8CB2-DC1B28F456AF}" dt="2025-06-01T11:17:43.173" v="3883" actId="478"/>
          <ac:cxnSpMkLst>
            <pc:docMk/>
            <pc:sldMk cId="1420564316" sldId="296"/>
            <ac:cxnSpMk id="62" creationId="{A1059A5D-541A-8890-6FA7-F25BD866666B}"/>
          </ac:cxnSpMkLst>
        </pc:cxnChg>
        <pc:cxnChg chg="mod">
          <ac:chgData name="Jessica Henley" userId="63b1edf9-6e48-442a-9e00-04850b59a756" providerId="ADAL" clId="{D7E2F68E-A503-4B31-8CB2-DC1B28F456AF}" dt="2025-06-01T11:17:43.173" v="3883" actId="478"/>
          <ac:cxnSpMkLst>
            <pc:docMk/>
            <pc:sldMk cId="1420564316" sldId="296"/>
            <ac:cxnSpMk id="63" creationId="{0F9044F3-56BC-01AB-9A37-FF8A6235EA4B}"/>
          </ac:cxnSpMkLst>
        </pc:cxnChg>
        <pc:cxnChg chg="mod">
          <ac:chgData name="Jessica Henley" userId="63b1edf9-6e48-442a-9e00-04850b59a756" providerId="ADAL" clId="{D7E2F68E-A503-4B31-8CB2-DC1B28F456AF}" dt="2025-06-01T11:17:43.173" v="3883" actId="478"/>
          <ac:cxnSpMkLst>
            <pc:docMk/>
            <pc:sldMk cId="1420564316" sldId="296"/>
            <ac:cxnSpMk id="66" creationId="{94640ABF-B402-5D80-6F7E-4A466A72BF88}"/>
          </ac:cxnSpMkLst>
        </pc:cxnChg>
        <pc:cxnChg chg="mod">
          <ac:chgData name="Jessica Henley" userId="63b1edf9-6e48-442a-9e00-04850b59a756" providerId="ADAL" clId="{D7E2F68E-A503-4B31-8CB2-DC1B28F456AF}" dt="2025-06-01T11:17:43.173" v="3883" actId="478"/>
          <ac:cxnSpMkLst>
            <pc:docMk/>
            <pc:sldMk cId="1420564316" sldId="296"/>
            <ac:cxnSpMk id="73" creationId="{55519853-9B28-EFF0-ABFB-335CF9D4EBD5}"/>
          </ac:cxnSpMkLst>
        </pc:cxnChg>
        <pc:cxnChg chg="mod">
          <ac:chgData name="Jessica Henley" userId="63b1edf9-6e48-442a-9e00-04850b59a756" providerId="ADAL" clId="{D7E2F68E-A503-4B31-8CB2-DC1B28F456AF}" dt="2025-06-01T11:17:43.173" v="3883" actId="478"/>
          <ac:cxnSpMkLst>
            <pc:docMk/>
            <pc:sldMk cId="1420564316" sldId="296"/>
            <ac:cxnSpMk id="75" creationId="{0F48CC25-853C-08CD-94E0-E2AEF76ADEF9}"/>
          </ac:cxnSpMkLst>
        </pc:cxnChg>
        <pc:cxnChg chg="mod">
          <ac:chgData name="Jessica Henley" userId="63b1edf9-6e48-442a-9e00-04850b59a756" providerId="ADAL" clId="{D7E2F68E-A503-4B31-8CB2-DC1B28F456AF}" dt="2025-06-01T11:17:43.173" v="3883" actId="478"/>
          <ac:cxnSpMkLst>
            <pc:docMk/>
            <pc:sldMk cId="1420564316" sldId="296"/>
            <ac:cxnSpMk id="78" creationId="{9825D816-E258-1081-DD7F-62018624E4AE}"/>
          </ac:cxnSpMkLst>
        </pc:cxnChg>
        <pc:cxnChg chg="mod">
          <ac:chgData name="Jessica Henley" userId="63b1edf9-6e48-442a-9e00-04850b59a756" providerId="ADAL" clId="{D7E2F68E-A503-4B31-8CB2-DC1B28F456AF}" dt="2025-06-01T11:17:43.173" v="3883" actId="478"/>
          <ac:cxnSpMkLst>
            <pc:docMk/>
            <pc:sldMk cId="1420564316" sldId="296"/>
            <ac:cxnSpMk id="82" creationId="{5320D4F0-D415-DF91-EB24-AF1FEA5D598F}"/>
          </ac:cxnSpMkLst>
        </pc:cxnChg>
      </pc:sldChg>
      <pc:sldChg chg="addSp delSp modSp mod">
        <pc:chgData name="Jessica Henley" userId="63b1edf9-6e48-442a-9e00-04850b59a756" providerId="ADAL" clId="{D7E2F68E-A503-4B31-8CB2-DC1B28F456AF}" dt="2025-06-01T12:21:13.177" v="4533" actId="1076"/>
        <pc:sldMkLst>
          <pc:docMk/>
          <pc:sldMk cId="4034632735" sldId="297"/>
        </pc:sldMkLst>
        <pc:spChg chg="mod">
          <ac:chgData name="Jessica Henley" userId="63b1edf9-6e48-442a-9e00-04850b59a756" providerId="ADAL" clId="{D7E2F68E-A503-4B31-8CB2-DC1B28F456AF}" dt="2025-06-01T12:21:07.301" v="4532"/>
          <ac:spMkLst>
            <pc:docMk/>
            <pc:sldMk cId="4034632735" sldId="297"/>
            <ac:spMk id="13" creationId="{74C615C1-4300-C93A-D716-5B6032F950E1}"/>
          </ac:spMkLst>
        </pc:spChg>
        <pc:spChg chg="mod">
          <ac:chgData name="Jessica Henley" userId="63b1edf9-6e48-442a-9e00-04850b59a756" providerId="ADAL" clId="{D7E2F68E-A503-4B31-8CB2-DC1B28F456AF}" dt="2025-06-01T12:21:07.301" v="4532"/>
          <ac:spMkLst>
            <pc:docMk/>
            <pc:sldMk cId="4034632735" sldId="297"/>
            <ac:spMk id="15" creationId="{526D91E0-ABEE-51B8-B287-B14BAB5E1B18}"/>
          </ac:spMkLst>
        </pc:spChg>
        <pc:spChg chg="mod">
          <ac:chgData name="Jessica Henley" userId="63b1edf9-6e48-442a-9e00-04850b59a756" providerId="ADAL" clId="{D7E2F68E-A503-4B31-8CB2-DC1B28F456AF}" dt="2025-06-01T12:21:07.301" v="4532"/>
          <ac:spMkLst>
            <pc:docMk/>
            <pc:sldMk cId="4034632735" sldId="297"/>
            <ac:spMk id="19" creationId="{46FB3637-31D0-25E7-9C11-358000E733C6}"/>
          </ac:spMkLst>
        </pc:spChg>
        <pc:spChg chg="mod">
          <ac:chgData name="Jessica Henley" userId="63b1edf9-6e48-442a-9e00-04850b59a756" providerId="ADAL" clId="{D7E2F68E-A503-4B31-8CB2-DC1B28F456AF}" dt="2025-06-01T12:21:07.301" v="4532"/>
          <ac:spMkLst>
            <pc:docMk/>
            <pc:sldMk cId="4034632735" sldId="297"/>
            <ac:spMk id="21" creationId="{C079E275-941B-3113-9AAC-04394445872C}"/>
          </ac:spMkLst>
        </pc:spChg>
        <pc:spChg chg="mod">
          <ac:chgData name="Jessica Henley" userId="63b1edf9-6e48-442a-9e00-04850b59a756" providerId="ADAL" clId="{D7E2F68E-A503-4B31-8CB2-DC1B28F456AF}" dt="2025-06-01T12:21:07.301" v="4532"/>
          <ac:spMkLst>
            <pc:docMk/>
            <pc:sldMk cId="4034632735" sldId="297"/>
            <ac:spMk id="25" creationId="{ABC239E4-A48D-4139-9BB0-4472B9D8A169}"/>
          </ac:spMkLst>
        </pc:spChg>
        <pc:spChg chg="mod">
          <ac:chgData name="Jessica Henley" userId="63b1edf9-6e48-442a-9e00-04850b59a756" providerId="ADAL" clId="{D7E2F68E-A503-4B31-8CB2-DC1B28F456AF}" dt="2025-06-01T12:21:07.301" v="4532"/>
          <ac:spMkLst>
            <pc:docMk/>
            <pc:sldMk cId="4034632735" sldId="297"/>
            <ac:spMk id="29" creationId="{A345483E-5180-484A-CFA0-75F3BF69D72C}"/>
          </ac:spMkLst>
        </pc:spChg>
        <pc:spChg chg="mod">
          <ac:chgData name="Jessica Henley" userId="63b1edf9-6e48-442a-9e00-04850b59a756" providerId="ADAL" clId="{D7E2F68E-A503-4B31-8CB2-DC1B28F456AF}" dt="2025-06-01T12:21:07.301" v="4532"/>
          <ac:spMkLst>
            <pc:docMk/>
            <pc:sldMk cId="4034632735" sldId="297"/>
            <ac:spMk id="31" creationId="{C3822D19-1E4D-6F3D-B05B-8DF1B999D761}"/>
          </ac:spMkLst>
        </pc:spChg>
        <pc:spChg chg="mod">
          <ac:chgData name="Jessica Henley" userId="63b1edf9-6e48-442a-9e00-04850b59a756" providerId="ADAL" clId="{D7E2F68E-A503-4B31-8CB2-DC1B28F456AF}" dt="2025-06-01T12:21:07.301" v="4532"/>
          <ac:spMkLst>
            <pc:docMk/>
            <pc:sldMk cId="4034632735" sldId="297"/>
            <ac:spMk id="33" creationId="{75C107FB-C72E-1EEB-6B26-D2B0DAF88C7E}"/>
          </ac:spMkLst>
        </pc:spChg>
        <pc:spChg chg="mod">
          <ac:chgData name="Jessica Henley" userId="63b1edf9-6e48-442a-9e00-04850b59a756" providerId="ADAL" clId="{D7E2F68E-A503-4B31-8CB2-DC1B28F456AF}" dt="2025-06-01T12:21:07.301" v="4532"/>
          <ac:spMkLst>
            <pc:docMk/>
            <pc:sldMk cId="4034632735" sldId="297"/>
            <ac:spMk id="38" creationId="{DCF05098-85AE-A0AE-6DDC-4C230BF69246}"/>
          </ac:spMkLst>
        </pc:spChg>
        <pc:spChg chg="add mod">
          <ac:chgData name="Jessica Henley" userId="63b1edf9-6e48-442a-9e00-04850b59a756" providerId="ADAL" clId="{D7E2F68E-A503-4B31-8CB2-DC1B28F456AF}" dt="2025-06-01T12:21:13.177" v="4533" actId="1076"/>
          <ac:spMkLst>
            <pc:docMk/>
            <pc:sldMk cId="4034632735" sldId="297"/>
            <ac:spMk id="40" creationId="{8992DE1B-F7FF-E479-8B71-F362F33243D9}"/>
          </ac:spMkLst>
        </pc:spChg>
        <pc:grpChg chg="mod">
          <ac:chgData name="Jessica Henley" userId="63b1edf9-6e48-442a-9e00-04850b59a756" providerId="ADAL" clId="{D7E2F68E-A503-4B31-8CB2-DC1B28F456AF}" dt="2025-06-01T12:21:13.177" v="4533" actId="1076"/>
          <ac:grpSpMkLst>
            <pc:docMk/>
            <pc:sldMk cId="4034632735" sldId="297"/>
            <ac:grpSpMk id="2" creationId="{F153420A-C5D2-19A3-D334-698ADDEF1B56}"/>
          </ac:grpSpMkLst>
        </pc:grpChg>
        <pc:grpChg chg="del">
          <ac:chgData name="Jessica Henley" userId="63b1edf9-6e48-442a-9e00-04850b59a756" providerId="ADAL" clId="{D7E2F68E-A503-4B31-8CB2-DC1B28F456AF}" dt="2025-06-01T11:58:44.372" v="4362" actId="478"/>
          <ac:grpSpMkLst>
            <pc:docMk/>
            <pc:sldMk cId="4034632735" sldId="297"/>
            <ac:grpSpMk id="3" creationId="{510CA0BB-48C3-3684-5D08-A1AFE0CBC9C3}"/>
          </ac:grpSpMkLst>
        </pc:grpChg>
        <pc:grpChg chg="mod">
          <ac:chgData name="Jessica Henley" userId="63b1edf9-6e48-442a-9e00-04850b59a756" providerId="ADAL" clId="{D7E2F68E-A503-4B31-8CB2-DC1B28F456AF}" dt="2025-06-01T12:21:13.177" v="4533" actId="1076"/>
          <ac:grpSpMkLst>
            <pc:docMk/>
            <pc:sldMk cId="4034632735" sldId="297"/>
            <ac:grpSpMk id="11" creationId="{C66ECE85-8329-061E-300A-5B62B69A833D}"/>
          </ac:grpSpMkLst>
        </pc:grpChg>
        <pc:grpChg chg="del">
          <ac:chgData name="Jessica Henley" userId="63b1edf9-6e48-442a-9e00-04850b59a756" providerId="ADAL" clId="{D7E2F68E-A503-4B31-8CB2-DC1B28F456AF}" dt="2025-06-01T10:17:12.351" v="3233" actId="21"/>
          <ac:grpSpMkLst>
            <pc:docMk/>
            <pc:sldMk cId="4034632735" sldId="297"/>
            <ac:grpSpMk id="49" creationId="{E43BBAD4-DDA2-C048-EC2E-802923933637}"/>
          </ac:grpSpMkLst>
        </pc:grpChg>
      </pc:sldChg>
      <pc:sldChg chg="addSp modSp mod">
        <pc:chgData name="Jessica Henley" userId="63b1edf9-6e48-442a-9e00-04850b59a756" providerId="ADAL" clId="{D7E2F68E-A503-4B31-8CB2-DC1B28F456AF}" dt="2025-06-01T12:20:57.596" v="4531" actId="164"/>
        <pc:sldMkLst>
          <pc:docMk/>
          <pc:sldMk cId="2886427178" sldId="298"/>
        </pc:sldMkLst>
        <pc:spChg chg="mod">
          <ac:chgData name="Jessica Henley" userId="63b1edf9-6e48-442a-9e00-04850b59a756" providerId="ADAL" clId="{D7E2F68E-A503-4B31-8CB2-DC1B28F456AF}" dt="2025-06-01T12:17:55.840" v="4499"/>
          <ac:spMkLst>
            <pc:docMk/>
            <pc:sldMk cId="2886427178" sldId="298"/>
            <ac:spMk id="121" creationId="{9ACAEC32-0A5B-4A67-C752-24B4755EA419}"/>
          </ac:spMkLst>
        </pc:spChg>
        <pc:grpChg chg="mod">
          <ac:chgData name="Jessica Henley" userId="63b1edf9-6e48-442a-9e00-04850b59a756" providerId="ADAL" clId="{D7E2F68E-A503-4B31-8CB2-DC1B28F456AF}" dt="2025-06-01T12:20:57.596" v="4531" actId="164"/>
          <ac:grpSpMkLst>
            <pc:docMk/>
            <pc:sldMk cId="2886427178" sldId="298"/>
            <ac:grpSpMk id="3" creationId="{1A1F0A8F-000D-2C1B-5E26-B9707E9D2DC9}"/>
          </ac:grpSpMkLst>
        </pc:grpChg>
        <pc:grpChg chg="add mod">
          <ac:chgData name="Jessica Henley" userId="63b1edf9-6e48-442a-9e00-04850b59a756" providerId="ADAL" clId="{D7E2F68E-A503-4B31-8CB2-DC1B28F456AF}" dt="2025-06-01T12:20:57.596" v="4531" actId="164"/>
          <ac:grpSpMkLst>
            <pc:docMk/>
            <pc:sldMk cId="2886427178" sldId="298"/>
            <ac:grpSpMk id="6" creationId="{342A39F6-2958-5B11-7423-627835FECF35}"/>
          </ac:grpSpMkLst>
        </pc:grpChg>
        <pc:cxnChg chg="mod">
          <ac:chgData name="Jessica Henley" userId="63b1edf9-6e48-442a-9e00-04850b59a756" providerId="ADAL" clId="{D7E2F68E-A503-4B31-8CB2-DC1B28F456AF}" dt="2025-06-01T12:20:57.596" v="4531" actId="164"/>
          <ac:cxnSpMkLst>
            <pc:docMk/>
            <pc:sldMk cId="2886427178" sldId="298"/>
            <ac:cxnSpMk id="10" creationId="{28524FAE-90ED-B32B-21F7-676C0CDD01F7}"/>
          </ac:cxnSpMkLst>
        </pc:cxnChg>
      </pc:sldChg>
      <pc:sldChg chg="addSp delSp modSp mod">
        <pc:chgData name="Jessica Henley" userId="63b1edf9-6e48-442a-9e00-04850b59a756" providerId="ADAL" clId="{D7E2F68E-A503-4B31-8CB2-DC1B28F456AF}" dt="2025-06-01T12:12:16.949" v="4476" actId="1076"/>
        <pc:sldMkLst>
          <pc:docMk/>
          <pc:sldMk cId="3234984323" sldId="299"/>
        </pc:sldMkLst>
        <pc:spChg chg="mod">
          <ac:chgData name="Jessica Henley" userId="63b1edf9-6e48-442a-9e00-04850b59a756" providerId="ADAL" clId="{D7E2F68E-A503-4B31-8CB2-DC1B28F456AF}" dt="2025-06-01T12:12:09.567" v="4475"/>
          <ac:spMkLst>
            <pc:docMk/>
            <pc:sldMk cId="3234984323" sldId="299"/>
            <ac:spMk id="12" creationId="{F5733644-55DB-B88A-56A0-16075F341D1C}"/>
          </ac:spMkLst>
        </pc:spChg>
        <pc:spChg chg="mod">
          <ac:chgData name="Jessica Henley" userId="63b1edf9-6e48-442a-9e00-04850b59a756" providerId="ADAL" clId="{D7E2F68E-A503-4B31-8CB2-DC1B28F456AF}" dt="2025-06-01T12:12:09.567" v="4475"/>
          <ac:spMkLst>
            <pc:docMk/>
            <pc:sldMk cId="3234984323" sldId="299"/>
            <ac:spMk id="16" creationId="{ABBCBD4E-9E49-04DB-05B3-C790D493E757}"/>
          </ac:spMkLst>
        </pc:spChg>
        <pc:grpChg chg="add mod">
          <ac:chgData name="Jessica Henley" userId="63b1edf9-6e48-442a-9e00-04850b59a756" providerId="ADAL" clId="{D7E2F68E-A503-4B31-8CB2-DC1B28F456AF}" dt="2025-06-01T12:12:16.949" v="4476" actId="1076"/>
          <ac:grpSpMkLst>
            <pc:docMk/>
            <pc:sldMk cId="3234984323" sldId="299"/>
            <ac:grpSpMk id="3" creationId="{F64AE096-313A-7BB5-9D79-63383CE3E290}"/>
          </ac:grpSpMkLst>
        </pc:grpChg>
        <pc:grpChg chg="del">
          <ac:chgData name="Jessica Henley" userId="63b1edf9-6e48-442a-9e00-04850b59a756" providerId="ADAL" clId="{D7E2F68E-A503-4B31-8CB2-DC1B28F456AF}" dt="2025-06-01T12:12:06.514" v="4473" actId="478"/>
          <ac:grpSpMkLst>
            <pc:docMk/>
            <pc:sldMk cId="3234984323" sldId="299"/>
            <ac:grpSpMk id="6" creationId="{2E792473-12C6-9765-5413-0C3FCBE7EAC2}"/>
          </ac:grpSpMkLst>
        </pc:grpChg>
        <pc:grpChg chg="mod">
          <ac:chgData name="Jessica Henley" userId="63b1edf9-6e48-442a-9e00-04850b59a756" providerId="ADAL" clId="{D7E2F68E-A503-4B31-8CB2-DC1B28F456AF}" dt="2025-06-01T12:12:09.567" v="4475"/>
          <ac:grpSpMkLst>
            <pc:docMk/>
            <pc:sldMk cId="3234984323" sldId="299"/>
            <ac:grpSpMk id="11" creationId="{7EB3C5CB-EFEC-04CA-07F4-017875B08FF6}"/>
          </ac:grpSpMkLst>
        </pc:grpChg>
        <pc:grpChg chg="add mod">
          <ac:chgData name="Jessica Henley" userId="63b1edf9-6e48-442a-9e00-04850b59a756" providerId="ADAL" clId="{D7E2F68E-A503-4B31-8CB2-DC1B28F456AF}" dt="2025-06-01T12:12:16.949" v="4476" actId="1076"/>
          <ac:grpSpMkLst>
            <pc:docMk/>
            <pc:sldMk cId="3234984323" sldId="299"/>
            <ac:grpSpMk id="14" creationId="{88E328D5-9E7B-5D3F-0D4E-42123D2397C0}"/>
          </ac:grpSpMkLst>
        </pc:grpChg>
        <pc:picChg chg="del">
          <ac:chgData name="Jessica Henley" userId="63b1edf9-6e48-442a-9e00-04850b59a756" providerId="ADAL" clId="{D7E2F68E-A503-4B31-8CB2-DC1B28F456AF}" dt="2025-06-01T12:12:08.144" v="4474" actId="478"/>
          <ac:picMkLst>
            <pc:docMk/>
            <pc:sldMk cId="3234984323" sldId="299"/>
            <ac:picMk id="2" creationId="{5EFB5B12-D831-5A4B-18AA-69F1097F51D6}"/>
          </ac:picMkLst>
        </pc:picChg>
        <pc:picChg chg="mod">
          <ac:chgData name="Jessica Henley" userId="63b1edf9-6e48-442a-9e00-04850b59a756" providerId="ADAL" clId="{D7E2F68E-A503-4B31-8CB2-DC1B28F456AF}" dt="2025-06-01T12:12:09.567" v="4475"/>
          <ac:picMkLst>
            <pc:docMk/>
            <pc:sldMk cId="3234984323" sldId="299"/>
            <ac:picMk id="13" creationId="{952DA3CF-20E9-7CE4-55E3-1A0057DAE562}"/>
          </ac:picMkLst>
        </pc:picChg>
        <pc:picChg chg="mod">
          <ac:chgData name="Jessica Henley" userId="63b1edf9-6e48-442a-9e00-04850b59a756" providerId="ADAL" clId="{D7E2F68E-A503-4B31-8CB2-DC1B28F456AF}" dt="2025-06-01T12:12:09.567" v="4475"/>
          <ac:picMkLst>
            <pc:docMk/>
            <pc:sldMk cId="3234984323" sldId="299"/>
            <ac:picMk id="15" creationId="{724CCB3A-7EA1-604A-1C26-1292F2145590}"/>
          </ac:picMkLst>
        </pc:picChg>
        <pc:cxnChg chg="mod">
          <ac:chgData name="Jessica Henley" userId="63b1edf9-6e48-442a-9e00-04850b59a756" providerId="ADAL" clId="{D7E2F68E-A503-4B31-8CB2-DC1B28F456AF}" dt="2025-06-01T12:12:09.567" v="4475"/>
          <ac:cxnSpMkLst>
            <pc:docMk/>
            <pc:sldMk cId="3234984323" sldId="299"/>
            <ac:cxnSpMk id="5" creationId="{9E9B3599-19CA-650F-AA1D-E1E7F7B2123F}"/>
          </ac:cxnSpMkLst>
        </pc:cxnChg>
      </pc:sldChg>
      <pc:sldChg chg="addSp delSp modSp mod modNotesTx">
        <pc:chgData name="Jessica Henley" userId="63b1edf9-6e48-442a-9e00-04850b59a756" providerId="ADAL" clId="{D7E2F68E-A503-4B31-8CB2-DC1B28F456AF}" dt="2025-06-01T18:44:37.578" v="5964" actId="20577"/>
        <pc:sldMkLst>
          <pc:docMk/>
          <pc:sldMk cId="191820506" sldId="300"/>
        </pc:sldMkLst>
        <pc:spChg chg="add del mod">
          <ac:chgData name="Jessica Henley" userId="63b1edf9-6e48-442a-9e00-04850b59a756" providerId="ADAL" clId="{D7E2F68E-A503-4B31-8CB2-DC1B28F456AF}" dt="2025-06-01T12:08:54.814" v="4430" actId="478"/>
          <ac:spMkLst>
            <pc:docMk/>
            <pc:sldMk cId="191820506" sldId="300"/>
            <ac:spMk id="12" creationId="{018F239A-02A7-3B6E-534C-A15F069640D4}"/>
          </ac:spMkLst>
        </pc:spChg>
        <pc:spChg chg="add mod">
          <ac:chgData name="Jessica Henley" userId="63b1edf9-6e48-442a-9e00-04850b59a756" providerId="ADAL" clId="{D7E2F68E-A503-4B31-8CB2-DC1B28F456AF}" dt="2025-06-01T12:11:52.276" v="4472" actId="164"/>
          <ac:spMkLst>
            <pc:docMk/>
            <pc:sldMk cId="191820506" sldId="300"/>
            <ac:spMk id="13" creationId="{49D8D41F-8B3F-EF5B-8BB3-02668FC7153B}"/>
          </ac:spMkLst>
        </pc:spChg>
        <pc:grpChg chg="add mod">
          <ac:chgData name="Jessica Henley" userId="63b1edf9-6e48-442a-9e00-04850b59a756" providerId="ADAL" clId="{D7E2F68E-A503-4B31-8CB2-DC1B28F456AF}" dt="2025-06-01T12:11:52.276" v="4472" actId="164"/>
          <ac:grpSpMkLst>
            <pc:docMk/>
            <pc:sldMk cId="191820506" sldId="300"/>
            <ac:grpSpMk id="14" creationId="{BB7AFFB5-157A-62A1-A46F-A58095F0CC69}"/>
          </ac:grpSpMkLst>
        </pc:grpChg>
        <pc:graphicFrameChg chg="add mod">
          <ac:chgData name="Jessica Henley" userId="63b1edf9-6e48-442a-9e00-04850b59a756" providerId="ADAL" clId="{D7E2F68E-A503-4B31-8CB2-DC1B28F456AF}" dt="2025-06-01T12:06:13.476" v="4400" actId="478"/>
          <ac:graphicFrameMkLst>
            <pc:docMk/>
            <pc:sldMk cId="191820506" sldId="300"/>
            <ac:graphicFrameMk id="10" creationId="{8966784D-989C-3BC9-ED0B-6F1A4B9E8A99}"/>
          </ac:graphicFrameMkLst>
        </pc:graphicFrameChg>
        <pc:picChg chg="add del mod modCrop">
          <ac:chgData name="Jessica Henley" userId="63b1edf9-6e48-442a-9e00-04850b59a756" providerId="ADAL" clId="{D7E2F68E-A503-4B31-8CB2-DC1B28F456AF}" dt="2025-06-01T12:11:52.276" v="4472" actId="164"/>
          <ac:picMkLst>
            <pc:docMk/>
            <pc:sldMk cId="191820506" sldId="300"/>
            <ac:picMk id="8" creationId="{59F7C853-632A-5048-ABDF-3B9CC2138E65}"/>
          </ac:picMkLst>
        </pc:picChg>
        <pc:picChg chg="del">
          <ac:chgData name="Jessica Henley" userId="63b1edf9-6e48-442a-9e00-04850b59a756" providerId="ADAL" clId="{D7E2F68E-A503-4B31-8CB2-DC1B28F456AF}" dt="2025-06-01T12:00:43.946" v="4366" actId="478"/>
          <ac:picMkLst>
            <pc:docMk/>
            <pc:sldMk cId="191820506" sldId="300"/>
            <ac:picMk id="11" creationId="{58C2CEBC-8F7F-9B93-1D64-BC9876AA9CA2}"/>
          </ac:picMkLst>
        </pc:picChg>
      </pc:sldChg>
      <pc:sldChg chg="del mod modShow">
        <pc:chgData name="Jessica Henley" userId="63b1edf9-6e48-442a-9e00-04850b59a756" providerId="ADAL" clId="{D7E2F68E-A503-4B31-8CB2-DC1B28F456AF}" dt="2025-06-01T12:13:08.190" v="4482" actId="2696"/>
        <pc:sldMkLst>
          <pc:docMk/>
          <pc:sldMk cId="610570752" sldId="301"/>
        </pc:sldMkLst>
      </pc:sldChg>
      <pc:sldChg chg="del mod modShow">
        <pc:chgData name="Jessica Henley" userId="63b1edf9-6e48-442a-9e00-04850b59a756" providerId="ADAL" clId="{D7E2F68E-A503-4B31-8CB2-DC1B28F456AF}" dt="2025-06-01T12:12:51.226" v="4477" actId="2696"/>
        <pc:sldMkLst>
          <pc:docMk/>
          <pc:sldMk cId="4076035961" sldId="302"/>
        </pc:sldMkLst>
      </pc:sldChg>
      <pc:sldChg chg="addSp delSp modSp del mod ord">
        <pc:chgData name="Jessica Henley" userId="63b1edf9-6e48-442a-9e00-04850b59a756" providerId="ADAL" clId="{D7E2F68E-A503-4B31-8CB2-DC1B28F456AF}" dt="2025-06-01T09:36:53.415" v="3025" actId="2696"/>
        <pc:sldMkLst>
          <pc:docMk/>
          <pc:sldMk cId="3846604672" sldId="303"/>
        </pc:sldMkLst>
        <pc:spChg chg="mod">
          <ac:chgData name="Jessica Henley" userId="63b1edf9-6e48-442a-9e00-04850b59a756" providerId="ADAL" clId="{D7E2F68E-A503-4B31-8CB2-DC1B28F456AF}" dt="2025-06-01T09:36:20.563" v="3021" actId="165"/>
          <ac:spMkLst>
            <pc:docMk/>
            <pc:sldMk cId="3846604672" sldId="303"/>
            <ac:spMk id="14" creationId="{EF3E1E5B-C7C5-BCB8-C0D7-8B98BC2BB273}"/>
          </ac:spMkLst>
        </pc:spChg>
        <pc:spChg chg="mod">
          <ac:chgData name="Jessica Henley" userId="63b1edf9-6e48-442a-9e00-04850b59a756" providerId="ADAL" clId="{D7E2F68E-A503-4B31-8CB2-DC1B28F456AF}" dt="2025-06-01T09:36:40.055" v="3022"/>
          <ac:spMkLst>
            <pc:docMk/>
            <pc:sldMk cId="3846604672" sldId="303"/>
            <ac:spMk id="16" creationId="{15D9DBBB-B387-ECF9-C036-FEDD0367F40E}"/>
          </ac:spMkLst>
        </pc:spChg>
        <pc:spChg chg="mod">
          <ac:chgData name="Jessica Henley" userId="63b1edf9-6e48-442a-9e00-04850b59a756" providerId="ADAL" clId="{D7E2F68E-A503-4B31-8CB2-DC1B28F456AF}" dt="2025-06-01T09:36:20.563" v="3021" actId="165"/>
          <ac:spMkLst>
            <pc:docMk/>
            <pc:sldMk cId="3846604672" sldId="303"/>
            <ac:spMk id="18" creationId="{0BC576CF-0DCB-2535-D44B-C1E8386966B6}"/>
          </ac:spMkLst>
        </pc:spChg>
        <pc:spChg chg="mod">
          <ac:chgData name="Jessica Henley" userId="63b1edf9-6e48-442a-9e00-04850b59a756" providerId="ADAL" clId="{D7E2F68E-A503-4B31-8CB2-DC1B28F456AF}" dt="2025-06-01T09:36:20.563" v="3021" actId="165"/>
          <ac:spMkLst>
            <pc:docMk/>
            <pc:sldMk cId="3846604672" sldId="303"/>
            <ac:spMk id="19" creationId="{095B64CD-911E-39C6-1294-A93BA07406E9}"/>
          </ac:spMkLst>
        </pc:spChg>
        <pc:spChg chg="mod">
          <ac:chgData name="Jessica Henley" userId="63b1edf9-6e48-442a-9e00-04850b59a756" providerId="ADAL" clId="{D7E2F68E-A503-4B31-8CB2-DC1B28F456AF}" dt="2025-06-01T09:36:20.563" v="3021" actId="165"/>
          <ac:spMkLst>
            <pc:docMk/>
            <pc:sldMk cId="3846604672" sldId="303"/>
            <ac:spMk id="20" creationId="{C42480D7-0525-DA7B-915A-61FD112392AB}"/>
          </ac:spMkLst>
        </pc:spChg>
        <pc:spChg chg="mod">
          <ac:chgData name="Jessica Henley" userId="63b1edf9-6e48-442a-9e00-04850b59a756" providerId="ADAL" clId="{D7E2F68E-A503-4B31-8CB2-DC1B28F456AF}" dt="2025-06-01T09:36:20.563" v="3021" actId="165"/>
          <ac:spMkLst>
            <pc:docMk/>
            <pc:sldMk cId="3846604672" sldId="303"/>
            <ac:spMk id="22" creationId="{356C20B1-7681-FC8A-53CB-D0F25E6DA578}"/>
          </ac:spMkLst>
        </pc:spChg>
        <pc:spChg chg="mod">
          <ac:chgData name="Jessica Henley" userId="63b1edf9-6e48-442a-9e00-04850b59a756" providerId="ADAL" clId="{D7E2F68E-A503-4B31-8CB2-DC1B28F456AF}" dt="2025-06-01T09:36:20.563" v="3021" actId="165"/>
          <ac:spMkLst>
            <pc:docMk/>
            <pc:sldMk cId="3846604672" sldId="303"/>
            <ac:spMk id="23" creationId="{9A1BC62A-4F7F-D795-54A9-32DC2198DC9A}"/>
          </ac:spMkLst>
        </pc:spChg>
        <pc:spChg chg="mod">
          <ac:chgData name="Jessica Henley" userId="63b1edf9-6e48-442a-9e00-04850b59a756" providerId="ADAL" clId="{D7E2F68E-A503-4B31-8CB2-DC1B28F456AF}" dt="2025-06-01T09:36:20.563" v="3021" actId="165"/>
          <ac:spMkLst>
            <pc:docMk/>
            <pc:sldMk cId="3846604672" sldId="303"/>
            <ac:spMk id="24" creationId="{F202303C-2421-B422-2946-DB923CA8A18A}"/>
          </ac:spMkLst>
        </pc:spChg>
        <pc:spChg chg="mod">
          <ac:chgData name="Jessica Henley" userId="63b1edf9-6e48-442a-9e00-04850b59a756" providerId="ADAL" clId="{D7E2F68E-A503-4B31-8CB2-DC1B28F456AF}" dt="2025-06-01T09:36:20.563" v="3021" actId="165"/>
          <ac:spMkLst>
            <pc:docMk/>
            <pc:sldMk cId="3846604672" sldId="303"/>
            <ac:spMk id="26" creationId="{3CEC5093-3F4F-DE76-3349-479687671F93}"/>
          </ac:spMkLst>
        </pc:spChg>
        <pc:spChg chg="mod">
          <ac:chgData name="Jessica Henley" userId="63b1edf9-6e48-442a-9e00-04850b59a756" providerId="ADAL" clId="{D7E2F68E-A503-4B31-8CB2-DC1B28F456AF}" dt="2025-06-01T09:36:20.563" v="3021" actId="165"/>
          <ac:spMkLst>
            <pc:docMk/>
            <pc:sldMk cId="3846604672" sldId="303"/>
            <ac:spMk id="27" creationId="{FC073D77-4181-3032-EBF3-2C563B0FA3FE}"/>
          </ac:spMkLst>
        </pc:spChg>
        <pc:spChg chg="mod">
          <ac:chgData name="Jessica Henley" userId="63b1edf9-6e48-442a-9e00-04850b59a756" providerId="ADAL" clId="{D7E2F68E-A503-4B31-8CB2-DC1B28F456AF}" dt="2025-06-01T09:36:20.563" v="3021" actId="165"/>
          <ac:spMkLst>
            <pc:docMk/>
            <pc:sldMk cId="3846604672" sldId="303"/>
            <ac:spMk id="28" creationId="{B7C24092-AFAA-2047-9051-02ACBB135BC5}"/>
          </ac:spMkLst>
        </pc:spChg>
        <pc:spChg chg="mod">
          <ac:chgData name="Jessica Henley" userId="63b1edf9-6e48-442a-9e00-04850b59a756" providerId="ADAL" clId="{D7E2F68E-A503-4B31-8CB2-DC1B28F456AF}" dt="2025-06-01T09:36:40.055" v="3022"/>
          <ac:spMkLst>
            <pc:docMk/>
            <pc:sldMk cId="3846604672" sldId="303"/>
            <ac:spMk id="29" creationId="{68D5A2B2-DCEC-AFE4-EF74-23E9023FB4ED}"/>
          </ac:spMkLst>
        </pc:spChg>
        <pc:grpChg chg="del">
          <ac:chgData name="Jessica Henley" userId="63b1edf9-6e48-442a-9e00-04850b59a756" providerId="ADAL" clId="{D7E2F68E-A503-4B31-8CB2-DC1B28F456AF}" dt="2025-06-01T09:34:12.903" v="3012" actId="478"/>
          <ac:grpSpMkLst>
            <pc:docMk/>
            <pc:sldMk cId="3846604672" sldId="303"/>
            <ac:grpSpMk id="2" creationId="{89FA568C-FDA1-8B7B-6E9E-88EF82D0907A}"/>
          </ac:grpSpMkLst>
        </pc:grpChg>
        <pc:grpChg chg="add del mod">
          <ac:chgData name="Jessica Henley" userId="63b1edf9-6e48-442a-9e00-04850b59a756" providerId="ADAL" clId="{D7E2F68E-A503-4B31-8CB2-DC1B28F456AF}" dt="2025-06-01T09:36:40.933" v="3023" actId="21"/>
          <ac:grpSpMkLst>
            <pc:docMk/>
            <pc:sldMk cId="3846604672" sldId="303"/>
            <ac:grpSpMk id="12" creationId="{E86ECDF0-CF3B-2CEE-FB62-DAC4AC5E7666}"/>
          </ac:grpSpMkLst>
        </pc:grpChg>
        <pc:picChg chg="add del mod">
          <ac:chgData name="Jessica Henley" userId="63b1edf9-6e48-442a-9e00-04850b59a756" providerId="ADAL" clId="{D7E2F68E-A503-4B31-8CB2-DC1B28F456AF}" dt="2025-06-01T09:36:40.933" v="3023" actId="21"/>
          <ac:picMkLst>
            <pc:docMk/>
            <pc:sldMk cId="3846604672" sldId="303"/>
            <ac:picMk id="30" creationId="{7B3348F4-6F43-560C-474E-C3002B96BCC8}"/>
          </ac:picMkLst>
        </pc:picChg>
      </pc:sldChg>
      <pc:sldChg chg="addSp delSp modSp mod ord modNotesTx">
        <pc:chgData name="Jessica Henley" userId="63b1edf9-6e48-442a-9e00-04850b59a756" providerId="ADAL" clId="{D7E2F68E-A503-4B31-8CB2-DC1B28F456AF}" dt="2025-06-01T15:40:35.460" v="5826" actId="20577"/>
        <pc:sldMkLst>
          <pc:docMk/>
          <pc:sldMk cId="2536303528" sldId="304"/>
        </pc:sldMkLst>
        <pc:spChg chg="del">
          <ac:chgData name="Jessica Henley" userId="63b1edf9-6e48-442a-9e00-04850b59a756" providerId="ADAL" clId="{D7E2F68E-A503-4B31-8CB2-DC1B28F456AF}" dt="2025-05-31T19:50:59.818" v="2648" actId="478"/>
          <ac:spMkLst>
            <pc:docMk/>
            <pc:sldMk cId="2536303528" sldId="304"/>
            <ac:spMk id="2" creationId="{7ED22468-DC17-89A8-6DC0-C4D760E9764F}"/>
          </ac:spMkLst>
        </pc:spChg>
        <pc:spChg chg="add del mod">
          <ac:chgData name="Jessica Henley" userId="63b1edf9-6e48-442a-9e00-04850b59a756" providerId="ADAL" clId="{D7E2F68E-A503-4B31-8CB2-DC1B28F456AF}" dt="2025-05-31T19:39:53.198" v="2460" actId="165"/>
          <ac:spMkLst>
            <pc:docMk/>
            <pc:sldMk cId="2536303528" sldId="304"/>
            <ac:spMk id="5" creationId="{5B03A399-F956-52FB-C8F7-04F46847C188}"/>
          </ac:spMkLst>
        </pc:spChg>
        <pc:spChg chg="del">
          <ac:chgData name="Jessica Henley" userId="63b1edf9-6e48-442a-9e00-04850b59a756" providerId="ADAL" clId="{D7E2F68E-A503-4B31-8CB2-DC1B28F456AF}" dt="2025-05-31T19:37:01.954" v="2436" actId="478"/>
          <ac:spMkLst>
            <pc:docMk/>
            <pc:sldMk cId="2536303528" sldId="304"/>
            <ac:spMk id="6" creationId="{43EC17BB-23DF-47AF-A2A3-8C3616B04D33}"/>
          </ac:spMkLst>
        </pc:spChg>
        <pc:spChg chg="del">
          <ac:chgData name="Jessica Henley" userId="63b1edf9-6e48-442a-9e00-04850b59a756" providerId="ADAL" clId="{D7E2F68E-A503-4B31-8CB2-DC1B28F456AF}" dt="2025-05-31T19:37:29.982" v="2445" actId="478"/>
          <ac:spMkLst>
            <pc:docMk/>
            <pc:sldMk cId="2536303528" sldId="304"/>
            <ac:spMk id="7" creationId="{D8DDB52A-6BC9-CAE1-5269-203EB4E65DD9}"/>
          </ac:spMkLst>
        </pc:spChg>
        <pc:spChg chg="mod">
          <ac:chgData name="Jessica Henley" userId="63b1edf9-6e48-442a-9e00-04850b59a756" providerId="ADAL" clId="{D7E2F68E-A503-4B31-8CB2-DC1B28F456AF}" dt="2025-05-31T19:39:53.198" v="2460" actId="165"/>
          <ac:spMkLst>
            <pc:docMk/>
            <pc:sldMk cId="2536303528" sldId="304"/>
            <ac:spMk id="8" creationId="{ADA99FFC-484F-9BE2-8938-C8EFDACE4E97}"/>
          </ac:spMkLst>
        </pc:spChg>
        <pc:spChg chg="del mod">
          <ac:chgData name="Jessica Henley" userId="63b1edf9-6e48-442a-9e00-04850b59a756" providerId="ADAL" clId="{D7E2F68E-A503-4B31-8CB2-DC1B28F456AF}" dt="2025-05-31T19:36:58.739" v="2435" actId="478"/>
          <ac:spMkLst>
            <pc:docMk/>
            <pc:sldMk cId="2536303528" sldId="304"/>
            <ac:spMk id="9" creationId="{FB0271A8-25F9-572E-2ABE-23E3623EB43E}"/>
          </ac:spMkLst>
        </pc:spChg>
        <pc:spChg chg="del mod">
          <ac:chgData name="Jessica Henley" userId="63b1edf9-6e48-442a-9e00-04850b59a756" providerId="ADAL" clId="{D7E2F68E-A503-4B31-8CB2-DC1B28F456AF}" dt="2025-05-31T19:37:36.051" v="2447" actId="478"/>
          <ac:spMkLst>
            <pc:docMk/>
            <pc:sldMk cId="2536303528" sldId="304"/>
            <ac:spMk id="11" creationId="{5E10ED31-2036-754C-890E-E9043208F9DE}"/>
          </ac:spMkLst>
        </pc:spChg>
        <pc:spChg chg="mod">
          <ac:chgData name="Jessica Henley" userId="63b1edf9-6e48-442a-9e00-04850b59a756" providerId="ADAL" clId="{D7E2F68E-A503-4B31-8CB2-DC1B28F456AF}" dt="2025-05-31T19:39:53.198" v="2460" actId="165"/>
          <ac:spMkLst>
            <pc:docMk/>
            <pc:sldMk cId="2536303528" sldId="304"/>
            <ac:spMk id="12" creationId="{2546F1D2-7018-AD76-BACF-D4B994E0C286}"/>
          </ac:spMkLst>
        </pc:spChg>
        <pc:spChg chg="mod">
          <ac:chgData name="Jessica Henley" userId="63b1edf9-6e48-442a-9e00-04850b59a756" providerId="ADAL" clId="{D7E2F68E-A503-4B31-8CB2-DC1B28F456AF}" dt="2025-05-31T19:39:53.198" v="2460" actId="165"/>
          <ac:spMkLst>
            <pc:docMk/>
            <pc:sldMk cId="2536303528" sldId="304"/>
            <ac:spMk id="13" creationId="{049D46BB-CB46-F362-BC71-5DE71D55B2E6}"/>
          </ac:spMkLst>
        </pc:spChg>
        <pc:spChg chg="mod">
          <ac:chgData name="Jessica Henley" userId="63b1edf9-6e48-442a-9e00-04850b59a756" providerId="ADAL" clId="{D7E2F68E-A503-4B31-8CB2-DC1B28F456AF}" dt="2025-05-31T19:39:53.198" v="2460" actId="165"/>
          <ac:spMkLst>
            <pc:docMk/>
            <pc:sldMk cId="2536303528" sldId="304"/>
            <ac:spMk id="14" creationId="{10EEAB1A-C72B-01F2-DC6C-96FFFA8D6CA4}"/>
          </ac:spMkLst>
        </pc:spChg>
        <pc:spChg chg="mod">
          <ac:chgData name="Jessica Henley" userId="63b1edf9-6e48-442a-9e00-04850b59a756" providerId="ADAL" clId="{D7E2F68E-A503-4B31-8CB2-DC1B28F456AF}" dt="2025-05-31T19:39:53.198" v="2460" actId="165"/>
          <ac:spMkLst>
            <pc:docMk/>
            <pc:sldMk cId="2536303528" sldId="304"/>
            <ac:spMk id="16" creationId="{251B537F-F250-7D1D-B0AA-4C2083C9A32D}"/>
          </ac:spMkLst>
        </pc:spChg>
        <pc:spChg chg="add del mod">
          <ac:chgData name="Jessica Henley" userId="63b1edf9-6e48-442a-9e00-04850b59a756" providerId="ADAL" clId="{D7E2F68E-A503-4B31-8CB2-DC1B28F456AF}" dt="2025-05-31T19:39:53.198" v="2460" actId="165"/>
          <ac:spMkLst>
            <pc:docMk/>
            <pc:sldMk cId="2536303528" sldId="304"/>
            <ac:spMk id="17" creationId="{FAB58BDB-249F-CAB1-F554-19A8D42CC208}"/>
          </ac:spMkLst>
        </pc:spChg>
        <pc:spChg chg="del">
          <ac:chgData name="Jessica Henley" userId="63b1edf9-6e48-442a-9e00-04850b59a756" providerId="ADAL" clId="{D7E2F68E-A503-4B31-8CB2-DC1B28F456AF}" dt="2025-05-31T19:37:05.600" v="2437" actId="478"/>
          <ac:spMkLst>
            <pc:docMk/>
            <pc:sldMk cId="2536303528" sldId="304"/>
            <ac:spMk id="18" creationId="{2F3408A4-A7E2-AE1D-1EFA-B2501DD32071}"/>
          </ac:spMkLst>
        </pc:spChg>
        <pc:spChg chg="add del">
          <ac:chgData name="Jessica Henley" userId="63b1edf9-6e48-442a-9e00-04850b59a756" providerId="ADAL" clId="{D7E2F68E-A503-4B31-8CB2-DC1B28F456AF}" dt="2025-05-31T19:37:25.082" v="2444" actId="478"/>
          <ac:spMkLst>
            <pc:docMk/>
            <pc:sldMk cId="2536303528" sldId="304"/>
            <ac:spMk id="19" creationId="{DC0CA4A7-4570-B17E-3B59-C17997E68706}"/>
          </ac:spMkLst>
        </pc:spChg>
        <pc:spChg chg="mod">
          <ac:chgData name="Jessica Henley" userId="63b1edf9-6e48-442a-9e00-04850b59a756" providerId="ADAL" clId="{D7E2F68E-A503-4B31-8CB2-DC1B28F456AF}" dt="2025-05-31T19:52:04.298" v="2667" actId="1076"/>
          <ac:spMkLst>
            <pc:docMk/>
            <pc:sldMk cId="2536303528" sldId="304"/>
            <ac:spMk id="21" creationId="{5CCA2FCA-1C43-96D5-E750-A7B4C2951CB7}"/>
          </ac:spMkLst>
        </pc:spChg>
        <pc:spChg chg="mod topLvl">
          <ac:chgData name="Jessica Henley" userId="63b1edf9-6e48-442a-9e00-04850b59a756" providerId="ADAL" clId="{D7E2F68E-A503-4B31-8CB2-DC1B28F456AF}" dt="2025-05-31T19:44:16.282" v="2579" actId="403"/>
          <ac:spMkLst>
            <pc:docMk/>
            <pc:sldMk cId="2536303528" sldId="304"/>
            <ac:spMk id="22" creationId="{E0C20A4E-8CA2-F78B-9944-87D891CEAB10}"/>
          </ac:spMkLst>
        </pc:spChg>
        <pc:spChg chg="mod topLvl">
          <ac:chgData name="Jessica Henley" userId="63b1edf9-6e48-442a-9e00-04850b59a756" providerId="ADAL" clId="{D7E2F68E-A503-4B31-8CB2-DC1B28F456AF}" dt="2025-05-31T19:44:34.292" v="2581" actId="403"/>
          <ac:spMkLst>
            <pc:docMk/>
            <pc:sldMk cId="2536303528" sldId="304"/>
            <ac:spMk id="23" creationId="{3674AF9B-BEB3-E65E-C232-3B998A23ADD1}"/>
          </ac:spMkLst>
        </pc:spChg>
        <pc:spChg chg="mod topLvl">
          <ac:chgData name="Jessica Henley" userId="63b1edf9-6e48-442a-9e00-04850b59a756" providerId="ADAL" clId="{D7E2F68E-A503-4B31-8CB2-DC1B28F456AF}" dt="2025-05-31T19:44:44.751" v="2583" actId="403"/>
          <ac:spMkLst>
            <pc:docMk/>
            <pc:sldMk cId="2536303528" sldId="304"/>
            <ac:spMk id="24" creationId="{D4741CA4-569D-18E2-0D27-C2E7B6BA12F9}"/>
          </ac:spMkLst>
        </pc:spChg>
        <pc:spChg chg="add del">
          <ac:chgData name="Jessica Henley" userId="63b1edf9-6e48-442a-9e00-04850b59a756" providerId="ADAL" clId="{D7E2F68E-A503-4B31-8CB2-DC1B28F456AF}" dt="2025-05-31T19:38:21.861" v="2452" actId="478"/>
          <ac:spMkLst>
            <pc:docMk/>
            <pc:sldMk cId="2536303528" sldId="304"/>
            <ac:spMk id="28" creationId="{0AF46D52-A8D3-2172-5CF5-DA98F3FD07F1}"/>
          </ac:spMkLst>
        </pc:spChg>
        <pc:spChg chg="del mod">
          <ac:chgData name="Jessica Henley" userId="63b1edf9-6e48-442a-9e00-04850b59a756" providerId="ADAL" clId="{D7E2F68E-A503-4B31-8CB2-DC1B28F456AF}" dt="2025-05-31T19:37:40.862" v="2449" actId="478"/>
          <ac:spMkLst>
            <pc:docMk/>
            <pc:sldMk cId="2536303528" sldId="304"/>
            <ac:spMk id="33" creationId="{0450EE95-79D7-7E81-301A-86811E179122}"/>
          </ac:spMkLst>
        </pc:spChg>
        <pc:spChg chg="mod">
          <ac:chgData name="Jessica Henley" userId="63b1edf9-6e48-442a-9e00-04850b59a756" providerId="ADAL" clId="{D7E2F68E-A503-4B31-8CB2-DC1B28F456AF}" dt="2025-05-31T19:50:04.226" v="2639"/>
          <ac:spMkLst>
            <pc:docMk/>
            <pc:sldMk cId="2536303528" sldId="304"/>
            <ac:spMk id="34" creationId="{FF2543C4-99B4-07A2-144F-5BCC4EBB2E45}"/>
          </ac:spMkLst>
        </pc:spChg>
        <pc:spChg chg="add mod">
          <ac:chgData name="Jessica Henley" userId="63b1edf9-6e48-442a-9e00-04850b59a756" providerId="ADAL" clId="{D7E2F68E-A503-4B31-8CB2-DC1B28F456AF}" dt="2025-05-31T19:51:19.966" v="2651" actId="1076"/>
          <ac:spMkLst>
            <pc:docMk/>
            <pc:sldMk cId="2536303528" sldId="304"/>
            <ac:spMk id="36" creationId="{3DB5B2FC-F3F0-321E-BF71-380DF017F01D}"/>
          </ac:spMkLst>
        </pc:spChg>
        <pc:grpChg chg="add mod">
          <ac:chgData name="Jessica Henley" userId="63b1edf9-6e48-442a-9e00-04850b59a756" providerId="ADAL" clId="{D7E2F68E-A503-4B31-8CB2-DC1B28F456AF}" dt="2025-05-31T19:40:21.064" v="2462" actId="1076"/>
          <ac:grpSpMkLst>
            <pc:docMk/>
            <pc:sldMk cId="2536303528" sldId="304"/>
            <ac:grpSpMk id="4" creationId="{FE0F0505-EE3D-EB1B-9F0E-80DEC2662E77}"/>
          </ac:grpSpMkLst>
        </pc:grpChg>
        <pc:grpChg chg="mod">
          <ac:chgData name="Jessica Henley" userId="63b1edf9-6e48-442a-9e00-04850b59a756" providerId="ADAL" clId="{D7E2F68E-A503-4B31-8CB2-DC1B28F456AF}" dt="2025-05-31T19:40:10.908" v="2461" actId="164"/>
          <ac:grpSpMkLst>
            <pc:docMk/>
            <pc:sldMk cId="2536303528" sldId="304"/>
            <ac:grpSpMk id="20" creationId="{01843788-097F-0E0B-DC10-5666B7ECA5E8}"/>
          </ac:grpSpMkLst>
        </pc:grpChg>
        <pc:grpChg chg="add mod">
          <ac:chgData name="Jessica Henley" userId="63b1edf9-6e48-442a-9e00-04850b59a756" providerId="ADAL" clId="{D7E2F68E-A503-4B31-8CB2-DC1B28F456AF}" dt="2025-05-31T19:50:13.503" v="2640" actId="1076"/>
          <ac:grpSpMkLst>
            <pc:docMk/>
            <pc:sldMk cId="2536303528" sldId="304"/>
            <ac:grpSpMk id="26" creationId="{9F14331E-E4EE-04D6-ED84-9559C252ABD0}"/>
          </ac:grpSpMkLst>
        </pc:grpChg>
        <pc:grpChg chg="del">
          <ac:chgData name="Jessica Henley" userId="63b1edf9-6e48-442a-9e00-04850b59a756" providerId="ADAL" clId="{D7E2F68E-A503-4B31-8CB2-DC1B28F456AF}" dt="2025-05-31T19:49:51.326" v="2634" actId="478"/>
          <ac:grpSpMkLst>
            <pc:docMk/>
            <pc:sldMk cId="2536303528" sldId="304"/>
            <ac:grpSpMk id="29" creationId="{17730E31-CF03-8EFE-6EB2-0002D890EB29}"/>
          </ac:grpSpMkLst>
        </pc:grpChg>
        <pc:grpChg chg="mod">
          <ac:chgData name="Jessica Henley" userId="63b1edf9-6e48-442a-9e00-04850b59a756" providerId="ADAL" clId="{D7E2F68E-A503-4B31-8CB2-DC1B28F456AF}" dt="2025-05-31T19:50:04.226" v="2639"/>
          <ac:grpSpMkLst>
            <pc:docMk/>
            <pc:sldMk cId="2536303528" sldId="304"/>
            <ac:grpSpMk id="32" creationId="{513D0EA1-1FA1-3A2C-4685-3A298A9E1655}"/>
          </ac:grpSpMkLst>
        </pc:grpChg>
        <pc:grpChg chg="add del mod">
          <ac:chgData name="Jessica Henley" userId="63b1edf9-6e48-442a-9e00-04850b59a756" providerId="ADAL" clId="{D7E2F68E-A503-4B31-8CB2-DC1B28F456AF}" dt="2025-05-31T19:39:47.377" v="2459" actId="1076"/>
          <ac:grpSpMkLst>
            <pc:docMk/>
            <pc:sldMk cId="2536303528" sldId="304"/>
            <ac:grpSpMk id="45" creationId="{8868C9F5-EA26-9CED-D1BA-0386C3A858E1}"/>
          </ac:grpSpMkLst>
        </pc:grpChg>
        <pc:picChg chg="mod">
          <ac:chgData name="Jessica Henley" userId="63b1edf9-6e48-442a-9e00-04850b59a756" providerId="ADAL" clId="{D7E2F68E-A503-4B31-8CB2-DC1B28F456AF}" dt="2025-05-31T19:50:04.226" v="2639"/>
          <ac:picMkLst>
            <pc:docMk/>
            <pc:sldMk cId="2536303528" sldId="304"/>
            <ac:picMk id="35" creationId="{6970EA6C-2606-829B-8AEE-D3B1B0809810}"/>
          </ac:picMkLst>
        </pc:picChg>
        <pc:cxnChg chg="del mod">
          <ac:chgData name="Jessica Henley" userId="63b1edf9-6e48-442a-9e00-04850b59a756" providerId="ADAL" clId="{D7E2F68E-A503-4B31-8CB2-DC1B28F456AF}" dt="2025-05-31T19:49:48.768" v="2633" actId="478"/>
          <ac:cxnSpMkLst>
            <pc:docMk/>
            <pc:sldMk cId="2536303528" sldId="304"/>
            <ac:cxnSpMk id="10" creationId="{F6C10F56-A273-C32F-0F55-F8DAD118B94A}"/>
          </ac:cxnSpMkLst>
        </pc:cxnChg>
        <pc:cxnChg chg="add del mod">
          <ac:chgData name="Jessica Henley" userId="63b1edf9-6e48-442a-9e00-04850b59a756" providerId="ADAL" clId="{D7E2F68E-A503-4B31-8CB2-DC1B28F456AF}" dt="2025-05-31T19:49:56.078" v="2636" actId="478"/>
          <ac:cxnSpMkLst>
            <pc:docMk/>
            <pc:sldMk cId="2536303528" sldId="304"/>
            <ac:cxnSpMk id="25" creationId="{22E27F64-04F0-8FD2-5B29-B94B72313C98}"/>
          </ac:cxnSpMkLst>
        </pc:cxnChg>
        <pc:cxnChg chg="mod">
          <ac:chgData name="Jessica Henley" userId="63b1edf9-6e48-442a-9e00-04850b59a756" providerId="ADAL" clId="{D7E2F68E-A503-4B31-8CB2-DC1B28F456AF}" dt="2025-05-31T19:50:04.226" v="2639"/>
          <ac:cxnSpMkLst>
            <pc:docMk/>
            <pc:sldMk cId="2536303528" sldId="304"/>
            <ac:cxnSpMk id="27" creationId="{2E076D13-8A1E-CE37-3B5E-68E408AEDC68}"/>
          </ac:cxnSpMkLst>
        </pc:cxnChg>
      </pc:sldChg>
      <pc:sldChg chg="addSp delSp modSp mod ord delAnim modShow">
        <pc:chgData name="Jessica Henley" userId="63b1edf9-6e48-442a-9e00-04850b59a756" providerId="ADAL" clId="{D7E2F68E-A503-4B31-8CB2-DC1B28F456AF}" dt="2025-05-31T20:46:52.575" v="3009" actId="1076"/>
        <pc:sldMkLst>
          <pc:docMk/>
          <pc:sldMk cId="3184617097" sldId="305"/>
        </pc:sldMkLst>
        <pc:spChg chg="mod topLvl">
          <ac:chgData name="Jessica Henley" userId="63b1edf9-6e48-442a-9e00-04850b59a756" providerId="ADAL" clId="{D7E2F68E-A503-4B31-8CB2-DC1B28F456AF}" dt="2025-05-31T20:16:27.899" v="2900" actId="14838"/>
          <ac:spMkLst>
            <pc:docMk/>
            <pc:sldMk cId="3184617097" sldId="305"/>
            <ac:spMk id="3" creationId="{0B092089-F3B2-264F-D6AF-5CF4CA9A580B}"/>
          </ac:spMkLst>
        </pc:spChg>
        <pc:spChg chg="add del mod">
          <ac:chgData name="Jessica Henley" userId="63b1edf9-6e48-442a-9e00-04850b59a756" providerId="ADAL" clId="{D7E2F68E-A503-4B31-8CB2-DC1B28F456AF}" dt="2025-05-31T20:46:52.575" v="3009" actId="1076"/>
          <ac:spMkLst>
            <pc:docMk/>
            <pc:sldMk cId="3184617097" sldId="305"/>
            <ac:spMk id="7" creationId="{C69341D3-6772-9A06-3889-C549E01E1893}"/>
          </ac:spMkLst>
        </pc:spChg>
        <pc:spChg chg="add del mod">
          <ac:chgData name="Jessica Henley" userId="63b1edf9-6e48-442a-9e00-04850b59a756" providerId="ADAL" clId="{D7E2F68E-A503-4B31-8CB2-DC1B28F456AF}" dt="2025-05-31T20:46:30.700" v="3007" actId="1076"/>
          <ac:spMkLst>
            <pc:docMk/>
            <pc:sldMk cId="3184617097" sldId="305"/>
            <ac:spMk id="9" creationId="{AA0AC6AB-1019-00AC-9808-BB129375329D}"/>
          </ac:spMkLst>
        </pc:spChg>
        <pc:spChg chg="add del mod">
          <ac:chgData name="Jessica Henley" userId="63b1edf9-6e48-442a-9e00-04850b59a756" providerId="ADAL" clId="{D7E2F68E-A503-4B31-8CB2-DC1B28F456AF}" dt="2025-05-31T20:46:18.766" v="3005" actId="1076"/>
          <ac:spMkLst>
            <pc:docMk/>
            <pc:sldMk cId="3184617097" sldId="305"/>
            <ac:spMk id="10" creationId="{4DC40572-B0DD-FAF9-4079-74EE71F94163}"/>
          </ac:spMkLst>
        </pc:spChg>
        <pc:spChg chg="mod">
          <ac:chgData name="Jessica Henley" userId="63b1edf9-6e48-442a-9e00-04850b59a756" providerId="ADAL" clId="{D7E2F68E-A503-4B31-8CB2-DC1B28F456AF}" dt="2025-05-31T20:46:47.435" v="3008" actId="1076"/>
          <ac:spMkLst>
            <pc:docMk/>
            <pc:sldMk cId="3184617097" sldId="305"/>
            <ac:spMk id="11" creationId="{9B647BDC-C9E6-48C3-3633-34A935EF9287}"/>
          </ac:spMkLst>
        </pc:spChg>
        <pc:spChg chg="mod">
          <ac:chgData name="Jessica Henley" userId="63b1edf9-6e48-442a-9e00-04850b59a756" providerId="ADAL" clId="{D7E2F68E-A503-4B31-8CB2-DC1B28F456AF}" dt="2025-05-31T20:46:24.654" v="3006" actId="1076"/>
          <ac:spMkLst>
            <pc:docMk/>
            <pc:sldMk cId="3184617097" sldId="305"/>
            <ac:spMk id="12" creationId="{EA442BAB-44B1-3828-B8AC-DD7C1D4F149E}"/>
          </ac:spMkLst>
        </pc:spChg>
        <pc:spChg chg="mod">
          <ac:chgData name="Jessica Henley" userId="63b1edf9-6e48-442a-9e00-04850b59a756" providerId="ADAL" clId="{D7E2F68E-A503-4B31-8CB2-DC1B28F456AF}" dt="2025-05-31T20:46:00.660" v="3001" actId="1076"/>
          <ac:spMkLst>
            <pc:docMk/>
            <pc:sldMk cId="3184617097" sldId="305"/>
            <ac:spMk id="13" creationId="{1A049658-735B-4FF5-DB81-36B163CDA705}"/>
          </ac:spMkLst>
        </pc:spChg>
        <pc:spChg chg="del mod">
          <ac:chgData name="Jessica Henley" userId="63b1edf9-6e48-442a-9e00-04850b59a756" providerId="ADAL" clId="{D7E2F68E-A503-4B31-8CB2-DC1B28F456AF}" dt="2025-05-31T20:39:50.559" v="2927" actId="478"/>
          <ac:spMkLst>
            <pc:docMk/>
            <pc:sldMk cId="3184617097" sldId="305"/>
            <ac:spMk id="15" creationId="{9280A3E2-1E65-57CF-5F51-23E78702ABEC}"/>
          </ac:spMkLst>
        </pc:spChg>
        <pc:spChg chg="add mod">
          <ac:chgData name="Jessica Henley" userId="63b1edf9-6e48-442a-9e00-04850b59a756" providerId="ADAL" clId="{D7E2F68E-A503-4B31-8CB2-DC1B28F456AF}" dt="2025-05-31T20:40:06.929" v="2928" actId="1076"/>
          <ac:spMkLst>
            <pc:docMk/>
            <pc:sldMk cId="3184617097" sldId="305"/>
            <ac:spMk id="22" creationId="{B04B49FE-68BC-C54E-C8F6-E0A778AAB54F}"/>
          </ac:spMkLst>
        </pc:spChg>
        <pc:spChg chg="mod">
          <ac:chgData name="Jessica Henley" userId="63b1edf9-6e48-442a-9e00-04850b59a756" providerId="ADAL" clId="{D7E2F68E-A503-4B31-8CB2-DC1B28F456AF}" dt="2025-05-31T20:38:33.152" v="2915"/>
          <ac:spMkLst>
            <pc:docMk/>
            <pc:sldMk cId="3184617097" sldId="305"/>
            <ac:spMk id="56" creationId="{844DE921-9E9D-4E59-0AAB-F7368AC49197}"/>
          </ac:spMkLst>
        </pc:spChg>
        <pc:grpChg chg="del">
          <ac:chgData name="Jessica Henley" userId="63b1edf9-6e48-442a-9e00-04850b59a756" providerId="ADAL" clId="{D7E2F68E-A503-4B31-8CB2-DC1B28F456AF}" dt="2025-05-31T20:38:31.094" v="2914" actId="478"/>
          <ac:grpSpMkLst>
            <pc:docMk/>
            <pc:sldMk cId="3184617097" sldId="305"/>
            <ac:grpSpMk id="4" creationId="{3806648D-B7A7-A668-B3B3-030120F14331}"/>
          </ac:grpSpMkLst>
        </pc:grpChg>
        <pc:grpChg chg="mod topLvl">
          <ac:chgData name="Jessica Henley" userId="63b1edf9-6e48-442a-9e00-04850b59a756" providerId="ADAL" clId="{D7E2F68E-A503-4B31-8CB2-DC1B28F456AF}" dt="2025-05-31T20:32:16.898" v="2902" actId="20578"/>
          <ac:grpSpMkLst>
            <pc:docMk/>
            <pc:sldMk cId="3184617097" sldId="305"/>
            <ac:grpSpMk id="5" creationId="{EE624373-AA42-3F90-3A79-59A459199A3A}"/>
          </ac:grpSpMkLst>
        </pc:grpChg>
        <pc:grpChg chg="add del mod topLvl">
          <ac:chgData name="Jessica Henley" userId="63b1edf9-6e48-442a-9e00-04850b59a756" providerId="ADAL" clId="{D7E2F68E-A503-4B31-8CB2-DC1B28F456AF}" dt="2025-05-31T20:13:52.034" v="2888" actId="165"/>
          <ac:grpSpMkLst>
            <pc:docMk/>
            <pc:sldMk cId="3184617097" sldId="305"/>
            <ac:grpSpMk id="6" creationId="{C643123F-99DC-6F95-8872-1F53A7B7B632}"/>
          </ac:grpSpMkLst>
        </pc:grpChg>
        <pc:grpChg chg="add del mod">
          <ac:chgData name="Jessica Henley" userId="63b1edf9-6e48-442a-9e00-04850b59a756" providerId="ADAL" clId="{D7E2F68E-A503-4B31-8CB2-DC1B28F456AF}" dt="2025-05-31T20:13:45.495" v="2887" actId="165"/>
          <ac:grpSpMkLst>
            <pc:docMk/>
            <pc:sldMk cId="3184617097" sldId="305"/>
            <ac:grpSpMk id="8" creationId="{2FCE1A2F-B234-D562-10F7-D818C47109A1}"/>
          </ac:grpSpMkLst>
        </pc:grpChg>
        <pc:grpChg chg="add del mod topLvl">
          <ac:chgData name="Jessica Henley" userId="63b1edf9-6e48-442a-9e00-04850b59a756" providerId="ADAL" clId="{D7E2F68E-A503-4B31-8CB2-DC1B28F456AF}" dt="2025-05-31T20:36:02.045" v="2911" actId="1076"/>
          <ac:grpSpMkLst>
            <pc:docMk/>
            <pc:sldMk cId="3184617097" sldId="305"/>
            <ac:grpSpMk id="14" creationId="{22E48245-1858-32DB-62AE-481FEDC160CF}"/>
          </ac:grpSpMkLst>
        </pc:grpChg>
        <pc:grpChg chg="add mod">
          <ac:chgData name="Jessica Henley" userId="63b1edf9-6e48-442a-9e00-04850b59a756" providerId="ADAL" clId="{D7E2F68E-A503-4B31-8CB2-DC1B28F456AF}" dt="2025-05-31T20:39:08.658" v="2919" actId="164"/>
          <ac:grpSpMkLst>
            <pc:docMk/>
            <pc:sldMk cId="3184617097" sldId="305"/>
            <ac:grpSpMk id="21" creationId="{B1171746-BC21-9F49-A92B-9FBF81A3BBBF}"/>
          </ac:grpSpMkLst>
        </pc:grpChg>
        <pc:grpChg chg="add mod">
          <ac:chgData name="Jessica Henley" userId="63b1edf9-6e48-442a-9e00-04850b59a756" providerId="ADAL" clId="{D7E2F68E-A503-4B31-8CB2-DC1B28F456AF}" dt="2025-05-31T20:39:08.658" v="2919" actId="164"/>
          <ac:grpSpMkLst>
            <pc:docMk/>
            <pc:sldMk cId="3184617097" sldId="305"/>
            <ac:grpSpMk id="55" creationId="{D8FE979E-B93D-862C-7FCE-4704580EB6F0}"/>
          </ac:grpSpMkLst>
        </pc:grpChg>
        <pc:picChg chg="mod">
          <ac:chgData name="Jessica Henley" userId="63b1edf9-6e48-442a-9e00-04850b59a756" providerId="ADAL" clId="{D7E2F68E-A503-4B31-8CB2-DC1B28F456AF}" dt="2025-05-31T20:38:33.152" v="2915"/>
          <ac:picMkLst>
            <pc:docMk/>
            <pc:sldMk cId="3184617097" sldId="305"/>
            <ac:picMk id="57" creationId="{9CD79A9C-9477-6027-0F1D-CDBA11FC82BA}"/>
          </ac:picMkLst>
        </pc:picChg>
        <pc:cxnChg chg="mod">
          <ac:chgData name="Jessica Henley" userId="63b1edf9-6e48-442a-9e00-04850b59a756" providerId="ADAL" clId="{D7E2F68E-A503-4B31-8CB2-DC1B28F456AF}" dt="2025-05-31T20:32:16.898" v="2902" actId="20578"/>
          <ac:cxnSpMkLst>
            <pc:docMk/>
            <pc:sldMk cId="3184617097" sldId="305"/>
            <ac:cxnSpMk id="2" creationId="{8FE4D631-5B35-4326-76C4-4C0ECB2FEC7F}"/>
          </ac:cxnSpMkLst>
        </pc:cxnChg>
        <pc:cxnChg chg="mod topLvl">
          <ac:chgData name="Jessica Henley" userId="63b1edf9-6e48-442a-9e00-04850b59a756" providerId="ADAL" clId="{D7E2F68E-A503-4B31-8CB2-DC1B28F456AF}" dt="2025-05-31T20:39:08.658" v="2919" actId="164"/>
          <ac:cxnSpMkLst>
            <pc:docMk/>
            <pc:sldMk cId="3184617097" sldId="305"/>
            <ac:cxnSpMk id="16" creationId="{770D4CE3-3540-6411-FED8-654B3696C565}"/>
          </ac:cxnSpMkLst>
        </pc:cxnChg>
        <pc:cxnChg chg="mod">
          <ac:chgData name="Jessica Henley" userId="63b1edf9-6e48-442a-9e00-04850b59a756" providerId="ADAL" clId="{D7E2F68E-A503-4B31-8CB2-DC1B28F456AF}" dt="2025-05-31T20:32:16.898" v="2902" actId="20578"/>
          <ac:cxnSpMkLst>
            <pc:docMk/>
            <pc:sldMk cId="3184617097" sldId="305"/>
            <ac:cxnSpMk id="17" creationId="{60ECFC03-BA50-87B1-79B5-A3AC739BE3D9}"/>
          </ac:cxnSpMkLst>
        </pc:cxnChg>
      </pc:sldChg>
      <pc:sldChg chg="addSp delSp modSp mod delAnim modAnim modNotesTx">
        <pc:chgData name="Jessica Henley" userId="63b1edf9-6e48-442a-9e00-04850b59a756" providerId="ADAL" clId="{D7E2F68E-A503-4B31-8CB2-DC1B28F456AF}" dt="2025-06-01T18:25:08.545" v="5910" actId="6549"/>
        <pc:sldMkLst>
          <pc:docMk/>
          <pc:sldMk cId="411759287" sldId="311"/>
        </pc:sldMkLst>
        <pc:spChg chg="del topLvl">
          <ac:chgData name="Jessica Henley" userId="63b1edf9-6e48-442a-9e00-04850b59a756" providerId="ADAL" clId="{D7E2F68E-A503-4B31-8CB2-DC1B28F456AF}" dt="2025-06-01T12:22:45.117" v="4541" actId="478"/>
          <ac:spMkLst>
            <pc:docMk/>
            <pc:sldMk cId="411759287" sldId="311"/>
            <ac:spMk id="16" creationId="{A3A0D7A6-932D-4BA9-7979-B736B3F81348}"/>
          </ac:spMkLst>
        </pc:spChg>
        <pc:spChg chg="del mod topLvl">
          <ac:chgData name="Jessica Henley" userId="63b1edf9-6e48-442a-9e00-04850b59a756" providerId="ADAL" clId="{D7E2F68E-A503-4B31-8CB2-DC1B28F456AF}" dt="2025-06-01T12:22:40.819" v="4540" actId="478"/>
          <ac:spMkLst>
            <pc:docMk/>
            <pc:sldMk cId="411759287" sldId="311"/>
            <ac:spMk id="39" creationId="{7A43C6D2-570D-E811-1E1F-28835AD9566F}"/>
          </ac:spMkLst>
        </pc:spChg>
        <pc:spChg chg="mod">
          <ac:chgData name="Jessica Henley" userId="63b1edf9-6e48-442a-9e00-04850b59a756" providerId="ADAL" clId="{D7E2F68E-A503-4B31-8CB2-DC1B28F456AF}" dt="2025-06-01T12:23:18.316" v="4548"/>
          <ac:spMkLst>
            <pc:docMk/>
            <pc:sldMk cId="411759287" sldId="311"/>
            <ac:spMk id="44" creationId="{34EACD44-6D45-C1DE-BF30-275C49EC801B}"/>
          </ac:spMkLst>
        </pc:spChg>
        <pc:spChg chg="mod">
          <ac:chgData name="Jessica Henley" userId="63b1edf9-6e48-442a-9e00-04850b59a756" providerId="ADAL" clId="{D7E2F68E-A503-4B31-8CB2-DC1B28F456AF}" dt="2025-06-01T12:24:01.834" v="4553"/>
          <ac:spMkLst>
            <pc:docMk/>
            <pc:sldMk cId="411759287" sldId="311"/>
            <ac:spMk id="47" creationId="{1D5B397E-6BF0-2F1D-9CFD-62B166BB3F90}"/>
          </ac:spMkLst>
        </pc:spChg>
        <pc:spChg chg="mod">
          <ac:chgData name="Jessica Henley" userId="63b1edf9-6e48-442a-9e00-04850b59a756" providerId="ADAL" clId="{D7E2F68E-A503-4B31-8CB2-DC1B28F456AF}" dt="2025-06-01T12:25:17.992" v="4563"/>
          <ac:spMkLst>
            <pc:docMk/>
            <pc:sldMk cId="411759287" sldId="311"/>
            <ac:spMk id="50" creationId="{118C8637-54CD-5010-62EC-47FF1A75C565}"/>
          </ac:spMkLst>
        </pc:spChg>
        <pc:spChg chg="mod topLvl">
          <ac:chgData name="Jessica Henley" userId="63b1edf9-6e48-442a-9e00-04850b59a756" providerId="ADAL" clId="{D7E2F68E-A503-4B31-8CB2-DC1B28F456AF}" dt="2025-06-01T12:22:59.104" v="4544" actId="164"/>
          <ac:spMkLst>
            <pc:docMk/>
            <pc:sldMk cId="411759287" sldId="311"/>
            <ac:spMk id="103" creationId="{26293457-7725-C26F-5E8D-577FFD922349}"/>
          </ac:spMkLst>
        </pc:spChg>
        <pc:spChg chg="del">
          <ac:chgData name="Jessica Henley" userId="63b1edf9-6e48-442a-9e00-04850b59a756" providerId="ADAL" clId="{D7E2F68E-A503-4B31-8CB2-DC1B28F456AF}" dt="2025-06-01T12:24:00.038" v="4552" actId="478"/>
          <ac:spMkLst>
            <pc:docMk/>
            <pc:sldMk cId="411759287" sldId="311"/>
            <ac:spMk id="118" creationId="{9948F951-A67C-76B0-7315-7D6113CEF3E5}"/>
          </ac:spMkLst>
        </pc:spChg>
        <pc:grpChg chg="mod">
          <ac:chgData name="Jessica Henley" userId="63b1edf9-6e48-442a-9e00-04850b59a756" providerId="ADAL" clId="{D7E2F68E-A503-4B31-8CB2-DC1B28F456AF}" dt="2025-06-01T12:24:55.414" v="4559" actId="1076"/>
          <ac:grpSpMkLst>
            <pc:docMk/>
            <pc:sldMk cId="411759287" sldId="311"/>
            <ac:grpSpMk id="7" creationId="{01392251-8F63-D3EC-AD5D-2ED3E827AD1A}"/>
          </ac:grpSpMkLst>
        </pc:grpChg>
        <pc:grpChg chg="add del mod">
          <ac:chgData name="Jessica Henley" userId="63b1edf9-6e48-442a-9e00-04850b59a756" providerId="ADAL" clId="{D7E2F68E-A503-4B31-8CB2-DC1B28F456AF}" dt="2025-06-01T12:23:09.594" v="4545" actId="478"/>
          <ac:grpSpMkLst>
            <pc:docMk/>
            <pc:sldMk cId="411759287" sldId="311"/>
            <ac:grpSpMk id="8" creationId="{43D47FB2-FA89-6012-A9AD-D4BB9C0DCD4A}"/>
          </ac:grpSpMkLst>
        </pc:grpChg>
        <pc:grpChg chg="del">
          <ac:chgData name="Jessica Henley" userId="63b1edf9-6e48-442a-9e00-04850b59a756" providerId="ADAL" clId="{D7E2F68E-A503-4B31-8CB2-DC1B28F456AF}" dt="2025-06-01T12:22:45.117" v="4541" actId="478"/>
          <ac:grpSpMkLst>
            <pc:docMk/>
            <pc:sldMk cId="411759287" sldId="311"/>
            <ac:grpSpMk id="17" creationId="{EE801CC8-8653-E599-F918-93272ED8C6CE}"/>
          </ac:grpSpMkLst>
        </pc:grpChg>
        <pc:grpChg chg="del">
          <ac:chgData name="Jessica Henley" userId="63b1edf9-6e48-442a-9e00-04850b59a756" providerId="ADAL" clId="{D7E2F68E-A503-4B31-8CB2-DC1B28F456AF}" dt="2025-06-01T12:25:16.568" v="4562" actId="478"/>
          <ac:grpSpMkLst>
            <pc:docMk/>
            <pc:sldMk cId="411759287" sldId="311"/>
            <ac:grpSpMk id="34" creationId="{73529CB5-0109-AFAC-F713-458C5322D6AE}"/>
          </ac:grpSpMkLst>
        </pc:grpChg>
        <pc:grpChg chg="add del mod">
          <ac:chgData name="Jessica Henley" userId="63b1edf9-6e48-442a-9e00-04850b59a756" providerId="ADAL" clId="{D7E2F68E-A503-4B31-8CB2-DC1B28F456AF}" dt="2025-06-01T12:22:38.577" v="4539" actId="21"/>
          <ac:grpSpMkLst>
            <pc:docMk/>
            <pc:sldMk cId="411759287" sldId="311"/>
            <ac:grpSpMk id="38" creationId="{DCCD6B2D-5989-B350-B657-DCACA19FE035}"/>
          </ac:grpSpMkLst>
        </pc:grpChg>
        <pc:grpChg chg="add mod">
          <ac:chgData name="Jessica Henley" userId="63b1edf9-6e48-442a-9e00-04850b59a756" providerId="ADAL" clId="{D7E2F68E-A503-4B31-8CB2-DC1B28F456AF}" dt="2025-06-01T12:23:24.897" v="4549" actId="1076"/>
          <ac:grpSpMkLst>
            <pc:docMk/>
            <pc:sldMk cId="411759287" sldId="311"/>
            <ac:grpSpMk id="43" creationId="{206DE181-93B3-B036-0585-8A22ECB5B29E}"/>
          </ac:grpSpMkLst>
        </pc:grpChg>
        <pc:grpChg chg="add mod">
          <ac:chgData name="Jessica Henley" userId="63b1edf9-6e48-442a-9e00-04850b59a756" providerId="ADAL" clId="{D7E2F68E-A503-4B31-8CB2-DC1B28F456AF}" dt="2025-06-01T12:24:30.036" v="4557" actId="1076"/>
          <ac:grpSpMkLst>
            <pc:docMk/>
            <pc:sldMk cId="411759287" sldId="311"/>
            <ac:grpSpMk id="46" creationId="{24102F90-C447-422A-4B71-68DCE511D0DE}"/>
          </ac:grpSpMkLst>
        </pc:grpChg>
        <pc:grpChg chg="add mod">
          <ac:chgData name="Jessica Henley" userId="63b1edf9-6e48-442a-9e00-04850b59a756" providerId="ADAL" clId="{D7E2F68E-A503-4B31-8CB2-DC1B28F456AF}" dt="2025-06-01T12:25:21.706" v="4564" actId="1076"/>
          <ac:grpSpMkLst>
            <pc:docMk/>
            <pc:sldMk cId="411759287" sldId="311"/>
            <ac:grpSpMk id="49" creationId="{873B7D12-C01B-AD9C-C2C5-5454514A3A17}"/>
          </ac:grpSpMkLst>
        </pc:grpChg>
        <pc:picChg chg="add mod">
          <ac:chgData name="Jessica Henley" userId="63b1edf9-6e48-442a-9e00-04850b59a756" providerId="ADAL" clId="{D7E2F68E-A503-4B31-8CB2-DC1B28F456AF}" dt="2025-06-01T12:22:59.104" v="4544" actId="164"/>
          <ac:picMkLst>
            <pc:docMk/>
            <pc:sldMk cId="411759287" sldId="311"/>
            <ac:picMk id="6" creationId="{B179E91D-03B3-B7D6-D084-C0543BF84D9F}"/>
          </ac:picMkLst>
        </pc:picChg>
        <pc:picChg chg="mod">
          <ac:chgData name="Jessica Henley" userId="63b1edf9-6e48-442a-9e00-04850b59a756" providerId="ADAL" clId="{D7E2F68E-A503-4B31-8CB2-DC1B28F456AF}" dt="2025-06-01T12:31:53.487" v="4592" actId="1076"/>
          <ac:picMkLst>
            <pc:docMk/>
            <pc:sldMk cId="411759287" sldId="311"/>
            <ac:picMk id="9" creationId="{710F48D5-EE9C-9633-579B-11E830EA1CE4}"/>
          </ac:picMkLst>
        </pc:picChg>
        <pc:picChg chg="del">
          <ac:chgData name="Jessica Henley" userId="63b1edf9-6e48-442a-9e00-04850b59a756" providerId="ADAL" clId="{D7E2F68E-A503-4B31-8CB2-DC1B28F456AF}" dt="2025-06-01T12:24:07.022" v="4555" actId="478"/>
          <ac:picMkLst>
            <pc:docMk/>
            <pc:sldMk cId="411759287" sldId="311"/>
            <ac:picMk id="19" creationId="{582A5BDC-5586-7AE7-A24F-A6553EE05D56}"/>
          </ac:picMkLst>
        </pc:picChg>
        <pc:picChg chg="del mod topLvl">
          <ac:chgData name="Jessica Henley" userId="63b1edf9-6e48-442a-9e00-04850b59a756" providerId="ADAL" clId="{D7E2F68E-A503-4B31-8CB2-DC1B28F456AF}" dt="2025-06-01T12:22:38.577" v="4539" actId="21"/>
          <ac:picMkLst>
            <pc:docMk/>
            <pc:sldMk cId="411759287" sldId="311"/>
            <ac:picMk id="42" creationId="{B179E91D-03B3-B7D6-D084-C0543BF84D9F}"/>
          </ac:picMkLst>
        </pc:picChg>
        <pc:picChg chg="mod">
          <ac:chgData name="Jessica Henley" userId="63b1edf9-6e48-442a-9e00-04850b59a756" providerId="ADAL" clId="{D7E2F68E-A503-4B31-8CB2-DC1B28F456AF}" dt="2025-06-01T12:23:18.316" v="4548"/>
          <ac:picMkLst>
            <pc:docMk/>
            <pc:sldMk cId="411759287" sldId="311"/>
            <ac:picMk id="45" creationId="{5364F4D8-5132-B646-CDFB-BD4C64BE8278}"/>
          </ac:picMkLst>
        </pc:picChg>
        <pc:picChg chg="mod">
          <ac:chgData name="Jessica Henley" userId="63b1edf9-6e48-442a-9e00-04850b59a756" providerId="ADAL" clId="{D7E2F68E-A503-4B31-8CB2-DC1B28F456AF}" dt="2025-06-01T12:24:01.834" v="4553"/>
          <ac:picMkLst>
            <pc:docMk/>
            <pc:sldMk cId="411759287" sldId="311"/>
            <ac:picMk id="48" creationId="{FDB6EB8E-E85E-62F8-3930-D70A41BDBD14}"/>
          </ac:picMkLst>
        </pc:picChg>
        <pc:picChg chg="mod">
          <ac:chgData name="Jessica Henley" userId="63b1edf9-6e48-442a-9e00-04850b59a756" providerId="ADAL" clId="{D7E2F68E-A503-4B31-8CB2-DC1B28F456AF}" dt="2025-06-01T12:25:17.992" v="4563"/>
          <ac:picMkLst>
            <pc:docMk/>
            <pc:sldMk cId="411759287" sldId="311"/>
            <ac:picMk id="53" creationId="{9EF7AEC4-B4D2-1C6A-20FF-72CD63D77DB4}"/>
          </ac:picMkLst>
        </pc:picChg>
      </pc:sldChg>
      <pc:sldChg chg="del mod modShow">
        <pc:chgData name="Jessica Henley" userId="63b1edf9-6e48-442a-9e00-04850b59a756" providerId="ADAL" clId="{D7E2F68E-A503-4B31-8CB2-DC1B28F456AF}" dt="2025-06-01T12:12:54.767" v="4478" actId="2696"/>
        <pc:sldMkLst>
          <pc:docMk/>
          <pc:sldMk cId="3985437811" sldId="312"/>
        </pc:sldMkLst>
      </pc:sldChg>
      <pc:sldChg chg="del mod modShow">
        <pc:chgData name="Jessica Henley" userId="63b1edf9-6e48-442a-9e00-04850b59a756" providerId="ADAL" clId="{D7E2F68E-A503-4B31-8CB2-DC1B28F456AF}" dt="2025-06-01T12:12:57.049" v="4479" actId="2696"/>
        <pc:sldMkLst>
          <pc:docMk/>
          <pc:sldMk cId="2449103547" sldId="313"/>
        </pc:sldMkLst>
      </pc:sldChg>
      <pc:sldChg chg="del mod modShow">
        <pc:chgData name="Jessica Henley" userId="63b1edf9-6e48-442a-9e00-04850b59a756" providerId="ADAL" clId="{D7E2F68E-A503-4B31-8CB2-DC1B28F456AF}" dt="2025-06-01T12:12:59.451" v="4480" actId="2696"/>
        <pc:sldMkLst>
          <pc:docMk/>
          <pc:sldMk cId="2062094171" sldId="314"/>
        </pc:sldMkLst>
      </pc:sldChg>
      <pc:sldChg chg="del mod modShow">
        <pc:chgData name="Jessica Henley" userId="63b1edf9-6e48-442a-9e00-04850b59a756" providerId="ADAL" clId="{D7E2F68E-A503-4B31-8CB2-DC1B28F456AF}" dt="2025-06-01T12:13:01.786" v="4481" actId="2696"/>
        <pc:sldMkLst>
          <pc:docMk/>
          <pc:sldMk cId="3416685365" sldId="315"/>
        </pc:sldMkLst>
      </pc:sldChg>
      <pc:sldChg chg="addSp delSp modSp mod ord modAnim modShow modNotesTx">
        <pc:chgData name="Jessica Henley" userId="63b1edf9-6e48-442a-9e00-04850b59a756" providerId="ADAL" clId="{D7E2F68E-A503-4B31-8CB2-DC1B28F456AF}" dt="2025-06-01T14:11:17.237" v="4774" actId="20577"/>
        <pc:sldMkLst>
          <pc:docMk/>
          <pc:sldMk cId="396768538" sldId="316"/>
        </pc:sldMkLst>
        <pc:spChg chg="mod">
          <ac:chgData name="Jessica Henley" userId="63b1edf9-6e48-442a-9e00-04850b59a756" providerId="ADAL" clId="{D7E2F68E-A503-4B31-8CB2-DC1B28F456AF}" dt="2025-05-31T19:19:12.731" v="2257" actId="20577"/>
          <ac:spMkLst>
            <pc:docMk/>
            <pc:sldMk cId="396768538" sldId="316"/>
            <ac:spMk id="2" creationId="{1DCDB1A3-224B-2C05-988B-9A11A55CEAFC}"/>
          </ac:spMkLst>
        </pc:spChg>
        <pc:spChg chg="mod">
          <ac:chgData name="Jessica Henley" userId="63b1edf9-6e48-442a-9e00-04850b59a756" providerId="ADAL" clId="{D7E2F68E-A503-4B31-8CB2-DC1B28F456AF}" dt="2025-05-31T19:29:05.285" v="2370" actId="1076"/>
          <ac:spMkLst>
            <pc:docMk/>
            <pc:sldMk cId="396768538" sldId="316"/>
            <ac:spMk id="4" creationId="{20FCD40F-036F-7384-FF4D-22E7A9A515D0}"/>
          </ac:spMkLst>
        </pc:spChg>
        <pc:spChg chg="del mod">
          <ac:chgData name="Jessica Henley" userId="63b1edf9-6e48-442a-9e00-04850b59a756" providerId="ADAL" clId="{D7E2F68E-A503-4B31-8CB2-DC1B28F456AF}" dt="2025-05-31T19:25:25.471" v="2349" actId="478"/>
          <ac:spMkLst>
            <pc:docMk/>
            <pc:sldMk cId="396768538" sldId="316"/>
            <ac:spMk id="6" creationId="{A1FEB6F1-8A8C-A4DB-3196-CDD2A213B6F5}"/>
          </ac:spMkLst>
        </pc:spChg>
        <pc:spChg chg="del">
          <ac:chgData name="Jessica Henley" userId="63b1edf9-6e48-442a-9e00-04850b59a756" providerId="ADAL" clId="{D7E2F68E-A503-4B31-8CB2-DC1B28F456AF}" dt="2025-05-31T19:25:20.376" v="2347" actId="478"/>
          <ac:spMkLst>
            <pc:docMk/>
            <pc:sldMk cId="396768538" sldId="316"/>
            <ac:spMk id="8" creationId="{3A6A1506-6CEE-49CE-D609-C7B3F14DB8E9}"/>
          </ac:spMkLst>
        </pc:spChg>
        <pc:spChg chg="mod">
          <ac:chgData name="Jessica Henley" userId="63b1edf9-6e48-442a-9e00-04850b59a756" providerId="ADAL" clId="{D7E2F68E-A503-4B31-8CB2-DC1B28F456AF}" dt="2025-05-31T19:27:07.452" v="2363" actId="165"/>
          <ac:spMkLst>
            <pc:docMk/>
            <pc:sldMk cId="396768538" sldId="316"/>
            <ac:spMk id="25" creationId="{91115C63-38E9-EFD4-4DD4-FAD3CE149BCE}"/>
          </ac:spMkLst>
        </pc:spChg>
        <pc:spChg chg="mod">
          <ac:chgData name="Jessica Henley" userId="63b1edf9-6e48-442a-9e00-04850b59a756" providerId="ADAL" clId="{D7E2F68E-A503-4B31-8CB2-DC1B28F456AF}" dt="2025-05-31T19:27:07.452" v="2363" actId="165"/>
          <ac:spMkLst>
            <pc:docMk/>
            <pc:sldMk cId="396768538" sldId="316"/>
            <ac:spMk id="26" creationId="{692F262F-8EC8-B91B-4661-8547295F3775}"/>
          </ac:spMkLst>
        </pc:spChg>
        <pc:spChg chg="add mod">
          <ac:chgData name="Jessica Henley" userId="63b1edf9-6e48-442a-9e00-04850b59a756" providerId="ADAL" clId="{D7E2F68E-A503-4B31-8CB2-DC1B28F456AF}" dt="2025-05-31T19:26:17.201" v="2359" actId="1076"/>
          <ac:spMkLst>
            <pc:docMk/>
            <pc:sldMk cId="396768538" sldId="316"/>
            <ac:spMk id="29" creationId="{29C8057C-789E-0F0D-DEEA-D6E3E75C6B06}"/>
          </ac:spMkLst>
        </pc:spChg>
        <pc:spChg chg="add mod">
          <ac:chgData name="Jessica Henley" userId="63b1edf9-6e48-442a-9e00-04850b59a756" providerId="ADAL" clId="{D7E2F68E-A503-4B31-8CB2-DC1B28F456AF}" dt="2025-05-31T19:26:40.645" v="2362" actId="1076"/>
          <ac:spMkLst>
            <pc:docMk/>
            <pc:sldMk cId="396768538" sldId="316"/>
            <ac:spMk id="30" creationId="{29FFB59C-4666-29E3-3D87-D882FA4845B1}"/>
          </ac:spMkLst>
        </pc:spChg>
        <pc:spChg chg="mod">
          <ac:chgData name="Jessica Henley" userId="63b1edf9-6e48-442a-9e00-04850b59a756" providerId="ADAL" clId="{D7E2F68E-A503-4B31-8CB2-DC1B28F456AF}" dt="2025-05-31T19:28:34.664" v="2367"/>
          <ac:spMkLst>
            <pc:docMk/>
            <pc:sldMk cId="396768538" sldId="316"/>
            <ac:spMk id="47" creationId="{D771EC73-0B2F-B151-1EB5-45E6E9AA27B5}"/>
          </ac:spMkLst>
        </pc:spChg>
        <pc:grpChg chg="del">
          <ac:chgData name="Jessica Henley" userId="63b1edf9-6e48-442a-9e00-04850b59a756" providerId="ADAL" clId="{D7E2F68E-A503-4B31-8CB2-DC1B28F456AF}" dt="2025-05-31T19:23:53.584" v="2327" actId="478"/>
          <ac:grpSpMkLst>
            <pc:docMk/>
            <pc:sldMk cId="396768538" sldId="316"/>
            <ac:grpSpMk id="3" creationId="{40F0CF57-66DC-98C9-5659-79DC4A1F5094}"/>
          </ac:grpSpMkLst>
        </pc:grpChg>
        <pc:grpChg chg="del mod topLvl">
          <ac:chgData name="Jessica Henley" userId="63b1edf9-6e48-442a-9e00-04850b59a756" providerId="ADAL" clId="{D7E2F68E-A503-4B31-8CB2-DC1B28F456AF}" dt="2025-05-31T19:27:15.196" v="2364" actId="478"/>
          <ac:grpSpMkLst>
            <pc:docMk/>
            <pc:sldMk cId="396768538" sldId="316"/>
            <ac:grpSpMk id="24" creationId="{11664CF4-DF8A-4250-1C04-8BAAD443CA47}"/>
          </ac:grpSpMkLst>
        </pc:grpChg>
        <pc:grpChg chg="del">
          <ac:chgData name="Jessica Henley" userId="63b1edf9-6e48-442a-9e00-04850b59a756" providerId="ADAL" clId="{D7E2F68E-A503-4B31-8CB2-DC1B28F456AF}" dt="2025-05-31T19:27:07.452" v="2363" actId="165"/>
          <ac:grpSpMkLst>
            <pc:docMk/>
            <pc:sldMk cId="396768538" sldId="316"/>
            <ac:grpSpMk id="27" creationId="{99EA9D94-FB9C-D1CE-BAC7-3990270FCACB}"/>
          </ac:grpSpMkLst>
        </pc:grpChg>
        <pc:grpChg chg="add mod">
          <ac:chgData name="Jessica Henley" userId="63b1edf9-6e48-442a-9e00-04850b59a756" providerId="ADAL" clId="{D7E2F68E-A503-4B31-8CB2-DC1B28F456AF}" dt="2025-05-31T19:28:55.114" v="2369" actId="164"/>
          <ac:grpSpMkLst>
            <pc:docMk/>
            <pc:sldMk cId="396768538" sldId="316"/>
            <ac:grpSpMk id="31" creationId="{09691656-CF02-3A17-6088-ACD77BF96196}"/>
          </ac:grpSpMkLst>
        </pc:grpChg>
        <pc:grpChg chg="add mod">
          <ac:chgData name="Jessica Henley" userId="63b1edf9-6e48-442a-9e00-04850b59a756" providerId="ADAL" clId="{D7E2F68E-A503-4B31-8CB2-DC1B28F456AF}" dt="2025-05-31T19:28:55.114" v="2369" actId="164"/>
          <ac:grpSpMkLst>
            <pc:docMk/>
            <pc:sldMk cId="396768538" sldId="316"/>
            <ac:grpSpMk id="46" creationId="{CF629228-DA00-93CF-D73D-9B79D295DAC1}"/>
          </ac:grpSpMkLst>
        </pc:grpChg>
        <pc:picChg chg="add del">
          <ac:chgData name="Jessica Henley" userId="63b1edf9-6e48-442a-9e00-04850b59a756" providerId="ADAL" clId="{D7E2F68E-A503-4B31-8CB2-DC1B28F456AF}" dt="2025-05-31T19:24:32.739" v="2335" actId="22"/>
          <ac:picMkLst>
            <pc:docMk/>
            <pc:sldMk cId="396768538" sldId="316"/>
            <ac:picMk id="22" creationId="{B2CA9171-033D-5B90-38A9-216E46CDD9F4}"/>
          </ac:picMkLst>
        </pc:picChg>
        <pc:picChg chg="add del">
          <ac:chgData name="Jessica Henley" userId="63b1edf9-6e48-442a-9e00-04850b59a756" providerId="ADAL" clId="{D7E2F68E-A503-4B31-8CB2-DC1B28F456AF}" dt="2025-05-31T19:24:35.597" v="2337" actId="22"/>
          <ac:picMkLst>
            <pc:docMk/>
            <pc:sldMk cId="396768538" sldId="316"/>
            <ac:picMk id="28" creationId="{585C3296-FF97-3B42-DCF3-8DDFED6726DB}"/>
          </ac:picMkLst>
        </pc:picChg>
        <pc:picChg chg="mod">
          <ac:chgData name="Jessica Henley" userId="63b1edf9-6e48-442a-9e00-04850b59a756" providerId="ADAL" clId="{D7E2F68E-A503-4B31-8CB2-DC1B28F456AF}" dt="2025-05-31T19:28:34.664" v="2367"/>
          <ac:picMkLst>
            <pc:docMk/>
            <pc:sldMk cId="396768538" sldId="316"/>
            <ac:picMk id="48" creationId="{048C2AB8-4D48-6DE5-CB60-6C7140D89B50}"/>
          </ac:picMkLst>
        </pc:picChg>
        <pc:cxnChg chg="mod topLvl">
          <ac:chgData name="Jessica Henley" userId="63b1edf9-6e48-442a-9e00-04850b59a756" providerId="ADAL" clId="{D7E2F68E-A503-4B31-8CB2-DC1B28F456AF}" dt="2025-05-31T19:28:55.114" v="2369" actId="164"/>
          <ac:cxnSpMkLst>
            <pc:docMk/>
            <pc:sldMk cId="396768538" sldId="316"/>
            <ac:cxnSpMk id="5" creationId="{37E1BF35-C89C-BD69-FEB6-1D019807F013}"/>
          </ac:cxnSpMkLst>
        </pc:cxnChg>
      </pc:sldChg>
      <pc:sldChg chg="addSp delSp modSp mod ord modNotesTx">
        <pc:chgData name="Jessica Henley" userId="63b1edf9-6e48-442a-9e00-04850b59a756" providerId="ADAL" clId="{D7E2F68E-A503-4B31-8CB2-DC1B28F456AF}" dt="2025-06-01T14:06:15.912" v="4761" actId="20577"/>
        <pc:sldMkLst>
          <pc:docMk/>
          <pc:sldMk cId="2846115035" sldId="317"/>
        </pc:sldMkLst>
        <pc:spChg chg="del mod">
          <ac:chgData name="Jessica Henley" userId="63b1edf9-6e48-442a-9e00-04850b59a756" providerId="ADAL" clId="{D7E2F68E-A503-4B31-8CB2-DC1B28F456AF}" dt="2025-05-31T18:13:26.280" v="463" actId="478"/>
          <ac:spMkLst>
            <pc:docMk/>
            <pc:sldMk cId="2846115035" sldId="317"/>
            <ac:spMk id="6" creationId="{6500CD8D-1474-B210-AE3B-DA035146D104}"/>
          </ac:spMkLst>
        </pc:spChg>
        <pc:spChg chg="del mod topLvl">
          <ac:chgData name="Jessica Henley" userId="63b1edf9-6e48-442a-9e00-04850b59a756" providerId="ADAL" clId="{D7E2F68E-A503-4B31-8CB2-DC1B28F456AF}" dt="2025-05-31T18:50:57.602" v="1000" actId="478"/>
          <ac:spMkLst>
            <pc:docMk/>
            <pc:sldMk cId="2846115035" sldId="317"/>
            <ac:spMk id="8" creationId="{792CE2F1-8464-1FFE-0214-7095B24EA317}"/>
          </ac:spMkLst>
        </pc:spChg>
        <pc:spChg chg="add">
          <ac:chgData name="Jessica Henley" userId="63b1edf9-6e48-442a-9e00-04850b59a756" providerId="ADAL" clId="{D7E2F68E-A503-4B31-8CB2-DC1B28F456AF}" dt="2025-05-31T18:10:50.547" v="295"/>
          <ac:spMkLst>
            <pc:docMk/>
            <pc:sldMk cId="2846115035" sldId="317"/>
            <ac:spMk id="9" creationId="{C11B6D23-7F2A-EA19-9C94-5D1A2122BB0E}"/>
          </ac:spMkLst>
        </pc:spChg>
        <pc:spChg chg="add">
          <ac:chgData name="Jessica Henley" userId="63b1edf9-6e48-442a-9e00-04850b59a756" providerId="ADAL" clId="{D7E2F68E-A503-4B31-8CB2-DC1B28F456AF}" dt="2025-05-31T18:10:57.996" v="296"/>
          <ac:spMkLst>
            <pc:docMk/>
            <pc:sldMk cId="2846115035" sldId="317"/>
            <ac:spMk id="10" creationId="{4D82406A-1024-2F59-76FF-7FB3140C94ED}"/>
          </ac:spMkLst>
        </pc:spChg>
        <pc:spChg chg="mod">
          <ac:chgData name="Jessica Henley" userId="63b1edf9-6e48-442a-9e00-04850b59a756" providerId="ADAL" clId="{D7E2F68E-A503-4B31-8CB2-DC1B28F456AF}" dt="2025-05-31T18:31:58.061" v="872"/>
          <ac:spMkLst>
            <pc:docMk/>
            <pc:sldMk cId="2846115035" sldId="317"/>
            <ac:spMk id="13" creationId="{941C80BD-6E4A-1E06-8E12-59B0DF32E489}"/>
          </ac:spMkLst>
        </pc:spChg>
        <pc:spChg chg="mod">
          <ac:chgData name="Jessica Henley" userId="63b1edf9-6e48-442a-9e00-04850b59a756" providerId="ADAL" clId="{D7E2F68E-A503-4B31-8CB2-DC1B28F456AF}" dt="2025-05-31T18:31:58.061" v="872"/>
          <ac:spMkLst>
            <pc:docMk/>
            <pc:sldMk cId="2846115035" sldId="317"/>
            <ac:spMk id="16" creationId="{25E99587-B904-15F2-703B-8BF0C070CA17}"/>
          </ac:spMkLst>
        </pc:spChg>
        <pc:spChg chg="mod">
          <ac:chgData name="Jessica Henley" userId="63b1edf9-6e48-442a-9e00-04850b59a756" providerId="ADAL" clId="{D7E2F68E-A503-4B31-8CB2-DC1B28F456AF}" dt="2025-05-31T19:05:15.841" v="2123" actId="14838"/>
          <ac:spMkLst>
            <pc:docMk/>
            <pc:sldMk cId="2846115035" sldId="317"/>
            <ac:spMk id="22" creationId="{CD9BE111-63B2-D790-F90B-4235E87F6936}"/>
          </ac:spMkLst>
        </pc:spChg>
        <pc:spChg chg="mod">
          <ac:chgData name="Jessica Henley" userId="63b1edf9-6e48-442a-9e00-04850b59a756" providerId="ADAL" clId="{D7E2F68E-A503-4B31-8CB2-DC1B28F456AF}" dt="2025-05-31T18:38:22.686" v="929"/>
          <ac:spMkLst>
            <pc:docMk/>
            <pc:sldMk cId="2846115035" sldId="317"/>
            <ac:spMk id="23" creationId="{EE679583-F3E3-4DDD-9203-5D348749B95A}"/>
          </ac:spMkLst>
        </pc:spChg>
        <pc:spChg chg="del topLvl">
          <ac:chgData name="Jessica Henley" userId="63b1edf9-6e48-442a-9e00-04850b59a756" providerId="ADAL" clId="{D7E2F68E-A503-4B31-8CB2-DC1B28F456AF}" dt="2025-05-31T18:08:00.881" v="271" actId="478"/>
          <ac:spMkLst>
            <pc:docMk/>
            <pc:sldMk cId="2846115035" sldId="317"/>
            <ac:spMk id="25" creationId="{FB9E5BD2-EBF0-AA33-1F53-E9499A06D5F7}"/>
          </ac:spMkLst>
        </pc:spChg>
        <pc:spChg chg="del">
          <ac:chgData name="Jessica Henley" userId="63b1edf9-6e48-442a-9e00-04850b59a756" providerId="ADAL" clId="{D7E2F68E-A503-4B31-8CB2-DC1B28F456AF}" dt="2025-05-31T18:07:53.742" v="270" actId="478"/>
          <ac:spMkLst>
            <pc:docMk/>
            <pc:sldMk cId="2846115035" sldId="317"/>
            <ac:spMk id="26" creationId="{8B0D33F2-81DB-C4E9-DFEB-5E6B3B6349B2}"/>
          </ac:spMkLst>
        </pc:spChg>
        <pc:spChg chg="mod">
          <ac:chgData name="Jessica Henley" userId="63b1edf9-6e48-442a-9e00-04850b59a756" providerId="ADAL" clId="{D7E2F68E-A503-4B31-8CB2-DC1B28F456AF}" dt="2025-05-31T18:38:22.686" v="929"/>
          <ac:spMkLst>
            <pc:docMk/>
            <pc:sldMk cId="2846115035" sldId="317"/>
            <ac:spMk id="34" creationId="{94EDEF7A-A31B-A95C-F8E1-0F48BC980DDB}"/>
          </ac:spMkLst>
        </pc:spChg>
        <pc:spChg chg="mod">
          <ac:chgData name="Jessica Henley" userId="63b1edf9-6e48-442a-9e00-04850b59a756" providerId="ADAL" clId="{D7E2F68E-A503-4B31-8CB2-DC1B28F456AF}" dt="2025-05-31T18:38:22.686" v="929"/>
          <ac:spMkLst>
            <pc:docMk/>
            <pc:sldMk cId="2846115035" sldId="317"/>
            <ac:spMk id="35" creationId="{F5CB5540-21A3-0F62-ADEF-A21DABD14A60}"/>
          </ac:spMkLst>
        </pc:spChg>
        <pc:spChg chg="mod">
          <ac:chgData name="Jessica Henley" userId="63b1edf9-6e48-442a-9e00-04850b59a756" providerId="ADAL" clId="{D7E2F68E-A503-4B31-8CB2-DC1B28F456AF}" dt="2025-05-31T18:38:22.686" v="929"/>
          <ac:spMkLst>
            <pc:docMk/>
            <pc:sldMk cId="2846115035" sldId="317"/>
            <ac:spMk id="36" creationId="{D414D49F-6023-1046-EC82-BBF3E12C2839}"/>
          </ac:spMkLst>
        </pc:spChg>
        <pc:spChg chg="mod">
          <ac:chgData name="Jessica Henley" userId="63b1edf9-6e48-442a-9e00-04850b59a756" providerId="ADAL" clId="{D7E2F68E-A503-4B31-8CB2-DC1B28F456AF}" dt="2025-05-31T19:03:27.872" v="1781" actId="14861"/>
          <ac:spMkLst>
            <pc:docMk/>
            <pc:sldMk cId="2846115035" sldId="317"/>
            <ac:spMk id="38" creationId="{1B682AD7-3C8C-DAC5-824B-C057C9CC7470}"/>
          </ac:spMkLst>
        </pc:spChg>
        <pc:spChg chg="mod">
          <ac:chgData name="Jessica Henley" userId="63b1edf9-6e48-442a-9e00-04850b59a756" providerId="ADAL" clId="{D7E2F68E-A503-4B31-8CB2-DC1B28F456AF}" dt="2025-05-31T18:54:46.525" v="1008" actId="165"/>
          <ac:spMkLst>
            <pc:docMk/>
            <pc:sldMk cId="2846115035" sldId="317"/>
            <ac:spMk id="39" creationId="{8C8D054F-D2E1-5C74-C421-453E512E656E}"/>
          </ac:spMkLst>
        </pc:spChg>
        <pc:spChg chg="mod">
          <ac:chgData name="Jessica Henley" userId="63b1edf9-6e48-442a-9e00-04850b59a756" providerId="ADAL" clId="{D7E2F68E-A503-4B31-8CB2-DC1B28F456AF}" dt="2025-05-31T18:38:22.686" v="929"/>
          <ac:spMkLst>
            <pc:docMk/>
            <pc:sldMk cId="2846115035" sldId="317"/>
            <ac:spMk id="40" creationId="{449E1289-6BFB-A212-8011-F6154954760D}"/>
          </ac:spMkLst>
        </pc:spChg>
        <pc:spChg chg="mod">
          <ac:chgData name="Jessica Henley" userId="63b1edf9-6e48-442a-9e00-04850b59a756" providerId="ADAL" clId="{D7E2F68E-A503-4B31-8CB2-DC1B28F456AF}" dt="2025-05-31T18:38:22.686" v="929"/>
          <ac:spMkLst>
            <pc:docMk/>
            <pc:sldMk cId="2846115035" sldId="317"/>
            <ac:spMk id="41" creationId="{3CC061B2-FE16-44F2-DD95-E6320876D384}"/>
          </ac:spMkLst>
        </pc:spChg>
        <pc:spChg chg="mod">
          <ac:chgData name="Jessica Henley" userId="63b1edf9-6e48-442a-9e00-04850b59a756" providerId="ADAL" clId="{D7E2F68E-A503-4B31-8CB2-DC1B28F456AF}" dt="2025-05-31T18:12:56.597" v="457" actId="1076"/>
          <ac:spMkLst>
            <pc:docMk/>
            <pc:sldMk cId="2846115035" sldId="317"/>
            <ac:spMk id="42" creationId="{5A12C89B-2D23-E649-B857-DFA650C978D8}"/>
          </ac:spMkLst>
        </pc:spChg>
        <pc:spChg chg="mod">
          <ac:chgData name="Jessica Henley" userId="63b1edf9-6e48-442a-9e00-04850b59a756" providerId="ADAL" clId="{D7E2F68E-A503-4B31-8CB2-DC1B28F456AF}" dt="2025-05-31T19:04:42.965" v="2122" actId="14861"/>
          <ac:spMkLst>
            <pc:docMk/>
            <pc:sldMk cId="2846115035" sldId="317"/>
            <ac:spMk id="43" creationId="{DE6CC8A9-DBB4-991C-7992-14A3BA3AAC07}"/>
          </ac:spMkLst>
        </pc:spChg>
        <pc:spChg chg="mod">
          <ac:chgData name="Jessica Henley" userId="63b1edf9-6e48-442a-9e00-04850b59a756" providerId="ADAL" clId="{D7E2F68E-A503-4B31-8CB2-DC1B28F456AF}" dt="2025-05-31T18:38:22.686" v="929"/>
          <ac:spMkLst>
            <pc:docMk/>
            <pc:sldMk cId="2846115035" sldId="317"/>
            <ac:spMk id="44" creationId="{8E959977-FC6A-3C19-00A7-61FCD225B285}"/>
          </ac:spMkLst>
        </pc:spChg>
        <pc:spChg chg="mod">
          <ac:chgData name="Jessica Henley" userId="63b1edf9-6e48-442a-9e00-04850b59a756" providerId="ADAL" clId="{D7E2F68E-A503-4B31-8CB2-DC1B28F456AF}" dt="2025-05-31T19:03:42.367" v="1846" actId="14861"/>
          <ac:spMkLst>
            <pc:docMk/>
            <pc:sldMk cId="2846115035" sldId="317"/>
            <ac:spMk id="47" creationId="{F16AE424-FDC4-919A-D5D8-84F77EF92BF3}"/>
          </ac:spMkLst>
        </pc:spChg>
        <pc:spChg chg="mod">
          <ac:chgData name="Jessica Henley" userId="63b1edf9-6e48-442a-9e00-04850b59a756" providerId="ADAL" clId="{D7E2F68E-A503-4B31-8CB2-DC1B28F456AF}" dt="2025-05-31T19:01:36.898" v="1494" actId="14861"/>
          <ac:spMkLst>
            <pc:docMk/>
            <pc:sldMk cId="2846115035" sldId="317"/>
            <ac:spMk id="53" creationId="{6C0410C9-8233-5273-DECD-4150086088A2}"/>
          </ac:spMkLst>
        </pc:spChg>
        <pc:spChg chg="mod">
          <ac:chgData name="Jessica Henley" userId="63b1edf9-6e48-442a-9e00-04850b59a756" providerId="ADAL" clId="{D7E2F68E-A503-4B31-8CB2-DC1B28F456AF}" dt="2025-05-31T18:38:22.686" v="929"/>
          <ac:spMkLst>
            <pc:docMk/>
            <pc:sldMk cId="2846115035" sldId="317"/>
            <ac:spMk id="54" creationId="{0C3369B9-058F-2591-BDBB-29D2A2D48022}"/>
          </ac:spMkLst>
        </pc:spChg>
        <pc:spChg chg="mod">
          <ac:chgData name="Jessica Henley" userId="63b1edf9-6e48-442a-9e00-04850b59a756" providerId="ADAL" clId="{D7E2F68E-A503-4B31-8CB2-DC1B28F456AF}" dt="2025-05-31T18:38:22.686" v="929"/>
          <ac:spMkLst>
            <pc:docMk/>
            <pc:sldMk cId="2846115035" sldId="317"/>
            <ac:spMk id="55" creationId="{C8CBE0D2-5D68-0E2C-832E-71B0BA813E89}"/>
          </ac:spMkLst>
        </pc:spChg>
        <pc:spChg chg="mod">
          <ac:chgData name="Jessica Henley" userId="63b1edf9-6e48-442a-9e00-04850b59a756" providerId="ADAL" clId="{D7E2F68E-A503-4B31-8CB2-DC1B28F456AF}" dt="2025-05-31T18:38:22.686" v="929"/>
          <ac:spMkLst>
            <pc:docMk/>
            <pc:sldMk cId="2846115035" sldId="317"/>
            <ac:spMk id="56" creationId="{2CBE2833-A1F1-E4BB-3794-41F21E345F77}"/>
          </ac:spMkLst>
        </pc:spChg>
        <pc:spChg chg="mod">
          <ac:chgData name="Jessica Henley" userId="63b1edf9-6e48-442a-9e00-04850b59a756" providerId="ADAL" clId="{D7E2F68E-A503-4B31-8CB2-DC1B28F456AF}" dt="2025-05-31T18:39:42.473" v="933" actId="1076"/>
          <ac:spMkLst>
            <pc:docMk/>
            <pc:sldMk cId="2846115035" sldId="317"/>
            <ac:spMk id="57" creationId="{DE3BC5F4-F2B7-18B0-DAF7-F3D42F816381}"/>
          </ac:spMkLst>
        </pc:spChg>
        <pc:spChg chg="mod">
          <ac:chgData name="Jessica Henley" userId="63b1edf9-6e48-442a-9e00-04850b59a756" providerId="ADAL" clId="{D7E2F68E-A503-4B31-8CB2-DC1B28F456AF}" dt="2025-05-31T19:02:34.372" v="1659" actId="14861"/>
          <ac:spMkLst>
            <pc:docMk/>
            <pc:sldMk cId="2846115035" sldId="317"/>
            <ac:spMk id="58" creationId="{32D357CF-8AF0-B8AA-C750-B067513CF35D}"/>
          </ac:spMkLst>
        </pc:spChg>
        <pc:spChg chg="del mod">
          <ac:chgData name="Jessica Henley" userId="63b1edf9-6e48-442a-9e00-04850b59a756" providerId="ADAL" clId="{D7E2F68E-A503-4B31-8CB2-DC1B28F456AF}" dt="2025-05-31T19:09:03.005" v="2130" actId="478"/>
          <ac:spMkLst>
            <pc:docMk/>
            <pc:sldMk cId="2846115035" sldId="317"/>
            <ac:spMk id="59" creationId="{E40DEC20-1156-BA70-A397-EDE3EFD55E6A}"/>
          </ac:spMkLst>
        </pc:spChg>
        <pc:spChg chg="add del mod topLvl">
          <ac:chgData name="Jessica Henley" userId="63b1edf9-6e48-442a-9e00-04850b59a756" providerId="ADAL" clId="{D7E2F68E-A503-4B31-8CB2-DC1B28F456AF}" dt="2025-05-31T19:10:24.685" v="2143" actId="478"/>
          <ac:spMkLst>
            <pc:docMk/>
            <pc:sldMk cId="2846115035" sldId="317"/>
            <ac:spMk id="60" creationId="{AD927928-9E4B-68D3-E9D8-063E95C13EFB}"/>
          </ac:spMkLst>
        </pc:spChg>
        <pc:spChg chg="mod">
          <ac:chgData name="Jessica Henley" userId="63b1edf9-6e48-442a-9e00-04850b59a756" providerId="ADAL" clId="{D7E2F68E-A503-4B31-8CB2-DC1B28F456AF}" dt="2025-05-31T18:39:31.172" v="932" actId="1076"/>
          <ac:spMkLst>
            <pc:docMk/>
            <pc:sldMk cId="2846115035" sldId="317"/>
            <ac:spMk id="62" creationId="{D5D9F685-FDB0-8736-1871-FCA90E590BB6}"/>
          </ac:spMkLst>
        </pc:spChg>
        <pc:spChg chg="add del mod">
          <ac:chgData name="Jessica Henley" userId="63b1edf9-6e48-442a-9e00-04850b59a756" providerId="ADAL" clId="{D7E2F68E-A503-4B31-8CB2-DC1B28F456AF}" dt="2025-05-31T19:10:28.907" v="2145" actId="21"/>
          <ac:spMkLst>
            <pc:docMk/>
            <pc:sldMk cId="2846115035" sldId="317"/>
            <ac:spMk id="65" creationId="{BBAE7056-33CB-042F-9C08-4C85D672D509}"/>
          </ac:spMkLst>
        </pc:spChg>
        <pc:grpChg chg="add mod topLvl">
          <ac:chgData name="Jessica Henley" userId="63b1edf9-6e48-442a-9e00-04850b59a756" providerId="ADAL" clId="{D7E2F68E-A503-4B31-8CB2-DC1B28F456AF}" dt="2025-05-31T18:54:54.385" v="1009" actId="164"/>
          <ac:grpSpMkLst>
            <pc:docMk/>
            <pc:sldMk cId="2846115035" sldId="317"/>
            <ac:grpSpMk id="3" creationId="{89E2644C-D76A-3897-26AF-21E91BF5B55A}"/>
          </ac:grpSpMkLst>
        </pc:grpChg>
        <pc:grpChg chg="add del mod">
          <ac:chgData name="Jessica Henley" userId="63b1edf9-6e48-442a-9e00-04850b59a756" providerId="ADAL" clId="{D7E2F68E-A503-4B31-8CB2-DC1B28F456AF}" dt="2025-05-31T18:31:41.447" v="870" actId="165"/>
          <ac:grpSpMkLst>
            <pc:docMk/>
            <pc:sldMk cId="2846115035" sldId="317"/>
            <ac:grpSpMk id="7" creationId="{9F2047AF-73C9-2C26-572F-4D614D24AB10}"/>
          </ac:grpSpMkLst>
        </pc:grpChg>
        <pc:grpChg chg="add del mod">
          <ac:chgData name="Jessica Henley" userId="63b1edf9-6e48-442a-9e00-04850b59a756" providerId="ADAL" clId="{D7E2F68E-A503-4B31-8CB2-DC1B28F456AF}" dt="2025-05-31T18:50:34.338" v="994" actId="165"/>
          <ac:grpSpMkLst>
            <pc:docMk/>
            <pc:sldMk cId="2846115035" sldId="317"/>
            <ac:grpSpMk id="11" creationId="{C3BDD432-971B-4EA2-1F26-105A18BE5E00}"/>
          </ac:grpSpMkLst>
        </pc:grpChg>
        <pc:grpChg chg="add del mod">
          <ac:chgData name="Jessica Henley" userId="63b1edf9-6e48-442a-9e00-04850b59a756" providerId="ADAL" clId="{D7E2F68E-A503-4B31-8CB2-DC1B28F456AF}" dt="2025-05-31T18:31:59.650" v="873" actId="21"/>
          <ac:grpSpMkLst>
            <pc:docMk/>
            <pc:sldMk cId="2846115035" sldId="317"/>
            <ac:grpSpMk id="12" creationId="{37F5CAD2-13AC-62FE-255B-7C74F0E85987}"/>
          </ac:grpSpMkLst>
        </pc:grpChg>
        <pc:grpChg chg="mod">
          <ac:chgData name="Jessica Henley" userId="63b1edf9-6e48-442a-9e00-04850b59a756" providerId="ADAL" clId="{D7E2F68E-A503-4B31-8CB2-DC1B28F456AF}" dt="2025-05-31T18:31:58.061" v="872"/>
          <ac:grpSpMkLst>
            <pc:docMk/>
            <pc:sldMk cId="2846115035" sldId="317"/>
            <ac:grpSpMk id="15" creationId="{E7162263-5E28-A08A-50AB-6D0AE1EE2C67}"/>
          </ac:grpSpMkLst>
        </pc:grpChg>
        <pc:grpChg chg="del mod">
          <ac:chgData name="Jessica Henley" userId="63b1edf9-6e48-442a-9e00-04850b59a756" providerId="ADAL" clId="{D7E2F68E-A503-4B31-8CB2-DC1B28F456AF}" dt="2025-05-31T18:55:30.572" v="1010" actId="478"/>
          <ac:grpSpMkLst>
            <pc:docMk/>
            <pc:sldMk cId="2846115035" sldId="317"/>
            <ac:grpSpMk id="18" creationId="{BC756185-90E6-BB5E-BA78-965C6803389C}"/>
          </ac:grpSpMkLst>
        </pc:grpChg>
        <pc:grpChg chg="del">
          <ac:chgData name="Jessica Henley" userId="63b1edf9-6e48-442a-9e00-04850b59a756" providerId="ADAL" clId="{D7E2F68E-A503-4B31-8CB2-DC1B28F456AF}" dt="2025-05-31T18:07:53.742" v="270" actId="478"/>
          <ac:grpSpMkLst>
            <pc:docMk/>
            <pc:sldMk cId="2846115035" sldId="317"/>
            <ac:grpSpMk id="24" creationId="{0FEC9D02-4413-B5D3-55FE-562649607755}"/>
          </ac:grpSpMkLst>
        </pc:grpChg>
        <pc:grpChg chg="del">
          <ac:chgData name="Jessica Henley" userId="63b1edf9-6e48-442a-9e00-04850b59a756" providerId="ADAL" clId="{D7E2F68E-A503-4B31-8CB2-DC1B28F456AF}" dt="2025-05-31T18:08:00.881" v="271" actId="478"/>
          <ac:grpSpMkLst>
            <pc:docMk/>
            <pc:sldMk cId="2846115035" sldId="317"/>
            <ac:grpSpMk id="27" creationId="{0FED2B3D-5E00-D601-E91D-5DC09B051235}"/>
          </ac:grpSpMkLst>
        </pc:grpChg>
        <pc:grpChg chg="del mod">
          <ac:chgData name="Jessica Henley" userId="63b1edf9-6e48-442a-9e00-04850b59a756" providerId="ADAL" clId="{D7E2F68E-A503-4B31-8CB2-DC1B28F456AF}" dt="2025-05-31T19:09:00.520" v="2129" actId="478"/>
          <ac:grpSpMkLst>
            <pc:docMk/>
            <pc:sldMk cId="2846115035" sldId="317"/>
            <ac:grpSpMk id="32" creationId="{5A696C65-6143-F5BD-3D38-C166DDCE5DF2}"/>
          </ac:grpSpMkLst>
        </pc:grpChg>
        <pc:grpChg chg="add del mod">
          <ac:chgData name="Jessica Henley" userId="63b1edf9-6e48-442a-9e00-04850b59a756" providerId="ADAL" clId="{D7E2F68E-A503-4B31-8CB2-DC1B28F456AF}" dt="2025-05-31T18:54:46.525" v="1008" actId="165"/>
          <ac:grpSpMkLst>
            <pc:docMk/>
            <pc:sldMk cId="2846115035" sldId="317"/>
            <ac:grpSpMk id="61" creationId="{ECFC5BA3-F64A-79E0-E022-60CE6D6312FE}"/>
          </ac:grpSpMkLst>
        </pc:grpChg>
        <pc:grpChg chg="add mod">
          <ac:chgData name="Jessica Henley" userId="63b1edf9-6e48-442a-9e00-04850b59a756" providerId="ADAL" clId="{D7E2F68E-A503-4B31-8CB2-DC1B28F456AF}" dt="2025-05-31T18:54:54.385" v="1009" actId="164"/>
          <ac:grpSpMkLst>
            <pc:docMk/>
            <pc:sldMk cId="2846115035" sldId="317"/>
            <ac:grpSpMk id="63" creationId="{9ECB13A4-02BD-8B86-E17E-AC34EBE64780}"/>
          </ac:grpSpMkLst>
        </pc:grpChg>
        <pc:picChg chg="mod">
          <ac:chgData name="Jessica Henley" userId="63b1edf9-6e48-442a-9e00-04850b59a756" providerId="ADAL" clId="{D7E2F68E-A503-4B31-8CB2-DC1B28F456AF}" dt="2025-05-31T18:54:46.525" v="1008" actId="165"/>
          <ac:picMkLst>
            <pc:docMk/>
            <pc:sldMk cId="2846115035" sldId="317"/>
            <ac:picMk id="4" creationId="{F3AC12C3-D774-FE5C-56DE-245CCA5822A3}"/>
          </ac:picMkLst>
        </pc:picChg>
        <pc:picChg chg="mod">
          <ac:chgData name="Jessica Henley" userId="63b1edf9-6e48-442a-9e00-04850b59a756" providerId="ADAL" clId="{D7E2F68E-A503-4B31-8CB2-DC1B28F456AF}" dt="2025-05-31T18:31:58.061" v="872"/>
          <ac:picMkLst>
            <pc:docMk/>
            <pc:sldMk cId="2846115035" sldId="317"/>
            <ac:picMk id="17" creationId="{57E5C5A2-29E1-B457-72AA-A2EEF3732DA0}"/>
          </ac:picMkLst>
        </pc:picChg>
        <pc:cxnChg chg="mod topLvl">
          <ac:chgData name="Jessica Henley" userId="63b1edf9-6e48-442a-9e00-04850b59a756" providerId="ADAL" clId="{D7E2F68E-A503-4B31-8CB2-DC1B28F456AF}" dt="2025-05-31T18:54:54.385" v="1009" actId="164"/>
          <ac:cxnSpMkLst>
            <pc:docMk/>
            <pc:sldMk cId="2846115035" sldId="317"/>
            <ac:cxnSpMk id="5" creationId="{012BABE6-AFDC-C014-53A3-59222BEB39F8}"/>
          </ac:cxnSpMkLst>
        </pc:cxnChg>
        <pc:cxnChg chg="mod">
          <ac:chgData name="Jessica Henley" userId="63b1edf9-6e48-442a-9e00-04850b59a756" providerId="ADAL" clId="{D7E2F68E-A503-4B31-8CB2-DC1B28F456AF}" dt="2025-05-31T18:31:58.061" v="872"/>
          <ac:cxnSpMkLst>
            <pc:docMk/>
            <pc:sldMk cId="2846115035" sldId="317"/>
            <ac:cxnSpMk id="14" creationId="{77936E82-9B1E-39D9-D537-32D3AA201CDB}"/>
          </ac:cxnSpMkLst>
        </pc:cxnChg>
      </pc:sldChg>
      <pc:sldChg chg="del">
        <pc:chgData name="Jessica Henley" userId="63b1edf9-6e48-442a-9e00-04850b59a756" providerId="ADAL" clId="{D7E2F68E-A503-4B31-8CB2-DC1B28F456AF}" dt="2025-06-01T12:00:04.384" v="4365" actId="2696"/>
        <pc:sldMkLst>
          <pc:docMk/>
          <pc:sldMk cId="456551890" sldId="318"/>
        </pc:sldMkLst>
      </pc:sldChg>
      <pc:sldChg chg="del ord">
        <pc:chgData name="Jessica Henley" userId="63b1edf9-6e48-442a-9e00-04850b59a756" providerId="ADAL" clId="{D7E2F68E-A503-4B31-8CB2-DC1B28F456AF}" dt="2025-05-31T19:34:24.355" v="2416" actId="47"/>
        <pc:sldMkLst>
          <pc:docMk/>
          <pc:sldMk cId="2927587017" sldId="319"/>
        </pc:sldMkLst>
      </pc:sldChg>
      <pc:sldChg chg="del">
        <pc:chgData name="Jessica Henley" userId="63b1edf9-6e48-442a-9e00-04850b59a756" providerId="ADAL" clId="{D7E2F68E-A503-4B31-8CB2-DC1B28F456AF}" dt="2025-06-01T11:59:08.164" v="4364" actId="2696"/>
        <pc:sldMkLst>
          <pc:docMk/>
          <pc:sldMk cId="2173920294" sldId="320"/>
        </pc:sldMkLst>
      </pc:sldChg>
      <pc:sldChg chg="del">
        <pc:chgData name="Jessica Henley" userId="63b1edf9-6e48-442a-9e00-04850b59a756" providerId="ADAL" clId="{D7E2F68E-A503-4B31-8CB2-DC1B28F456AF}" dt="2025-06-01T11:59:00.684" v="4363" actId="2696"/>
        <pc:sldMkLst>
          <pc:docMk/>
          <pc:sldMk cId="1260736734" sldId="321"/>
        </pc:sldMkLst>
      </pc:sldChg>
      <pc:sldChg chg="addSp delSp modSp del mod ord modShow">
        <pc:chgData name="Jessica Henley" userId="63b1edf9-6e48-442a-9e00-04850b59a756" providerId="ADAL" clId="{D7E2F68E-A503-4B31-8CB2-DC1B28F456AF}" dt="2025-06-01T11:28:20.733" v="3937" actId="47"/>
        <pc:sldMkLst>
          <pc:docMk/>
          <pc:sldMk cId="3328119580" sldId="322"/>
        </pc:sldMkLst>
        <pc:spChg chg="mod">
          <ac:chgData name="Jessica Henley" userId="63b1edf9-6e48-442a-9e00-04850b59a756" providerId="ADAL" clId="{D7E2F68E-A503-4B31-8CB2-DC1B28F456AF}" dt="2025-05-31T18:46:28.420" v="964" actId="20577"/>
          <ac:spMkLst>
            <pc:docMk/>
            <pc:sldMk cId="3328119580" sldId="322"/>
            <ac:spMk id="8" creationId="{BCD40CAD-0971-4B49-769E-F39EC7FE299C}"/>
          </ac:spMkLst>
        </pc:spChg>
        <pc:spChg chg="mod">
          <ac:chgData name="Jessica Henley" userId="63b1edf9-6e48-442a-9e00-04850b59a756" providerId="ADAL" clId="{D7E2F68E-A503-4B31-8CB2-DC1B28F456AF}" dt="2025-06-01T11:26:33.134" v="3912"/>
          <ac:spMkLst>
            <pc:docMk/>
            <pc:sldMk cId="3328119580" sldId="322"/>
            <ac:spMk id="15" creationId="{F55C36E2-18FA-56AD-08CD-C9F6008CFF20}"/>
          </ac:spMkLst>
        </pc:spChg>
        <pc:spChg chg="mod">
          <ac:chgData name="Jessica Henley" userId="63b1edf9-6e48-442a-9e00-04850b59a756" providerId="ADAL" clId="{D7E2F68E-A503-4B31-8CB2-DC1B28F456AF}" dt="2025-06-01T11:26:33.134" v="3912"/>
          <ac:spMkLst>
            <pc:docMk/>
            <pc:sldMk cId="3328119580" sldId="322"/>
            <ac:spMk id="19" creationId="{2ECE2F64-BF46-4BDF-D6AF-AE272C0E7B50}"/>
          </ac:spMkLst>
        </pc:spChg>
        <pc:spChg chg="mod">
          <ac:chgData name="Jessica Henley" userId="63b1edf9-6e48-442a-9e00-04850b59a756" providerId="ADAL" clId="{D7E2F68E-A503-4B31-8CB2-DC1B28F456AF}" dt="2025-06-01T11:26:33.134" v="3912"/>
          <ac:spMkLst>
            <pc:docMk/>
            <pc:sldMk cId="3328119580" sldId="322"/>
            <ac:spMk id="20" creationId="{6B520C42-80EB-0B31-7965-6B59AC995D95}"/>
          </ac:spMkLst>
        </pc:spChg>
        <pc:spChg chg="mod">
          <ac:chgData name="Jessica Henley" userId="63b1edf9-6e48-442a-9e00-04850b59a756" providerId="ADAL" clId="{D7E2F68E-A503-4B31-8CB2-DC1B28F456AF}" dt="2025-06-01T11:26:33.134" v="3912"/>
          <ac:spMkLst>
            <pc:docMk/>
            <pc:sldMk cId="3328119580" sldId="322"/>
            <ac:spMk id="26" creationId="{1A9F7DED-0F59-08AC-EC45-460862FB098D}"/>
          </ac:spMkLst>
        </pc:spChg>
        <pc:spChg chg="mod">
          <ac:chgData name="Jessica Henley" userId="63b1edf9-6e48-442a-9e00-04850b59a756" providerId="ADAL" clId="{D7E2F68E-A503-4B31-8CB2-DC1B28F456AF}" dt="2025-06-01T11:26:33.134" v="3912"/>
          <ac:spMkLst>
            <pc:docMk/>
            <pc:sldMk cId="3328119580" sldId="322"/>
            <ac:spMk id="35" creationId="{1B8CB04F-D715-155D-AE59-340902941347}"/>
          </ac:spMkLst>
        </pc:spChg>
        <pc:spChg chg="mod">
          <ac:chgData name="Jessica Henley" userId="63b1edf9-6e48-442a-9e00-04850b59a756" providerId="ADAL" clId="{D7E2F68E-A503-4B31-8CB2-DC1B28F456AF}" dt="2025-06-01T11:26:33.134" v="3912"/>
          <ac:spMkLst>
            <pc:docMk/>
            <pc:sldMk cId="3328119580" sldId="322"/>
            <ac:spMk id="40" creationId="{34BC39B6-3D0C-662D-7363-D7C075A3C5B5}"/>
          </ac:spMkLst>
        </pc:spChg>
        <pc:spChg chg="mod">
          <ac:chgData name="Jessica Henley" userId="63b1edf9-6e48-442a-9e00-04850b59a756" providerId="ADAL" clId="{D7E2F68E-A503-4B31-8CB2-DC1B28F456AF}" dt="2025-06-01T11:26:33.134" v="3912"/>
          <ac:spMkLst>
            <pc:docMk/>
            <pc:sldMk cId="3328119580" sldId="322"/>
            <ac:spMk id="46" creationId="{0925E567-C931-D289-E101-A5D7B3CF898D}"/>
          </ac:spMkLst>
        </pc:spChg>
        <pc:spChg chg="mod">
          <ac:chgData name="Jessica Henley" userId="63b1edf9-6e48-442a-9e00-04850b59a756" providerId="ADAL" clId="{D7E2F68E-A503-4B31-8CB2-DC1B28F456AF}" dt="2025-06-01T11:26:33.134" v="3912"/>
          <ac:spMkLst>
            <pc:docMk/>
            <pc:sldMk cId="3328119580" sldId="322"/>
            <ac:spMk id="55" creationId="{A0A1241B-288E-38C1-2B41-B05FF98DD8AE}"/>
          </ac:spMkLst>
        </pc:spChg>
        <pc:spChg chg="add del mod">
          <ac:chgData name="Jessica Henley" userId="63b1edf9-6e48-442a-9e00-04850b59a756" providerId="ADAL" clId="{D7E2F68E-A503-4B31-8CB2-DC1B28F456AF}" dt="2025-06-01T11:26:34.077" v="3913" actId="21"/>
          <ac:spMkLst>
            <pc:docMk/>
            <pc:sldMk cId="3328119580" sldId="322"/>
            <ac:spMk id="56" creationId="{91D6F317-B5A6-38B6-10DE-D4B5B1710FEB}"/>
          </ac:spMkLst>
        </pc:spChg>
        <pc:spChg chg="del">
          <ac:chgData name="Jessica Henley" userId="63b1edf9-6e48-442a-9e00-04850b59a756" providerId="ADAL" clId="{D7E2F68E-A503-4B31-8CB2-DC1B28F456AF}" dt="2025-06-01T11:26:34.077" v="3913" actId="21"/>
          <ac:spMkLst>
            <pc:docMk/>
            <pc:sldMk cId="3328119580" sldId="322"/>
            <ac:spMk id="57" creationId="{AD67009A-0F57-6AD4-F672-30ED9A85BB1E}"/>
          </ac:spMkLst>
        </pc:spChg>
        <pc:spChg chg="del">
          <ac:chgData name="Jessica Henley" userId="63b1edf9-6e48-442a-9e00-04850b59a756" providerId="ADAL" clId="{D7E2F68E-A503-4B31-8CB2-DC1B28F456AF}" dt="2025-06-01T11:26:34.077" v="3913" actId="21"/>
          <ac:spMkLst>
            <pc:docMk/>
            <pc:sldMk cId="3328119580" sldId="322"/>
            <ac:spMk id="58" creationId="{16E2E076-5EB5-2B36-51F7-C98136EBD08E}"/>
          </ac:spMkLst>
        </pc:spChg>
        <pc:spChg chg="add del mod">
          <ac:chgData name="Jessica Henley" userId="63b1edf9-6e48-442a-9e00-04850b59a756" providerId="ADAL" clId="{D7E2F68E-A503-4B31-8CB2-DC1B28F456AF}" dt="2025-06-01T11:26:34.077" v="3913" actId="21"/>
          <ac:spMkLst>
            <pc:docMk/>
            <pc:sldMk cId="3328119580" sldId="322"/>
            <ac:spMk id="59" creationId="{640D5F97-1551-E3D8-1F3F-68003CB2174A}"/>
          </ac:spMkLst>
        </pc:spChg>
        <pc:grpChg chg="del">
          <ac:chgData name="Jessica Henley" userId="63b1edf9-6e48-442a-9e00-04850b59a756" providerId="ADAL" clId="{D7E2F68E-A503-4B31-8CB2-DC1B28F456AF}" dt="2025-06-01T11:26:34.077" v="3913" actId="21"/>
          <ac:grpSpMkLst>
            <pc:docMk/>
            <pc:sldMk cId="3328119580" sldId="322"/>
            <ac:grpSpMk id="10" creationId="{9B686D9D-1C70-F5D1-A8D9-915DD910207E}"/>
          </ac:grpSpMkLst>
        </pc:grpChg>
        <pc:grpChg chg="del">
          <ac:chgData name="Jessica Henley" userId="63b1edf9-6e48-442a-9e00-04850b59a756" providerId="ADAL" clId="{D7E2F68E-A503-4B31-8CB2-DC1B28F456AF}" dt="2025-06-01T11:26:34.077" v="3913" actId="21"/>
          <ac:grpSpMkLst>
            <pc:docMk/>
            <pc:sldMk cId="3328119580" sldId="322"/>
            <ac:grpSpMk id="18" creationId="{3920283E-4D69-D0C5-1641-52A7B98142AD}"/>
          </ac:grpSpMkLst>
        </pc:grpChg>
        <pc:grpChg chg="del">
          <ac:chgData name="Jessica Henley" userId="63b1edf9-6e48-442a-9e00-04850b59a756" providerId="ADAL" clId="{D7E2F68E-A503-4B31-8CB2-DC1B28F456AF}" dt="2025-06-01T11:26:34.077" v="3913" actId="21"/>
          <ac:grpSpMkLst>
            <pc:docMk/>
            <pc:sldMk cId="3328119580" sldId="322"/>
            <ac:grpSpMk id="38" creationId="{6EDCDE2E-20BE-37E1-0443-E9F13E3568C7}"/>
          </ac:grpSpMkLst>
        </pc:grpChg>
        <pc:grpChg chg="del">
          <ac:chgData name="Jessica Henley" userId="63b1edf9-6e48-442a-9e00-04850b59a756" providerId="ADAL" clId="{D7E2F68E-A503-4B31-8CB2-DC1B28F456AF}" dt="2025-06-01T11:26:34.077" v="3913" actId="21"/>
          <ac:grpSpMkLst>
            <pc:docMk/>
            <pc:sldMk cId="3328119580" sldId="322"/>
            <ac:grpSpMk id="48" creationId="{349C813A-405F-2016-9AD6-39336227D78C}"/>
          </ac:grpSpMkLst>
        </pc:grpChg>
        <pc:grpChg chg="del">
          <ac:chgData name="Jessica Henley" userId="63b1edf9-6e48-442a-9e00-04850b59a756" providerId="ADAL" clId="{D7E2F68E-A503-4B31-8CB2-DC1B28F456AF}" dt="2025-06-01T11:26:34.077" v="3913" actId="21"/>
          <ac:grpSpMkLst>
            <pc:docMk/>
            <pc:sldMk cId="3328119580" sldId="322"/>
            <ac:grpSpMk id="53" creationId="{CB0A54F3-E094-8EFD-D8E3-F50BE70E866C}"/>
          </ac:grpSpMkLst>
        </pc:grpChg>
        <pc:grpChg chg="del">
          <ac:chgData name="Jessica Henley" userId="63b1edf9-6e48-442a-9e00-04850b59a756" providerId="ADAL" clId="{D7E2F68E-A503-4B31-8CB2-DC1B28F456AF}" dt="2025-06-01T11:26:34.077" v="3913" actId="21"/>
          <ac:grpSpMkLst>
            <pc:docMk/>
            <pc:sldMk cId="3328119580" sldId="322"/>
            <ac:grpSpMk id="60" creationId="{DAAF6D20-15D8-3AEF-6E89-774E9FEB6C00}"/>
          </ac:grpSpMkLst>
        </pc:grpChg>
      </pc:sldChg>
      <pc:sldChg chg="addSp delSp modSp mod ord modAnim modShow modNotesTx">
        <pc:chgData name="Jessica Henley" userId="63b1edf9-6e48-442a-9e00-04850b59a756" providerId="ADAL" clId="{D7E2F68E-A503-4B31-8CB2-DC1B28F456AF}" dt="2025-06-01T14:39:36.781" v="5666" actId="20577"/>
        <pc:sldMkLst>
          <pc:docMk/>
          <pc:sldMk cId="3614099721" sldId="323"/>
        </pc:sldMkLst>
        <pc:spChg chg="mod topLvl">
          <ac:chgData name="Jessica Henley" userId="63b1edf9-6e48-442a-9e00-04850b59a756" providerId="ADAL" clId="{D7E2F68E-A503-4B31-8CB2-DC1B28F456AF}" dt="2025-06-01T11:40:26.246" v="4038" actId="1076"/>
          <ac:spMkLst>
            <pc:docMk/>
            <pc:sldMk cId="3614099721" sldId="323"/>
            <ac:spMk id="6" creationId="{55631E7B-685C-35B1-FCE4-C2A2ED866FFF}"/>
          </ac:spMkLst>
        </pc:spChg>
        <pc:spChg chg="del mod topLvl">
          <ac:chgData name="Jessica Henley" userId="63b1edf9-6e48-442a-9e00-04850b59a756" providerId="ADAL" clId="{D7E2F68E-A503-4B31-8CB2-DC1B28F456AF}" dt="2025-06-01T11:38:39.948" v="4011" actId="478"/>
          <ac:spMkLst>
            <pc:docMk/>
            <pc:sldMk cId="3614099721" sldId="323"/>
            <ac:spMk id="7" creationId="{7309A408-E372-D47C-C761-C3F845EAAA94}"/>
          </ac:spMkLst>
        </pc:spChg>
        <pc:spChg chg="del">
          <ac:chgData name="Jessica Henley" userId="63b1edf9-6e48-442a-9e00-04850b59a756" providerId="ADAL" clId="{D7E2F68E-A503-4B31-8CB2-DC1B28F456AF}" dt="2025-06-01T11:48:14.626" v="4133" actId="478"/>
          <ac:spMkLst>
            <pc:docMk/>
            <pc:sldMk cId="3614099721" sldId="323"/>
            <ac:spMk id="8" creationId="{65080853-0B67-18AB-674C-50C1F9B711A0}"/>
          </ac:spMkLst>
        </pc:spChg>
        <pc:spChg chg="add mod">
          <ac:chgData name="Jessica Henley" userId="63b1edf9-6e48-442a-9e00-04850b59a756" providerId="ADAL" clId="{D7E2F68E-A503-4B31-8CB2-DC1B28F456AF}" dt="2025-06-01T11:40:52.009" v="4045" actId="1076"/>
          <ac:spMkLst>
            <pc:docMk/>
            <pc:sldMk cId="3614099721" sldId="323"/>
            <ac:spMk id="10" creationId="{A1645999-CC4C-A677-0E49-EE05EF4D9A33}"/>
          </ac:spMkLst>
        </pc:spChg>
        <pc:spChg chg="add del mod topLvl">
          <ac:chgData name="Jessica Henley" userId="63b1edf9-6e48-442a-9e00-04850b59a756" providerId="ADAL" clId="{D7E2F68E-A503-4B31-8CB2-DC1B28F456AF}" dt="2025-06-01T11:38:49.075" v="4013" actId="1076"/>
          <ac:spMkLst>
            <pc:docMk/>
            <pc:sldMk cId="3614099721" sldId="323"/>
            <ac:spMk id="14" creationId="{40FA65DF-39F9-661A-ED65-8BF159A627D8}"/>
          </ac:spMkLst>
        </pc:spChg>
        <pc:spChg chg="add del mod topLvl">
          <ac:chgData name="Jessica Henley" userId="63b1edf9-6e48-442a-9e00-04850b59a756" providerId="ADAL" clId="{D7E2F68E-A503-4B31-8CB2-DC1B28F456AF}" dt="2025-06-01T11:38:24.696" v="4009" actId="478"/>
          <ac:spMkLst>
            <pc:docMk/>
            <pc:sldMk cId="3614099721" sldId="323"/>
            <ac:spMk id="22" creationId="{261C7530-5AEC-CEF0-9A5C-35D1C1DA026D}"/>
          </ac:spMkLst>
        </pc:spChg>
        <pc:spChg chg="mod topLvl">
          <ac:chgData name="Jessica Henley" userId="63b1edf9-6e48-442a-9e00-04850b59a756" providerId="ADAL" clId="{D7E2F68E-A503-4B31-8CB2-DC1B28F456AF}" dt="2025-06-01T11:39:01.896" v="4016" actId="1076"/>
          <ac:spMkLst>
            <pc:docMk/>
            <pc:sldMk cId="3614099721" sldId="323"/>
            <ac:spMk id="24" creationId="{9373BFB6-EA3D-B7EF-99D4-A4FA958A6AD5}"/>
          </ac:spMkLst>
        </pc:spChg>
        <pc:spChg chg="mod topLvl">
          <ac:chgData name="Jessica Henley" userId="63b1edf9-6e48-442a-9e00-04850b59a756" providerId="ADAL" clId="{D7E2F68E-A503-4B31-8CB2-DC1B28F456AF}" dt="2025-06-01T11:39:10.816" v="4017" actId="1076"/>
          <ac:spMkLst>
            <pc:docMk/>
            <pc:sldMk cId="3614099721" sldId="323"/>
            <ac:spMk id="25" creationId="{7F92E211-C4FA-6792-EC75-0C909BBE8A2A}"/>
          </ac:spMkLst>
        </pc:spChg>
        <pc:spChg chg="mod topLvl">
          <ac:chgData name="Jessica Henley" userId="63b1edf9-6e48-442a-9e00-04850b59a756" providerId="ADAL" clId="{D7E2F68E-A503-4B31-8CB2-DC1B28F456AF}" dt="2025-06-01T11:42:33.168" v="4060" actId="165"/>
          <ac:spMkLst>
            <pc:docMk/>
            <pc:sldMk cId="3614099721" sldId="323"/>
            <ac:spMk id="27" creationId="{00B46956-BCF5-43F7-39FB-463A418E6A39}"/>
          </ac:spMkLst>
        </pc:spChg>
        <pc:spChg chg="mod topLvl">
          <ac:chgData name="Jessica Henley" userId="63b1edf9-6e48-442a-9e00-04850b59a756" providerId="ADAL" clId="{D7E2F68E-A503-4B31-8CB2-DC1B28F456AF}" dt="2025-06-01T11:42:33.168" v="4060" actId="165"/>
          <ac:spMkLst>
            <pc:docMk/>
            <pc:sldMk cId="3614099721" sldId="323"/>
            <ac:spMk id="28" creationId="{F1C779B4-DF0F-38B2-DC59-E5F0F9D5A332}"/>
          </ac:spMkLst>
        </pc:spChg>
        <pc:spChg chg="mod topLvl">
          <ac:chgData name="Jessica Henley" userId="63b1edf9-6e48-442a-9e00-04850b59a756" providerId="ADAL" clId="{D7E2F68E-A503-4B31-8CB2-DC1B28F456AF}" dt="2025-06-01T11:42:10.826" v="4056" actId="165"/>
          <ac:spMkLst>
            <pc:docMk/>
            <pc:sldMk cId="3614099721" sldId="323"/>
            <ac:spMk id="30" creationId="{9A40123F-297C-19F2-DF7C-D62F0B3556A8}"/>
          </ac:spMkLst>
        </pc:spChg>
        <pc:spChg chg="mod topLvl">
          <ac:chgData name="Jessica Henley" userId="63b1edf9-6e48-442a-9e00-04850b59a756" providerId="ADAL" clId="{D7E2F68E-A503-4B31-8CB2-DC1B28F456AF}" dt="2025-06-01T14:39:23.868" v="5664"/>
          <ac:spMkLst>
            <pc:docMk/>
            <pc:sldMk cId="3614099721" sldId="323"/>
            <ac:spMk id="31" creationId="{46FAD6FE-BB85-0F4C-4E43-F04495A046B1}"/>
          </ac:spMkLst>
        </pc:spChg>
        <pc:spChg chg="mod topLvl">
          <ac:chgData name="Jessica Henley" userId="63b1edf9-6e48-442a-9e00-04850b59a756" providerId="ADAL" clId="{D7E2F68E-A503-4B31-8CB2-DC1B28F456AF}" dt="2025-06-01T11:39:51.869" v="4030" actId="1076"/>
          <ac:spMkLst>
            <pc:docMk/>
            <pc:sldMk cId="3614099721" sldId="323"/>
            <ac:spMk id="33" creationId="{508E9D94-4B83-2771-A384-FAB4B7DB8D58}"/>
          </ac:spMkLst>
        </pc:spChg>
        <pc:spChg chg="mod topLvl">
          <ac:chgData name="Jessica Henley" userId="63b1edf9-6e48-442a-9e00-04850b59a756" providerId="ADAL" clId="{D7E2F68E-A503-4B31-8CB2-DC1B28F456AF}" dt="2025-06-01T11:39:57.946" v="4031" actId="1076"/>
          <ac:spMkLst>
            <pc:docMk/>
            <pc:sldMk cId="3614099721" sldId="323"/>
            <ac:spMk id="34" creationId="{D8B8D100-51C4-3258-4AEB-F4985F4A913D}"/>
          </ac:spMkLst>
        </pc:spChg>
        <pc:spChg chg="mod topLvl">
          <ac:chgData name="Jessica Henley" userId="63b1edf9-6e48-442a-9e00-04850b59a756" providerId="ADAL" clId="{D7E2F68E-A503-4B31-8CB2-DC1B28F456AF}" dt="2025-06-01T11:40:33.596" v="4041" actId="1076"/>
          <ac:spMkLst>
            <pc:docMk/>
            <pc:sldMk cId="3614099721" sldId="323"/>
            <ac:spMk id="36" creationId="{A6FD9A39-8BEF-3F6B-76C2-A3B90DBD7349}"/>
          </ac:spMkLst>
        </pc:spChg>
        <pc:spChg chg="del topLvl">
          <ac:chgData name="Jessica Henley" userId="63b1edf9-6e48-442a-9e00-04850b59a756" providerId="ADAL" clId="{D7E2F68E-A503-4B31-8CB2-DC1B28F456AF}" dt="2025-06-01T11:38:44.886" v="4012" actId="478"/>
          <ac:spMkLst>
            <pc:docMk/>
            <pc:sldMk cId="3614099721" sldId="323"/>
            <ac:spMk id="37" creationId="{197EEC9B-9873-29B6-8F53-13111304340F}"/>
          </ac:spMkLst>
        </pc:spChg>
        <pc:spChg chg="mod">
          <ac:chgData name="Jessica Henley" userId="63b1edf9-6e48-442a-9e00-04850b59a756" providerId="ADAL" clId="{D7E2F68E-A503-4B31-8CB2-DC1B28F456AF}" dt="2025-06-01T11:47:47.625" v="4129"/>
          <ac:spMkLst>
            <pc:docMk/>
            <pc:sldMk cId="3614099721" sldId="323"/>
            <ac:spMk id="38" creationId="{A0766869-2106-A191-C52A-3CD91AFF0C6C}"/>
          </ac:spMkLst>
        </pc:spChg>
        <pc:spChg chg="add mod">
          <ac:chgData name="Jessica Henley" userId="63b1edf9-6e48-442a-9e00-04850b59a756" providerId="ADAL" clId="{D7E2F68E-A503-4B31-8CB2-DC1B28F456AF}" dt="2025-06-01T11:48:23.455" v="4135" actId="1076"/>
          <ac:spMkLst>
            <pc:docMk/>
            <pc:sldMk cId="3614099721" sldId="323"/>
            <ac:spMk id="40" creationId="{3C878066-2B57-64AE-1765-5188DE6771F0}"/>
          </ac:spMkLst>
        </pc:spChg>
        <pc:spChg chg="mod">
          <ac:chgData name="Jessica Henley" userId="63b1edf9-6e48-442a-9e00-04850b59a756" providerId="ADAL" clId="{D7E2F68E-A503-4B31-8CB2-DC1B28F456AF}" dt="2025-06-01T11:40:24.406" v="4037" actId="1076"/>
          <ac:spMkLst>
            <pc:docMk/>
            <pc:sldMk cId="3614099721" sldId="323"/>
            <ac:spMk id="43" creationId="{34921F0F-5144-F043-A954-5C9A3673BC09}"/>
          </ac:spMkLst>
        </pc:spChg>
        <pc:spChg chg="mod">
          <ac:chgData name="Jessica Henley" userId="63b1edf9-6e48-442a-9e00-04850b59a756" providerId="ADAL" clId="{D7E2F68E-A503-4B31-8CB2-DC1B28F456AF}" dt="2025-06-01T11:40:28.050" v="4039" actId="1076"/>
          <ac:spMkLst>
            <pc:docMk/>
            <pc:sldMk cId="3614099721" sldId="323"/>
            <ac:spMk id="45" creationId="{CD7A2CEE-61C9-2FB2-62A2-FC33B31E70EC}"/>
          </ac:spMkLst>
        </pc:spChg>
        <pc:spChg chg="mod">
          <ac:chgData name="Jessica Henley" userId="63b1edf9-6e48-442a-9e00-04850b59a756" providerId="ADAL" clId="{D7E2F68E-A503-4B31-8CB2-DC1B28F456AF}" dt="2025-06-01T11:40:40.806" v="4043" actId="1076"/>
          <ac:spMkLst>
            <pc:docMk/>
            <pc:sldMk cId="3614099721" sldId="323"/>
            <ac:spMk id="47" creationId="{28DA97C9-E5FF-DFAF-8CE7-4C6162FE5A13}"/>
          </ac:spMkLst>
        </pc:spChg>
        <pc:spChg chg="mod">
          <ac:chgData name="Jessica Henley" userId="63b1edf9-6e48-442a-9e00-04850b59a756" providerId="ADAL" clId="{D7E2F68E-A503-4B31-8CB2-DC1B28F456AF}" dt="2025-06-01T11:40:30.211" v="4040" actId="1076"/>
          <ac:spMkLst>
            <pc:docMk/>
            <pc:sldMk cId="3614099721" sldId="323"/>
            <ac:spMk id="49" creationId="{D5B50DD9-94EB-B7DE-0C4F-427DFDC09D9C}"/>
          </ac:spMkLst>
        </pc:spChg>
        <pc:grpChg chg="add del mod">
          <ac:chgData name="Jessica Henley" userId="63b1edf9-6e48-442a-9e00-04850b59a756" providerId="ADAL" clId="{D7E2F68E-A503-4B31-8CB2-DC1B28F456AF}" dt="2025-06-01T11:42:10.826" v="4056" actId="165"/>
          <ac:grpSpMkLst>
            <pc:docMk/>
            <pc:sldMk cId="3614099721" sldId="323"/>
            <ac:grpSpMk id="2" creationId="{19AC7466-73A4-02DB-483E-60450BF0905E}"/>
          </ac:grpSpMkLst>
        </pc:grpChg>
        <pc:grpChg chg="del">
          <ac:chgData name="Jessica Henley" userId="63b1edf9-6e48-442a-9e00-04850b59a756" providerId="ADAL" clId="{D7E2F68E-A503-4B31-8CB2-DC1B28F456AF}" dt="2025-06-01T11:47:34.284" v="4126" actId="478"/>
          <ac:grpSpMkLst>
            <pc:docMk/>
            <pc:sldMk cId="3614099721" sldId="323"/>
            <ac:grpSpMk id="3" creationId="{136A1500-D760-A706-6383-4D3D97AB8A25}"/>
          </ac:grpSpMkLst>
        </pc:grpChg>
        <pc:grpChg chg="del">
          <ac:chgData name="Jessica Henley" userId="63b1edf9-6e48-442a-9e00-04850b59a756" providerId="ADAL" clId="{D7E2F68E-A503-4B31-8CB2-DC1B28F456AF}" dt="2025-06-01T11:38:35.528" v="4010" actId="165"/>
          <ac:grpSpMkLst>
            <pc:docMk/>
            <pc:sldMk cId="3614099721" sldId="323"/>
            <ac:grpSpMk id="11" creationId="{913D8BC3-F89A-14F6-1044-4A1030DD91C9}"/>
          </ac:grpSpMkLst>
        </pc:grpChg>
        <pc:grpChg chg="del">
          <ac:chgData name="Jessica Henley" userId="63b1edf9-6e48-442a-9e00-04850b59a756" providerId="ADAL" clId="{D7E2F68E-A503-4B31-8CB2-DC1B28F456AF}" dt="2025-06-01T11:38:11.158" v="4005" actId="165"/>
          <ac:grpSpMkLst>
            <pc:docMk/>
            <pc:sldMk cId="3614099721" sldId="323"/>
            <ac:grpSpMk id="12" creationId="{E1FA6B3B-C6F9-15EC-F096-8C6D60088C05}"/>
          </ac:grpSpMkLst>
        </pc:grpChg>
        <pc:grpChg chg="add mod">
          <ac:chgData name="Jessica Henley" userId="63b1edf9-6e48-442a-9e00-04850b59a756" providerId="ADAL" clId="{D7E2F68E-A503-4B31-8CB2-DC1B28F456AF}" dt="2025-06-01T11:49:51.725" v="4147" actId="164"/>
          <ac:grpSpMkLst>
            <pc:docMk/>
            <pc:sldMk cId="3614099721" sldId="323"/>
            <ac:grpSpMk id="13" creationId="{AB8F24D9-3C57-5C84-3435-4D47CFBF4C51}"/>
          </ac:grpSpMkLst>
        </pc:grpChg>
        <pc:grpChg chg="del">
          <ac:chgData name="Jessica Henley" userId="63b1edf9-6e48-442a-9e00-04850b59a756" providerId="ADAL" clId="{D7E2F68E-A503-4B31-8CB2-DC1B28F456AF}" dt="2025-06-01T11:31:31.589" v="3961" actId="165"/>
          <ac:grpSpMkLst>
            <pc:docMk/>
            <pc:sldMk cId="3614099721" sldId="323"/>
            <ac:grpSpMk id="23" creationId="{0BBCBBBD-6DD6-95CF-2A1D-F4FEEC24567E}"/>
          </ac:grpSpMkLst>
        </pc:grpChg>
        <pc:grpChg chg="del">
          <ac:chgData name="Jessica Henley" userId="63b1edf9-6e48-442a-9e00-04850b59a756" providerId="ADAL" clId="{D7E2F68E-A503-4B31-8CB2-DC1B28F456AF}" dt="2025-06-01T11:31:54.714" v="3964" actId="165"/>
          <ac:grpSpMkLst>
            <pc:docMk/>
            <pc:sldMk cId="3614099721" sldId="323"/>
            <ac:grpSpMk id="29" creationId="{E0964E41-BDC1-05E1-2739-7A72B052A60D}"/>
          </ac:grpSpMkLst>
        </pc:grpChg>
        <pc:grpChg chg="del mod">
          <ac:chgData name="Jessica Henley" userId="63b1edf9-6e48-442a-9e00-04850b59a756" providerId="ADAL" clId="{D7E2F68E-A503-4B31-8CB2-DC1B28F456AF}" dt="2025-06-01T11:36:39.066" v="3988" actId="165"/>
          <ac:grpSpMkLst>
            <pc:docMk/>
            <pc:sldMk cId="3614099721" sldId="323"/>
            <ac:grpSpMk id="32" creationId="{BFDB5726-036C-90F9-841D-3BD51EB98843}"/>
          </ac:grpSpMkLst>
        </pc:grpChg>
        <pc:grpChg chg="add mod">
          <ac:chgData name="Jessica Henley" userId="63b1edf9-6e48-442a-9e00-04850b59a756" providerId="ADAL" clId="{D7E2F68E-A503-4B31-8CB2-DC1B28F456AF}" dt="2025-06-01T11:49:51.725" v="4147" actId="164"/>
          <ac:grpSpMkLst>
            <pc:docMk/>
            <pc:sldMk cId="3614099721" sldId="323"/>
            <ac:grpSpMk id="35" creationId="{DD93BDFF-77ED-6D15-A633-CFBE52D191A2}"/>
          </ac:grpSpMkLst>
        </pc:grpChg>
        <pc:grpChg chg="del mod">
          <ac:chgData name="Jessica Henley" userId="63b1edf9-6e48-442a-9e00-04850b59a756" providerId="ADAL" clId="{D7E2F68E-A503-4B31-8CB2-DC1B28F456AF}" dt="2025-06-01T11:38:44.886" v="4012" actId="478"/>
          <ac:grpSpMkLst>
            <pc:docMk/>
            <pc:sldMk cId="3614099721" sldId="323"/>
            <ac:grpSpMk id="42" creationId="{5AC7DF03-9564-EED8-208F-CD78CFF8A61C}"/>
          </ac:grpSpMkLst>
        </pc:grpChg>
        <pc:grpChg chg="del mod">
          <ac:chgData name="Jessica Henley" userId="63b1edf9-6e48-442a-9e00-04850b59a756" providerId="ADAL" clId="{D7E2F68E-A503-4B31-8CB2-DC1B28F456AF}" dt="2025-06-01T11:42:33.168" v="4060" actId="165"/>
          <ac:grpSpMkLst>
            <pc:docMk/>
            <pc:sldMk cId="3614099721" sldId="323"/>
            <ac:grpSpMk id="51" creationId="{14559443-F713-A552-76FB-D04C428A9E7F}"/>
          </ac:grpSpMkLst>
        </pc:grpChg>
        <pc:picChg chg="mod">
          <ac:chgData name="Jessica Henley" userId="63b1edf9-6e48-442a-9e00-04850b59a756" providerId="ADAL" clId="{D7E2F68E-A503-4B31-8CB2-DC1B28F456AF}" dt="2025-06-01T11:47:47.625" v="4129"/>
          <ac:picMkLst>
            <pc:docMk/>
            <pc:sldMk cId="3614099721" sldId="323"/>
            <ac:picMk id="39" creationId="{8A59D800-57C6-ACBF-D9E5-3F7EDD5E53D7}"/>
          </ac:picMkLst>
        </pc:picChg>
        <pc:cxnChg chg="mod">
          <ac:chgData name="Jessica Henley" userId="63b1edf9-6e48-442a-9e00-04850b59a756" providerId="ADAL" clId="{D7E2F68E-A503-4B31-8CB2-DC1B28F456AF}" dt="2025-06-01T11:49:51.725" v="4147" actId="164"/>
          <ac:cxnSpMkLst>
            <pc:docMk/>
            <pc:sldMk cId="3614099721" sldId="323"/>
            <ac:cxnSpMk id="9" creationId="{921818C2-57CA-291F-4D9A-5AC437B66B80}"/>
          </ac:cxnSpMkLst>
        </pc:cxnChg>
      </pc:sldChg>
      <pc:sldChg chg="addSp delSp modSp del mod delAnim modAnim">
        <pc:chgData name="Jessica Henley" userId="63b1edf9-6e48-442a-9e00-04850b59a756" providerId="ADAL" clId="{D7E2F68E-A503-4B31-8CB2-DC1B28F456AF}" dt="2025-06-01T09:34:23.956" v="3013" actId="2696"/>
        <pc:sldMkLst>
          <pc:docMk/>
          <pc:sldMk cId="3076513776" sldId="324"/>
        </pc:sldMkLst>
        <pc:spChg chg="mod">
          <ac:chgData name="Jessica Henley" userId="63b1edf9-6e48-442a-9e00-04850b59a756" providerId="ADAL" clId="{D7E2F68E-A503-4B31-8CB2-DC1B28F456AF}" dt="2025-05-31T19:42:42.208" v="2534" actId="165"/>
          <ac:spMkLst>
            <pc:docMk/>
            <pc:sldMk cId="3076513776" sldId="324"/>
            <ac:spMk id="3" creationId="{F306D7DF-BE26-F850-7FE8-0848937EB0BA}"/>
          </ac:spMkLst>
        </pc:spChg>
        <pc:spChg chg="mod">
          <ac:chgData name="Jessica Henley" userId="63b1edf9-6e48-442a-9e00-04850b59a756" providerId="ADAL" clId="{D7E2F68E-A503-4B31-8CB2-DC1B28F456AF}" dt="2025-05-31T19:42:42.208" v="2534" actId="165"/>
          <ac:spMkLst>
            <pc:docMk/>
            <pc:sldMk cId="3076513776" sldId="324"/>
            <ac:spMk id="8" creationId="{47697709-96C0-3349-C529-245181F8B9B4}"/>
          </ac:spMkLst>
        </pc:spChg>
        <pc:spChg chg="mod">
          <ac:chgData name="Jessica Henley" userId="63b1edf9-6e48-442a-9e00-04850b59a756" providerId="ADAL" clId="{D7E2F68E-A503-4B31-8CB2-DC1B28F456AF}" dt="2025-05-31T19:46:11.591" v="2610"/>
          <ac:spMkLst>
            <pc:docMk/>
            <pc:sldMk cId="3076513776" sldId="324"/>
            <ac:spMk id="9" creationId="{CE934F52-8F7B-77BF-40DC-5DE727DBDA40}"/>
          </ac:spMkLst>
        </pc:spChg>
        <pc:spChg chg="mod">
          <ac:chgData name="Jessica Henley" userId="63b1edf9-6e48-442a-9e00-04850b59a756" providerId="ADAL" clId="{D7E2F68E-A503-4B31-8CB2-DC1B28F456AF}" dt="2025-05-31T19:46:11.591" v="2610"/>
          <ac:spMkLst>
            <pc:docMk/>
            <pc:sldMk cId="3076513776" sldId="324"/>
            <ac:spMk id="11" creationId="{B4DED2F0-B9B2-7303-9320-32A5DE08E5D1}"/>
          </ac:spMkLst>
        </pc:spChg>
        <pc:spChg chg="mod">
          <ac:chgData name="Jessica Henley" userId="63b1edf9-6e48-442a-9e00-04850b59a756" providerId="ADAL" clId="{D7E2F68E-A503-4B31-8CB2-DC1B28F456AF}" dt="2025-05-31T19:42:42.208" v="2534" actId="165"/>
          <ac:spMkLst>
            <pc:docMk/>
            <pc:sldMk cId="3076513776" sldId="324"/>
            <ac:spMk id="12" creationId="{211B83CA-A81A-8837-5F6E-B1E4318AC8DE}"/>
          </ac:spMkLst>
        </pc:spChg>
        <pc:spChg chg="mod">
          <ac:chgData name="Jessica Henley" userId="63b1edf9-6e48-442a-9e00-04850b59a756" providerId="ADAL" clId="{D7E2F68E-A503-4B31-8CB2-DC1B28F456AF}" dt="2025-05-31T19:42:54.170" v="2540" actId="20577"/>
          <ac:spMkLst>
            <pc:docMk/>
            <pc:sldMk cId="3076513776" sldId="324"/>
            <ac:spMk id="13" creationId="{66B54397-25C7-2E5C-5761-361512F135A3}"/>
          </ac:spMkLst>
        </pc:spChg>
        <pc:spChg chg="mod">
          <ac:chgData name="Jessica Henley" userId="63b1edf9-6e48-442a-9e00-04850b59a756" providerId="ADAL" clId="{D7E2F68E-A503-4B31-8CB2-DC1B28F456AF}" dt="2025-05-31T19:42:42.208" v="2534" actId="165"/>
          <ac:spMkLst>
            <pc:docMk/>
            <pc:sldMk cId="3076513776" sldId="324"/>
            <ac:spMk id="14" creationId="{094EDB4F-863B-83F4-DCF1-E7C1CCB97BF5}"/>
          </ac:spMkLst>
        </pc:spChg>
        <pc:spChg chg="mod">
          <ac:chgData name="Jessica Henley" userId="63b1edf9-6e48-442a-9e00-04850b59a756" providerId="ADAL" clId="{D7E2F68E-A503-4B31-8CB2-DC1B28F456AF}" dt="2025-05-31T19:42:42.208" v="2534" actId="165"/>
          <ac:spMkLst>
            <pc:docMk/>
            <pc:sldMk cId="3076513776" sldId="324"/>
            <ac:spMk id="17" creationId="{1A6FE342-7C0A-D607-5D96-8A5CB286B3E4}"/>
          </ac:spMkLst>
        </pc:spChg>
        <pc:spChg chg="mod">
          <ac:chgData name="Jessica Henley" userId="63b1edf9-6e48-442a-9e00-04850b59a756" providerId="ADAL" clId="{D7E2F68E-A503-4B31-8CB2-DC1B28F456AF}" dt="2025-05-31T19:46:11.591" v="2610"/>
          <ac:spMkLst>
            <pc:docMk/>
            <pc:sldMk cId="3076513776" sldId="324"/>
            <ac:spMk id="18" creationId="{73A454C0-D45B-55E4-4255-F1D482C508DA}"/>
          </ac:spMkLst>
        </pc:spChg>
        <pc:spChg chg="mod">
          <ac:chgData name="Jessica Henley" userId="63b1edf9-6e48-442a-9e00-04850b59a756" providerId="ADAL" clId="{D7E2F68E-A503-4B31-8CB2-DC1B28F456AF}" dt="2025-05-31T19:46:11.591" v="2610"/>
          <ac:spMkLst>
            <pc:docMk/>
            <pc:sldMk cId="3076513776" sldId="324"/>
            <ac:spMk id="19" creationId="{59588522-2E71-7507-9D5C-509ABC4B4249}"/>
          </ac:spMkLst>
        </pc:spChg>
        <pc:spChg chg="mod topLvl">
          <ac:chgData name="Jessica Henley" userId="63b1edf9-6e48-442a-9e00-04850b59a756" providerId="ADAL" clId="{D7E2F68E-A503-4B31-8CB2-DC1B28F456AF}" dt="2025-05-31T19:43:42.466" v="2573" actId="403"/>
          <ac:spMkLst>
            <pc:docMk/>
            <pc:sldMk cId="3076513776" sldId="324"/>
            <ac:spMk id="22" creationId="{31BF3163-D095-54A4-6D24-61B963C49870}"/>
          </ac:spMkLst>
        </pc:spChg>
        <pc:spChg chg="mod topLvl">
          <ac:chgData name="Jessica Henley" userId="63b1edf9-6e48-442a-9e00-04850b59a756" providerId="ADAL" clId="{D7E2F68E-A503-4B31-8CB2-DC1B28F456AF}" dt="2025-05-31T19:43:45.528" v="2575" actId="403"/>
          <ac:spMkLst>
            <pc:docMk/>
            <pc:sldMk cId="3076513776" sldId="324"/>
            <ac:spMk id="23" creationId="{FA512C1C-5D21-6B07-AE21-2988354A9686}"/>
          </ac:spMkLst>
        </pc:spChg>
        <pc:spChg chg="mod">
          <ac:chgData name="Jessica Henley" userId="63b1edf9-6e48-442a-9e00-04850b59a756" providerId="ADAL" clId="{D7E2F68E-A503-4B31-8CB2-DC1B28F456AF}" dt="2025-05-31T19:43:50.896" v="2577" actId="403"/>
          <ac:spMkLst>
            <pc:docMk/>
            <pc:sldMk cId="3076513776" sldId="324"/>
            <ac:spMk id="24" creationId="{40620C36-26E7-35AD-6EA3-9A12218B2324}"/>
          </ac:spMkLst>
        </pc:spChg>
        <pc:spChg chg="mod topLvl">
          <ac:chgData name="Jessica Henley" userId="63b1edf9-6e48-442a-9e00-04850b59a756" providerId="ADAL" clId="{D7E2F68E-A503-4B31-8CB2-DC1B28F456AF}" dt="2025-05-31T19:42:57.441" v="2542" actId="20577"/>
          <ac:spMkLst>
            <pc:docMk/>
            <pc:sldMk cId="3076513776" sldId="324"/>
            <ac:spMk id="25" creationId="{793731CF-559A-C755-6D56-F56560925240}"/>
          </ac:spMkLst>
        </pc:spChg>
        <pc:spChg chg="mod topLvl">
          <ac:chgData name="Jessica Henley" userId="63b1edf9-6e48-442a-9e00-04850b59a756" providerId="ADAL" clId="{D7E2F68E-A503-4B31-8CB2-DC1B28F456AF}" dt="2025-05-31T19:42:42.208" v="2534" actId="165"/>
          <ac:spMkLst>
            <pc:docMk/>
            <pc:sldMk cId="3076513776" sldId="324"/>
            <ac:spMk id="26" creationId="{DA1628B1-9F73-13A4-0AD3-DB0C0A31E2DE}"/>
          </ac:spMkLst>
        </pc:spChg>
        <pc:spChg chg="mod">
          <ac:chgData name="Jessica Henley" userId="63b1edf9-6e48-442a-9e00-04850b59a756" providerId="ADAL" clId="{D7E2F68E-A503-4B31-8CB2-DC1B28F456AF}" dt="2025-05-31T19:45:45.323" v="2608" actId="14100"/>
          <ac:spMkLst>
            <pc:docMk/>
            <pc:sldMk cId="3076513776" sldId="324"/>
            <ac:spMk id="27" creationId="{EA2782B7-F09F-DCE4-11BB-F823EF9676B3}"/>
          </ac:spMkLst>
        </pc:spChg>
        <pc:spChg chg="mod">
          <ac:chgData name="Jessica Henley" userId="63b1edf9-6e48-442a-9e00-04850b59a756" providerId="ADAL" clId="{D7E2F68E-A503-4B31-8CB2-DC1B28F456AF}" dt="2025-05-31T19:46:11.591" v="2610"/>
          <ac:spMkLst>
            <pc:docMk/>
            <pc:sldMk cId="3076513776" sldId="324"/>
            <ac:spMk id="28" creationId="{BDE0A1CE-9CDC-618C-294A-29B126127C26}"/>
          </ac:spMkLst>
        </pc:spChg>
        <pc:spChg chg="mod">
          <ac:chgData name="Jessica Henley" userId="63b1edf9-6e48-442a-9e00-04850b59a756" providerId="ADAL" clId="{D7E2F68E-A503-4B31-8CB2-DC1B28F456AF}" dt="2025-05-31T19:46:11.591" v="2610"/>
          <ac:spMkLst>
            <pc:docMk/>
            <pc:sldMk cId="3076513776" sldId="324"/>
            <ac:spMk id="32" creationId="{090AF1AA-A492-44A9-6844-1D248DDE1E40}"/>
          </ac:spMkLst>
        </pc:spChg>
        <pc:spChg chg="mod">
          <ac:chgData name="Jessica Henley" userId="63b1edf9-6e48-442a-9e00-04850b59a756" providerId="ADAL" clId="{D7E2F68E-A503-4B31-8CB2-DC1B28F456AF}" dt="2025-05-31T19:46:11.591" v="2610"/>
          <ac:spMkLst>
            <pc:docMk/>
            <pc:sldMk cId="3076513776" sldId="324"/>
            <ac:spMk id="33" creationId="{92FD074F-62E1-AD52-61FD-38967D122E9C}"/>
          </ac:spMkLst>
        </pc:spChg>
        <pc:spChg chg="mod">
          <ac:chgData name="Jessica Henley" userId="63b1edf9-6e48-442a-9e00-04850b59a756" providerId="ADAL" clId="{D7E2F68E-A503-4B31-8CB2-DC1B28F456AF}" dt="2025-05-31T19:46:11.591" v="2610"/>
          <ac:spMkLst>
            <pc:docMk/>
            <pc:sldMk cId="3076513776" sldId="324"/>
            <ac:spMk id="34" creationId="{7CFE0C25-D7D2-7DC7-538A-1B7B8BAF46BF}"/>
          </ac:spMkLst>
        </pc:spChg>
        <pc:spChg chg="mod">
          <ac:chgData name="Jessica Henley" userId="63b1edf9-6e48-442a-9e00-04850b59a756" providerId="ADAL" clId="{D7E2F68E-A503-4B31-8CB2-DC1B28F456AF}" dt="2025-05-31T19:46:11.591" v="2610"/>
          <ac:spMkLst>
            <pc:docMk/>
            <pc:sldMk cId="3076513776" sldId="324"/>
            <ac:spMk id="36" creationId="{915304EB-D5F3-225C-7886-02603EC2FDAF}"/>
          </ac:spMkLst>
        </pc:spChg>
        <pc:spChg chg="mod">
          <ac:chgData name="Jessica Henley" userId="63b1edf9-6e48-442a-9e00-04850b59a756" providerId="ADAL" clId="{D7E2F68E-A503-4B31-8CB2-DC1B28F456AF}" dt="2025-05-31T19:46:11.591" v="2610"/>
          <ac:spMkLst>
            <pc:docMk/>
            <pc:sldMk cId="3076513776" sldId="324"/>
            <ac:spMk id="37" creationId="{55DE39C5-5F53-CDCB-F74D-76A7A46DD8D4}"/>
          </ac:spMkLst>
        </pc:spChg>
        <pc:grpChg chg="del">
          <ac:chgData name="Jessica Henley" userId="63b1edf9-6e48-442a-9e00-04850b59a756" providerId="ADAL" clId="{D7E2F68E-A503-4B31-8CB2-DC1B28F456AF}" dt="2025-05-31T19:46:15.014" v="2611" actId="21"/>
          <ac:grpSpMkLst>
            <pc:docMk/>
            <pc:sldMk cId="3076513776" sldId="324"/>
            <ac:grpSpMk id="4" creationId="{48460297-4F7B-DF37-35EA-F2DE59F77A94}"/>
          </ac:grpSpMkLst>
        </pc:grpChg>
        <pc:grpChg chg="mod">
          <ac:chgData name="Jessica Henley" userId="63b1edf9-6e48-442a-9e00-04850b59a756" providerId="ADAL" clId="{D7E2F68E-A503-4B31-8CB2-DC1B28F456AF}" dt="2025-05-31T19:42:51.451" v="2538" actId="1076"/>
          <ac:grpSpMkLst>
            <pc:docMk/>
            <pc:sldMk cId="3076513776" sldId="324"/>
            <ac:grpSpMk id="35" creationId="{3AD2DE9D-1A9D-127D-2E27-7958D1778976}"/>
          </ac:grpSpMkLst>
        </pc:grpChg>
      </pc:sldChg>
      <pc:sldChg chg="addSp delSp modSp mod modNotesTx">
        <pc:chgData name="Jessica Henley" userId="63b1edf9-6e48-442a-9e00-04850b59a756" providerId="ADAL" clId="{D7E2F68E-A503-4B31-8CB2-DC1B28F456AF}" dt="2025-06-01T15:55:38.236" v="5908" actId="20577"/>
        <pc:sldMkLst>
          <pc:docMk/>
          <pc:sldMk cId="3602375130" sldId="325"/>
        </pc:sldMkLst>
        <pc:spChg chg="del">
          <ac:chgData name="Jessica Henley" userId="63b1edf9-6e48-442a-9e00-04850b59a756" providerId="ADAL" clId="{D7E2F68E-A503-4B31-8CB2-DC1B28F456AF}" dt="2025-06-01T11:56:11.906" v="4233" actId="478"/>
          <ac:spMkLst>
            <pc:docMk/>
            <pc:sldMk cId="3602375130" sldId="325"/>
            <ac:spMk id="3" creationId="{AF8E535B-0A2B-1741-2536-5DAA21EC5887}"/>
          </ac:spMkLst>
        </pc:spChg>
        <pc:spChg chg="del">
          <ac:chgData name="Jessica Henley" userId="63b1edf9-6e48-442a-9e00-04850b59a756" providerId="ADAL" clId="{D7E2F68E-A503-4B31-8CB2-DC1B28F456AF}" dt="2025-06-01T11:55:28.600" v="4223" actId="478"/>
          <ac:spMkLst>
            <pc:docMk/>
            <pc:sldMk cId="3602375130" sldId="325"/>
            <ac:spMk id="4" creationId="{6473BCE9-1229-3165-B316-BE6D6EA24331}"/>
          </ac:spMkLst>
        </pc:spChg>
        <pc:spChg chg="del">
          <ac:chgData name="Jessica Henley" userId="63b1edf9-6e48-442a-9e00-04850b59a756" providerId="ADAL" clId="{D7E2F68E-A503-4B31-8CB2-DC1B28F456AF}" dt="2025-06-01T11:56:13.341" v="4234" actId="478"/>
          <ac:spMkLst>
            <pc:docMk/>
            <pc:sldMk cId="3602375130" sldId="325"/>
            <ac:spMk id="7" creationId="{0FC59954-E8EE-8B8C-FABF-78E3561A9C32}"/>
          </ac:spMkLst>
        </pc:spChg>
        <pc:spChg chg="add">
          <ac:chgData name="Jessica Henley" userId="63b1edf9-6e48-442a-9e00-04850b59a756" providerId="ADAL" clId="{D7E2F68E-A503-4B31-8CB2-DC1B28F456AF}" dt="2025-06-01T11:53:33.644" v="4206"/>
          <ac:spMkLst>
            <pc:docMk/>
            <pc:sldMk cId="3602375130" sldId="325"/>
            <ac:spMk id="9" creationId="{7BFC9040-FF05-6ACF-C234-9FF063EF4326}"/>
          </ac:spMkLst>
        </pc:spChg>
        <pc:spChg chg="add mod">
          <ac:chgData name="Jessica Henley" userId="63b1edf9-6e48-442a-9e00-04850b59a756" providerId="ADAL" clId="{D7E2F68E-A503-4B31-8CB2-DC1B28F456AF}" dt="2025-06-01T11:56:19.006" v="4235" actId="1076"/>
          <ac:spMkLst>
            <pc:docMk/>
            <pc:sldMk cId="3602375130" sldId="325"/>
            <ac:spMk id="11" creationId="{2D0ACD58-3521-D214-6C61-FC8F5D90FF9D}"/>
          </ac:spMkLst>
        </pc:spChg>
        <pc:spChg chg="mod">
          <ac:chgData name="Jessica Henley" userId="63b1edf9-6e48-442a-9e00-04850b59a756" providerId="ADAL" clId="{D7E2F68E-A503-4B31-8CB2-DC1B28F456AF}" dt="2025-06-01T14:43:09.748" v="5678" actId="20577"/>
          <ac:spMkLst>
            <pc:docMk/>
            <pc:sldMk cId="3602375130" sldId="325"/>
            <ac:spMk id="13" creationId="{28551889-D181-CD3A-96CF-52B7FE6F5381}"/>
          </ac:spMkLst>
        </pc:spChg>
        <pc:spChg chg="add mod">
          <ac:chgData name="Jessica Henley" userId="63b1edf9-6e48-442a-9e00-04850b59a756" providerId="ADAL" clId="{D7E2F68E-A503-4B31-8CB2-DC1B28F456AF}" dt="2025-06-01T11:58:36.740" v="4361" actId="1076"/>
          <ac:spMkLst>
            <pc:docMk/>
            <pc:sldMk cId="3602375130" sldId="325"/>
            <ac:spMk id="14" creationId="{E993774E-7F0B-26B8-696B-79C6CA394836}"/>
          </ac:spMkLst>
        </pc:spChg>
        <pc:spChg chg="mod">
          <ac:chgData name="Jessica Henley" userId="63b1edf9-6e48-442a-9e00-04850b59a756" providerId="ADAL" clId="{D7E2F68E-A503-4B31-8CB2-DC1B28F456AF}" dt="2025-06-01T11:55:34.034" v="4225"/>
          <ac:spMkLst>
            <pc:docMk/>
            <pc:sldMk cId="3602375130" sldId="325"/>
            <ac:spMk id="24" creationId="{479FF6A1-1244-628B-EEA0-CFDFB6DC33B6}"/>
          </ac:spMkLst>
        </pc:spChg>
        <pc:grpChg chg="del">
          <ac:chgData name="Jessica Henley" userId="63b1edf9-6e48-442a-9e00-04850b59a756" providerId="ADAL" clId="{D7E2F68E-A503-4B31-8CB2-DC1B28F456AF}" dt="2025-06-01T11:55:28.600" v="4223" actId="478"/>
          <ac:grpSpMkLst>
            <pc:docMk/>
            <pc:sldMk cId="3602375130" sldId="325"/>
            <ac:grpSpMk id="2" creationId="{BDBBE72C-5433-9DA7-3E76-C5427ABEAF9C}"/>
          </ac:grpSpMkLst>
        </pc:grpChg>
        <pc:grpChg chg="del">
          <ac:chgData name="Jessica Henley" userId="63b1edf9-6e48-442a-9e00-04850b59a756" providerId="ADAL" clId="{D7E2F68E-A503-4B31-8CB2-DC1B28F456AF}" dt="2025-06-01T11:55:32.319" v="4224" actId="478"/>
          <ac:grpSpMkLst>
            <pc:docMk/>
            <pc:sldMk cId="3602375130" sldId="325"/>
            <ac:grpSpMk id="8" creationId="{D2BCFBEF-1094-9F06-20BA-A0AE51930A7A}"/>
          </ac:grpSpMkLst>
        </pc:grpChg>
        <pc:grpChg chg="add mod">
          <ac:chgData name="Jessica Henley" userId="63b1edf9-6e48-442a-9e00-04850b59a756" providerId="ADAL" clId="{D7E2F68E-A503-4B31-8CB2-DC1B28F456AF}" dt="2025-06-01T11:56:30.861" v="4236" actId="164"/>
          <ac:grpSpMkLst>
            <pc:docMk/>
            <pc:sldMk cId="3602375130" sldId="325"/>
            <ac:grpSpMk id="12" creationId="{A47E2917-8B77-0C9D-0D1D-4E51A251B00D}"/>
          </ac:grpSpMkLst>
        </pc:grpChg>
        <pc:grpChg chg="add mod">
          <ac:chgData name="Jessica Henley" userId="63b1edf9-6e48-442a-9e00-04850b59a756" providerId="ADAL" clId="{D7E2F68E-A503-4B31-8CB2-DC1B28F456AF}" dt="2025-06-01T11:56:30.861" v="4236" actId="164"/>
          <ac:grpSpMkLst>
            <pc:docMk/>
            <pc:sldMk cId="3602375130" sldId="325"/>
            <ac:grpSpMk id="23" creationId="{2DC86CFD-7059-6639-15A8-CABAA8696484}"/>
          </ac:grpSpMkLst>
        </pc:grpChg>
        <pc:picChg chg="del topLvl">
          <ac:chgData name="Jessica Henley" userId="63b1edf9-6e48-442a-9e00-04850b59a756" providerId="ADAL" clId="{D7E2F68E-A503-4B31-8CB2-DC1B28F456AF}" dt="2025-06-01T11:55:32.319" v="4224" actId="478"/>
          <ac:picMkLst>
            <pc:docMk/>
            <pc:sldMk cId="3602375130" sldId="325"/>
            <ac:picMk id="5" creationId="{DD71BCF9-B86B-73A6-7A7D-4546EFCFF43C}"/>
          </ac:picMkLst>
        </pc:picChg>
        <pc:picChg chg="mod">
          <ac:chgData name="Jessica Henley" userId="63b1edf9-6e48-442a-9e00-04850b59a756" providerId="ADAL" clId="{D7E2F68E-A503-4B31-8CB2-DC1B28F456AF}" dt="2025-06-01T11:55:34.034" v="4225"/>
          <ac:picMkLst>
            <pc:docMk/>
            <pc:sldMk cId="3602375130" sldId="325"/>
            <ac:picMk id="35" creationId="{C3A8CAF6-49F3-352E-B8F0-0E6F9B7D0B6E}"/>
          </ac:picMkLst>
        </pc:picChg>
        <pc:cxnChg chg="mod topLvl">
          <ac:chgData name="Jessica Henley" userId="63b1edf9-6e48-442a-9e00-04850b59a756" providerId="ADAL" clId="{D7E2F68E-A503-4B31-8CB2-DC1B28F456AF}" dt="2025-06-01T11:56:30.861" v="4236" actId="164"/>
          <ac:cxnSpMkLst>
            <pc:docMk/>
            <pc:sldMk cId="3602375130" sldId="325"/>
            <ac:cxnSpMk id="6" creationId="{69EF1704-523F-60A7-17F1-DE9EA5356E19}"/>
          </ac:cxnSpMkLst>
        </pc:cxnChg>
      </pc:sldChg>
      <pc:sldChg chg="del">
        <pc:chgData name="Jessica Henley" userId="63b1edf9-6e48-442a-9e00-04850b59a756" providerId="ADAL" clId="{D7E2F68E-A503-4B31-8CB2-DC1B28F456AF}" dt="2025-06-01T12:21:59.236" v="4534" actId="47"/>
        <pc:sldMkLst>
          <pc:docMk/>
          <pc:sldMk cId="1855882626" sldId="326"/>
        </pc:sldMkLst>
      </pc:sldChg>
      <pc:sldChg chg="addSp delSp modSp add mod ord">
        <pc:chgData name="Jessica Henley" userId="63b1edf9-6e48-442a-9e00-04850b59a756" providerId="ADAL" clId="{D7E2F68E-A503-4B31-8CB2-DC1B28F456AF}" dt="2025-05-31T19:13:16.227" v="2178" actId="20577"/>
        <pc:sldMkLst>
          <pc:docMk/>
          <pc:sldMk cId="2544606336" sldId="327"/>
        </pc:sldMkLst>
        <pc:spChg chg="mod">
          <ac:chgData name="Jessica Henley" userId="63b1edf9-6e48-442a-9e00-04850b59a756" providerId="ADAL" clId="{D7E2F68E-A503-4B31-8CB2-DC1B28F456AF}" dt="2025-05-31T18:37:24.447" v="925" actId="1076"/>
          <ac:spMkLst>
            <pc:docMk/>
            <pc:sldMk cId="2544606336" sldId="327"/>
            <ac:spMk id="9" creationId="{71C6F795-34FD-6574-B029-6D3CED75ACAA}"/>
          </ac:spMkLst>
        </pc:spChg>
        <pc:spChg chg="mod">
          <ac:chgData name="Jessica Henley" userId="63b1edf9-6e48-442a-9e00-04850b59a756" providerId="ADAL" clId="{D7E2F68E-A503-4B31-8CB2-DC1B28F456AF}" dt="2025-05-31T18:37:36.232" v="926" actId="1076"/>
          <ac:spMkLst>
            <pc:docMk/>
            <pc:sldMk cId="2544606336" sldId="327"/>
            <ac:spMk id="10" creationId="{21E45E76-AF2D-F55F-6CBA-BFF90F544B53}"/>
          </ac:spMkLst>
        </pc:spChg>
        <pc:spChg chg="mod">
          <ac:chgData name="Jessica Henley" userId="63b1edf9-6e48-442a-9e00-04850b59a756" providerId="ADAL" clId="{D7E2F68E-A503-4B31-8CB2-DC1B28F456AF}" dt="2025-05-31T18:37:40.537" v="927" actId="1076"/>
          <ac:spMkLst>
            <pc:docMk/>
            <pc:sldMk cId="2544606336" sldId="327"/>
            <ac:spMk id="12" creationId="{C844B093-CF0C-A94C-0862-FDF42D0BEDFB}"/>
          </ac:spMkLst>
        </pc:spChg>
        <pc:spChg chg="mod">
          <ac:chgData name="Jessica Henley" userId="63b1edf9-6e48-442a-9e00-04850b59a756" providerId="ADAL" clId="{D7E2F68E-A503-4B31-8CB2-DC1B28F456AF}" dt="2025-05-31T18:37:54.287" v="928" actId="1076"/>
          <ac:spMkLst>
            <pc:docMk/>
            <pc:sldMk cId="2544606336" sldId="327"/>
            <ac:spMk id="13" creationId="{B7E63EB9-B40A-1148-FC0B-5C1C89296BD0}"/>
          </ac:spMkLst>
        </pc:spChg>
        <pc:spChg chg="mod">
          <ac:chgData name="Jessica Henley" userId="63b1edf9-6e48-442a-9e00-04850b59a756" providerId="ADAL" clId="{D7E2F68E-A503-4B31-8CB2-DC1B28F456AF}" dt="2025-05-31T18:37:09.087" v="922" actId="1076"/>
          <ac:spMkLst>
            <pc:docMk/>
            <pc:sldMk cId="2544606336" sldId="327"/>
            <ac:spMk id="14" creationId="{7F8D57B4-3E45-EA47-5107-C0CDAD53BB21}"/>
          </ac:spMkLst>
        </pc:spChg>
        <pc:spChg chg="mod">
          <ac:chgData name="Jessica Henley" userId="63b1edf9-6e48-442a-9e00-04850b59a756" providerId="ADAL" clId="{D7E2F68E-A503-4B31-8CB2-DC1B28F456AF}" dt="2025-05-31T18:35:10.279" v="906"/>
          <ac:spMkLst>
            <pc:docMk/>
            <pc:sldMk cId="2544606336" sldId="327"/>
            <ac:spMk id="16" creationId="{64F17934-2E7E-DAA5-B18E-BCFACF220AE4}"/>
          </ac:spMkLst>
        </pc:spChg>
        <pc:spChg chg="mod">
          <ac:chgData name="Jessica Henley" userId="63b1edf9-6e48-442a-9e00-04850b59a756" providerId="ADAL" clId="{D7E2F68E-A503-4B31-8CB2-DC1B28F456AF}" dt="2025-05-31T18:35:10.279" v="906"/>
          <ac:spMkLst>
            <pc:docMk/>
            <pc:sldMk cId="2544606336" sldId="327"/>
            <ac:spMk id="17" creationId="{E5AE1D24-5E9E-878E-68CC-B2115800CE8E}"/>
          </ac:spMkLst>
        </pc:spChg>
        <pc:spChg chg="mod">
          <ac:chgData name="Jessica Henley" userId="63b1edf9-6e48-442a-9e00-04850b59a756" providerId="ADAL" clId="{D7E2F68E-A503-4B31-8CB2-DC1B28F456AF}" dt="2025-05-31T18:35:10.279" v="906"/>
          <ac:spMkLst>
            <pc:docMk/>
            <pc:sldMk cId="2544606336" sldId="327"/>
            <ac:spMk id="18" creationId="{758253AE-C83B-A866-600D-31324306C539}"/>
          </ac:spMkLst>
        </pc:spChg>
        <pc:spChg chg="mod">
          <ac:chgData name="Jessica Henley" userId="63b1edf9-6e48-442a-9e00-04850b59a756" providerId="ADAL" clId="{D7E2F68E-A503-4B31-8CB2-DC1B28F456AF}" dt="2025-05-31T18:35:10.279" v="906"/>
          <ac:spMkLst>
            <pc:docMk/>
            <pc:sldMk cId="2544606336" sldId="327"/>
            <ac:spMk id="19" creationId="{BE207EDE-4F0E-72F7-DBC3-700629650141}"/>
          </ac:spMkLst>
        </pc:spChg>
        <pc:spChg chg="mod">
          <ac:chgData name="Jessica Henley" userId="63b1edf9-6e48-442a-9e00-04850b59a756" providerId="ADAL" clId="{D7E2F68E-A503-4B31-8CB2-DC1B28F456AF}" dt="2025-05-31T18:35:10.279" v="906"/>
          <ac:spMkLst>
            <pc:docMk/>
            <pc:sldMk cId="2544606336" sldId="327"/>
            <ac:spMk id="20" creationId="{E541F420-880F-2F28-CB8C-6F1633EE8EBB}"/>
          </ac:spMkLst>
        </pc:spChg>
        <pc:spChg chg="mod">
          <ac:chgData name="Jessica Henley" userId="63b1edf9-6e48-442a-9e00-04850b59a756" providerId="ADAL" clId="{D7E2F68E-A503-4B31-8CB2-DC1B28F456AF}" dt="2025-05-31T18:35:10.279" v="906"/>
          <ac:spMkLst>
            <pc:docMk/>
            <pc:sldMk cId="2544606336" sldId="327"/>
            <ac:spMk id="21" creationId="{2355F86C-021D-83D1-E227-FF38A3A7670D}"/>
          </ac:spMkLst>
        </pc:spChg>
        <pc:spChg chg="mod">
          <ac:chgData name="Jessica Henley" userId="63b1edf9-6e48-442a-9e00-04850b59a756" providerId="ADAL" clId="{D7E2F68E-A503-4B31-8CB2-DC1B28F456AF}" dt="2025-05-31T18:35:10.279" v="906"/>
          <ac:spMkLst>
            <pc:docMk/>
            <pc:sldMk cId="2544606336" sldId="327"/>
            <ac:spMk id="24" creationId="{FB7722B8-A7CF-76DF-EA8A-E5C1FCF03672}"/>
          </ac:spMkLst>
        </pc:spChg>
        <pc:spChg chg="add mod">
          <ac:chgData name="Jessica Henley" userId="63b1edf9-6e48-442a-9e00-04850b59a756" providerId="ADAL" clId="{D7E2F68E-A503-4B31-8CB2-DC1B28F456AF}" dt="2025-05-31T19:13:16.227" v="2178" actId="20577"/>
          <ac:spMkLst>
            <pc:docMk/>
            <pc:sldMk cId="2544606336" sldId="327"/>
            <ac:spMk id="29" creationId="{2E3F249D-5EBC-5F60-C495-4DDB6D929E00}"/>
          </ac:spMkLst>
        </pc:spChg>
        <pc:spChg chg="mod">
          <ac:chgData name="Jessica Henley" userId="63b1edf9-6e48-442a-9e00-04850b59a756" providerId="ADAL" clId="{D7E2F68E-A503-4B31-8CB2-DC1B28F456AF}" dt="2025-05-31T19:11:20.669" v="2154" actId="165"/>
          <ac:spMkLst>
            <pc:docMk/>
            <pc:sldMk cId="2544606336" sldId="327"/>
            <ac:spMk id="35" creationId="{E74A7921-FA88-89B4-7BBF-47DC05F2902F}"/>
          </ac:spMkLst>
        </pc:spChg>
        <pc:spChg chg="add del mod">
          <ac:chgData name="Jessica Henley" userId="63b1edf9-6e48-442a-9e00-04850b59a756" providerId="ADAL" clId="{D7E2F68E-A503-4B31-8CB2-DC1B28F456AF}" dt="2025-05-31T19:10:41.037" v="2148" actId="478"/>
          <ac:spMkLst>
            <pc:docMk/>
            <pc:sldMk cId="2544606336" sldId="327"/>
            <ac:spMk id="37" creationId="{8E971F1C-64FA-C64B-975A-4E6E3F17AED3}"/>
          </ac:spMkLst>
        </pc:spChg>
        <pc:spChg chg="mod">
          <ac:chgData name="Jessica Henley" userId="63b1edf9-6e48-442a-9e00-04850b59a756" providerId="ADAL" clId="{D7E2F68E-A503-4B31-8CB2-DC1B28F456AF}" dt="2025-05-31T19:11:34.989" v="2158"/>
          <ac:spMkLst>
            <pc:docMk/>
            <pc:sldMk cId="2544606336" sldId="327"/>
            <ac:spMk id="44" creationId="{5A10F943-BC91-DF89-32D9-628AE7B19C61}"/>
          </ac:spMkLst>
        </pc:spChg>
        <pc:spChg chg="add mod">
          <ac:chgData name="Jessica Henley" userId="63b1edf9-6e48-442a-9e00-04850b59a756" providerId="ADAL" clId="{D7E2F68E-A503-4B31-8CB2-DC1B28F456AF}" dt="2025-05-31T19:10:57.061" v="2151" actId="1076"/>
          <ac:spMkLst>
            <pc:docMk/>
            <pc:sldMk cId="2544606336" sldId="327"/>
            <ac:spMk id="65" creationId="{BBAE7056-33CB-042F-9C08-4C85D672D509}"/>
          </ac:spMkLst>
        </pc:spChg>
        <pc:grpChg chg="del">
          <ac:chgData name="Jessica Henley" userId="63b1edf9-6e48-442a-9e00-04850b59a756" providerId="ADAL" clId="{D7E2F68E-A503-4B31-8CB2-DC1B28F456AF}" dt="2025-05-31T18:35:09.270" v="905" actId="478"/>
          <ac:grpSpMkLst>
            <pc:docMk/>
            <pc:sldMk cId="2544606336" sldId="327"/>
            <ac:grpSpMk id="2" creationId="{29F37F9C-982A-ED2E-D73C-7449122F8437}"/>
          </ac:grpSpMkLst>
        </pc:grpChg>
        <pc:grpChg chg="mod">
          <ac:chgData name="Jessica Henley" userId="63b1edf9-6e48-442a-9e00-04850b59a756" providerId="ADAL" clId="{D7E2F68E-A503-4B31-8CB2-DC1B28F456AF}" dt="2025-05-31T18:36:37.940" v="917" actId="1076"/>
          <ac:grpSpMkLst>
            <pc:docMk/>
            <pc:sldMk cId="2544606336" sldId="327"/>
            <ac:grpSpMk id="6" creationId="{CDAB0676-8348-EDF6-E79D-E2677BFA00CA}"/>
          </ac:grpSpMkLst>
        </pc:grpChg>
        <pc:grpChg chg="del">
          <ac:chgData name="Jessica Henley" userId="63b1edf9-6e48-442a-9e00-04850b59a756" providerId="ADAL" clId="{D7E2F68E-A503-4B31-8CB2-DC1B28F456AF}" dt="2025-05-31T18:55:48.387" v="1011" actId="478"/>
          <ac:grpSpMkLst>
            <pc:docMk/>
            <pc:sldMk cId="2544606336" sldId="327"/>
            <ac:grpSpMk id="11" creationId="{8EEB0E96-B2E8-2362-D90F-A4FCACC0BC78}"/>
          </ac:grpSpMkLst>
        </pc:grpChg>
        <pc:grpChg chg="add del mod">
          <ac:chgData name="Jessica Henley" userId="63b1edf9-6e48-442a-9e00-04850b59a756" providerId="ADAL" clId="{D7E2F68E-A503-4B31-8CB2-DC1B28F456AF}" dt="2025-05-31T19:11:20.669" v="2154" actId="165"/>
          <ac:grpSpMkLst>
            <pc:docMk/>
            <pc:sldMk cId="2544606336" sldId="327"/>
            <ac:grpSpMk id="32" creationId="{44E9A19D-7699-32F3-9B0E-485A5EB30EBC}"/>
          </ac:grpSpMkLst>
        </pc:grpChg>
        <pc:grpChg chg="add del mod topLvl">
          <ac:chgData name="Jessica Henley" userId="63b1edf9-6e48-442a-9e00-04850b59a756" providerId="ADAL" clId="{D7E2F68E-A503-4B31-8CB2-DC1B28F456AF}" dt="2025-05-31T19:11:34.079" v="2157" actId="478"/>
          <ac:grpSpMkLst>
            <pc:docMk/>
            <pc:sldMk cId="2544606336" sldId="327"/>
            <ac:grpSpMk id="34" creationId="{DFB72E8A-CD07-1C72-C362-4436B1094950}"/>
          </ac:grpSpMkLst>
        </pc:grpChg>
        <pc:grpChg chg="add mod">
          <ac:chgData name="Jessica Henley" userId="63b1edf9-6e48-442a-9e00-04850b59a756" providerId="ADAL" clId="{D7E2F68E-A503-4B31-8CB2-DC1B28F456AF}" dt="2025-05-31T19:11:55.845" v="2160" actId="164"/>
          <ac:grpSpMkLst>
            <pc:docMk/>
            <pc:sldMk cId="2544606336" sldId="327"/>
            <ac:grpSpMk id="40" creationId="{8C7BE6E8-B4F2-B35C-1F05-C1C2D96388BB}"/>
          </ac:grpSpMkLst>
        </pc:grpChg>
        <pc:grpChg chg="add mod">
          <ac:chgData name="Jessica Henley" userId="63b1edf9-6e48-442a-9e00-04850b59a756" providerId="ADAL" clId="{D7E2F68E-A503-4B31-8CB2-DC1B28F456AF}" dt="2025-05-31T19:11:55.845" v="2160" actId="164"/>
          <ac:grpSpMkLst>
            <pc:docMk/>
            <pc:sldMk cId="2544606336" sldId="327"/>
            <ac:grpSpMk id="41" creationId="{47AF3880-A4A7-1C00-C942-E43E2A54629D}"/>
          </ac:grpSpMkLst>
        </pc:grpChg>
        <pc:picChg chg="mod">
          <ac:chgData name="Jessica Henley" userId="63b1edf9-6e48-442a-9e00-04850b59a756" providerId="ADAL" clId="{D7E2F68E-A503-4B31-8CB2-DC1B28F456AF}" dt="2025-05-31T19:11:20.669" v="2154" actId="165"/>
          <ac:picMkLst>
            <pc:docMk/>
            <pc:sldMk cId="2544606336" sldId="327"/>
            <ac:picMk id="36" creationId="{14FFB4F3-1627-9A83-47A6-74BFCAD8D91D}"/>
          </ac:picMkLst>
        </pc:picChg>
        <pc:picChg chg="mod">
          <ac:chgData name="Jessica Henley" userId="63b1edf9-6e48-442a-9e00-04850b59a756" providerId="ADAL" clId="{D7E2F68E-A503-4B31-8CB2-DC1B28F456AF}" dt="2025-05-31T19:11:34.989" v="2158"/>
          <ac:picMkLst>
            <pc:docMk/>
            <pc:sldMk cId="2544606336" sldId="327"/>
            <ac:picMk id="45" creationId="{2AD6DCEB-8293-D04C-9758-A579E3A1628C}"/>
          </ac:picMkLst>
        </pc:picChg>
        <pc:cxnChg chg="add del mod topLvl">
          <ac:chgData name="Jessica Henley" userId="63b1edf9-6e48-442a-9e00-04850b59a756" providerId="ADAL" clId="{D7E2F68E-A503-4B31-8CB2-DC1B28F456AF}" dt="2025-05-31T19:11:55.845" v="2160" actId="164"/>
          <ac:cxnSpMkLst>
            <pc:docMk/>
            <pc:sldMk cId="2544606336" sldId="327"/>
            <ac:cxnSpMk id="33" creationId="{1DDC9487-6EBD-C0F0-ABBF-5E145052A77A}"/>
          </ac:cxnSpMkLst>
        </pc:cxnChg>
      </pc:sldChg>
      <pc:sldChg chg="add del">
        <pc:chgData name="Jessica Henley" userId="63b1edf9-6e48-442a-9e00-04850b59a756" providerId="ADAL" clId="{D7E2F68E-A503-4B31-8CB2-DC1B28F456AF}" dt="2025-05-31T18:34:25.213" v="887" actId="2890"/>
        <pc:sldMkLst>
          <pc:docMk/>
          <pc:sldMk cId="2838201803" sldId="327"/>
        </pc:sldMkLst>
      </pc:sldChg>
      <pc:sldChg chg="addSp delSp modSp add mod modTransition modAnim modShow modNotesTx">
        <pc:chgData name="Jessica Henley" userId="63b1edf9-6e48-442a-9e00-04850b59a756" providerId="ADAL" clId="{D7E2F68E-A503-4B31-8CB2-DC1B28F456AF}" dt="2025-06-01T18:54:11.494" v="5970" actId="478"/>
        <pc:sldMkLst>
          <pc:docMk/>
          <pc:sldMk cId="2626172983" sldId="328"/>
        </pc:sldMkLst>
        <pc:spChg chg="add del mod">
          <ac:chgData name="Jessica Henley" userId="63b1edf9-6e48-442a-9e00-04850b59a756" providerId="ADAL" clId="{D7E2F68E-A503-4B31-8CB2-DC1B28F456AF}" dt="2025-06-01T18:54:11.494" v="5970" actId="478"/>
          <ac:spMkLst>
            <pc:docMk/>
            <pc:sldMk cId="2626172983" sldId="328"/>
            <ac:spMk id="3" creationId="{8BA63A91-60B1-E1E1-9827-E491462925DD}"/>
          </ac:spMkLst>
        </pc:spChg>
        <pc:spChg chg="mod">
          <ac:chgData name="Jessica Henley" userId="63b1edf9-6e48-442a-9e00-04850b59a756" providerId="ADAL" clId="{D7E2F68E-A503-4B31-8CB2-DC1B28F456AF}" dt="2025-05-31T19:29:59.516" v="2392"/>
          <ac:spMkLst>
            <pc:docMk/>
            <pc:sldMk cId="2626172983" sldId="328"/>
            <ac:spMk id="4" creationId="{07917A90-E2BE-B711-6CEB-A6726B807983}"/>
          </ac:spMkLst>
        </pc:spChg>
        <pc:spChg chg="del mod">
          <ac:chgData name="Jessica Henley" userId="63b1edf9-6e48-442a-9e00-04850b59a756" providerId="ADAL" clId="{D7E2F68E-A503-4B31-8CB2-DC1B28F456AF}" dt="2025-06-01T18:54:06.874" v="5968" actId="478"/>
          <ac:spMkLst>
            <pc:docMk/>
            <pc:sldMk cId="2626172983" sldId="328"/>
            <ac:spMk id="6" creationId="{D112F507-32F8-D968-35B5-6815C4EEE89F}"/>
          </ac:spMkLst>
        </pc:spChg>
        <pc:spChg chg="mod">
          <ac:chgData name="Jessica Henley" userId="63b1edf9-6e48-442a-9e00-04850b59a756" providerId="ADAL" clId="{D7E2F68E-A503-4B31-8CB2-DC1B28F456AF}" dt="2025-06-01T18:53:52.969" v="5965"/>
          <ac:spMkLst>
            <pc:docMk/>
            <pc:sldMk cId="2626172983" sldId="328"/>
            <ac:spMk id="17" creationId="{5A10A14E-F4B1-4879-FE12-7DA25702C366}"/>
          </ac:spMkLst>
        </pc:spChg>
        <pc:spChg chg="mod">
          <ac:chgData name="Jessica Henley" userId="63b1edf9-6e48-442a-9e00-04850b59a756" providerId="ADAL" clId="{D7E2F68E-A503-4B31-8CB2-DC1B28F456AF}" dt="2025-06-01T18:53:52.969" v="5965"/>
          <ac:spMkLst>
            <pc:docMk/>
            <pc:sldMk cId="2626172983" sldId="328"/>
            <ac:spMk id="20" creationId="{950AF0FE-B508-DB66-45A9-535D008382E1}"/>
          </ac:spMkLst>
        </pc:spChg>
        <pc:spChg chg="mod">
          <ac:chgData name="Jessica Henley" userId="63b1edf9-6e48-442a-9e00-04850b59a756" providerId="ADAL" clId="{D7E2F68E-A503-4B31-8CB2-DC1B28F456AF}" dt="2025-06-01T18:53:52.969" v="5965"/>
          <ac:spMkLst>
            <pc:docMk/>
            <pc:sldMk cId="2626172983" sldId="328"/>
            <ac:spMk id="21" creationId="{431A607F-B456-B075-6B13-669A67D5FAB9}"/>
          </ac:spMkLst>
        </pc:spChg>
        <pc:spChg chg="mod">
          <ac:chgData name="Jessica Henley" userId="63b1edf9-6e48-442a-9e00-04850b59a756" providerId="ADAL" clId="{D7E2F68E-A503-4B31-8CB2-DC1B28F456AF}" dt="2025-06-01T18:53:57.726" v="5966" actId="1076"/>
          <ac:spMkLst>
            <pc:docMk/>
            <pc:sldMk cId="2626172983" sldId="328"/>
            <ac:spMk id="25" creationId="{3B35526D-2CD2-ECFB-4CE2-1341D6DB1111}"/>
          </ac:spMkLst>
        </pc:spChg>
        <pc:spChg chg="add mod">
          <ac:chgData name="Jessica Henley" userId="63b1edf9-6e48-442a-9e00-04850b59a756" providerId="ADAL" clId="{D7E2F68E-A503-4B31-8CB2-DC1B28F456AF}" dt="2025-06-01T18:53:52.969" v="5965"/>
          <ac:spMkLst>
            <pc:docMk/>
            <pc:sldMk cId="2626172983" sldId="328"/>
            <ac:spMk id="26" creationId="{C2854E33-C0F1-3C65-E484-DDBE55B8C078}"/>
          </ac:spMkLst>
        </pc:spChg>
        <pc:spChg chg="mod">
          <ac:chgData name="Jessica Henley" userId="63b1edf9-6e48-442a-9e00-04850b59a756" providerId="ADAL" clId="{D7E2F68E-A503-4B31-8CB2-DC1B28F456AF}" dt="2025-06-01T18:53:57.726" v="5966" actId="1076"/>
          <ac:spMkLst>
            <pc:docMk/>
            <pc:sldMk cId="2626172983" sldId="328"/>
            <ac:spMk id="33" creationId="{67C8772B-CEEF-6BAF-60C8-AE3B925ACC1F}"/>
          </ac:spMkLst>
        </pc:spChg>
        <pc:spChg chg="mod">
          <ac:chgData name="Jessica Henley" userId="63b1edf9-6e48-442a-9e00-04850b59a756" providerId="ADAL" clId="{D7E2F68E-A503-4B31-8CB2-DC1B28F456AF}" dt="2025-06-01T18:53:57.726" v="5966" actId="1076"/>
          <ac:spMkLst>
            <pc:docMk/>
            <pc:sldMk cId="2626172983" sldId="328"/>
            <ac:spMk id="34" creationId="{5811E168-381A-BFDF-A261-9970E3B8CF16}"/>
          </ac:spMkLst>
        </pc:spChg>
        <pc:spChg chg="add mod">
          <ac:chgData name="Jessica Henley" userId="63b1edf9-6e48-442a-9e00-04850b59a756" providerId="ADAL" clId="{D7E2F68E-A503-4B31-8CB2-DC1B28F456AF}" dt="2025-06-01T18:53:52.969" v="5965"/>
          <ac:spMkLst>
            <pc:docMk/>
            <pc:sldMk cId="2626172983" sldId="328"/>
            <ac:spMk id="35" creationId="{73C37F75-68A8-7FD8-397F-94313E74BB2D}"/>
          </ac:spMkLst>
        </pc:spChg>
        <pc:spChg chg="add mod">
          <ac:chgData name="Jessica Henley" userId="63b1edf9-6e48-442a-9e00-04850b59a756" providerId="ADAL" clId="{D7E2F68E-A503-4B31-8CB2-DC1B28F456AF}" dt="2025-06-01T18:53:52.969" v="5965"/>
          <ac:spMkLst>
            <pc:docMk/>
            <pc:sldMk cId="2626172983" sldId="328"/>
            <ac:spMk id="36" creationId="{EE6CDCC2-1684-338E-FC17-60AC02A8656F}"/>
          </ac:spMkLst>
        </pc:spChg>
        <pc:spChg chg="mod">
          <ac:chgData name="Jessica Henley" userId="63b1edf9-6e48-442a-9e00-04850b59a756" providerId="ADAL" clId="{D7E2F68E-A503-4B31-8CB2-DC1B28F456AF}" dt="2025-06-01T18:53:57.726" v="5966" actId="1076"/>
          <ac:spMkLst>
            <pc:docMk/>
            <pc:sldMk cId="2626172983" sldId="328"/>
            <ac:spMk id="38" creationId="{8C699EC0-2062-03B4-38E9-66FCF103FB48}"/>
          </ac:spMkLst>
        </pc:spChg>
        <pc:spChg chg="add mod">
          <ac:chgData name="Jessica Henley" userId="63b1edf9-6e48-442a-9e00-04850b59a756" providerId="ADAL" clId="{D7E2F68E-A503-4B31-8CB2-DC1B28F456AF}" dt="2025-06-01T18:53:57.726" v="5966" actId="1076"/>
          <ac:spMkLst>
            <pc:docMk/>
            <pc:sldMk cId="2626172983" sldId="328"/>
            <ac:spMk id="39" creationId="{489147EE-3AFF-AA19-2E83-09881FDCB038}"/>
          </ac:spMkLst>
        </pc:spChg>
        <pc:spChg chg="mod">
          <ac:chgData name="Jessica Henley" userId="63b1edf9-6e48-442a-9e00-04850b59a756" providerId="ADAL" clId="{D7E2F68E-A503-4B31-8CB2-DC1B28F456AF}" dt="2025-06-01T18:53:57.726" v="5966" actId="1076"/>
          <ac:spMkLst>
            <pc:docMk/>
            <pc:sldMk cId="2626172983" sldId="328"/>
            <ac:spMk id="41" creationId="{DE52E6CF-F660-F312-C984-5FE05F693DB1}"/>
          </ac:spMkLst>
        </pc:spChg>
        <pc:spChg chg="add mod">
          <ac:chgData name="Jessica Henley" userId="63b1edf9-6e48-442a-9e00-04850b59a756" providerId="ADAL" clId="{D7E2F68E-A503-4B31-8CB2-DC1B28F456AF}" dt="2025-06-01T18:53:57.726" v="5966" actId="1076"/>
          <ac:spMkLst>
            <pc:docMk/>
            <pc:sldMk cId="2626172983" sldId="328"/>
            <ac:spMk id="43" creationId="{58DECE1B-4F8B-7BBA-6925-611D6D9A3C1A}"/>
          </ac:spMkLst>
        </pc:spChg>
        <pc:spChg chg="mod">
          <ac:chgData name="Jessica Henley" userId="63b1edf9-6e48-442a-9e00-04850b59a756" providerId="ADAL" clId="{D7E2F68E-A503-4B31-8CB2-DC1B28F456AF}" dt="2025-06-01T18:53:57.726" v="5966" actId="1076"/>
          <ac:spMkLst>
            <pc:docMk/>
            <pc:sldMk cId="2626172983" sldId="328"/>
            <ac:spMk id="44" creationId="{76A338E1-A60A-E3AF-0C18-129269024565}"/>
          </ac:spMkLst>
        </pc:spChg>
        <pc:spChg chg="mod">
          <ac:chgData name="Jessica Henley" userId="63b1edf9-6e48-442a-9e00-04850b59a756" providerId="ADAL" clId="{D7E2F68E-A503-4B31-8CB2-DC1B28F456AF}" dt="2025-06-01T18:53:57.726" v="5966" actId="1076"/>
          <ac:spMkLst>
            <pc:docMk/>
            <pc:sldMk cId="2626172983" sldId="328"/>
            <ac:spMk id="45" creationId="{5CCDBB95-7C13-03FD-5F6C-77A2C81D70FB}"/>
          </ac:spMkLst>
        </pc:spChg>
        <pc:spChg chg="add mod">
          <ac:chgData name="Jessica Henley" userId="63b1edf9-6e48-442a-9e00-04850b59a756" providerId="ADAL" clId="{D7E2F68E-A503-4B31-8CB2-DC1B28F456AF}" dt="2025-06-01T18:53:52.969" v="5965"/>
          <ac:spMkLst>
            <pc:docMk/>
            <pc:sldMk cId="2626172983" sldId="328"/>
            <ac:spMk id="49" creationId="{5B9E2B04-5FBF-FEB2-F36B-75C9B88E2FF4}"/>
          </ac:spMkLst>
        </pc:spChg>
        <pc:grpChg chg="del">
          <ac:chgData name="Jessica Henley" userId="63b1edf9-6e48-442a-9e00-04850b59a756" providerId="ADAL" clId="{D7E2F68E-A503-4B31-8CB2-DC1B28F456AF}" dt="2025-06-01T18:54:04.336" v="5967" actId="478"/>
          <ac:grpSpMkLst>
            <pc:docMk/>
            <pc:sldMk cId="2626172983" sldId="328"/>
            <ac:grpSpMk id="7" creationId="{9D6697C2-9E6B-D5D8-3400-461789F5E589}"/>
          </ac:grpSpMkLst>
        </pc:grpChg>
      </pc:sldChg>
      <pc:sldChg chg="add del">
        <pc:chgData name="Jessica Henley" userId="63b1edf9-6e48-442a-9e00-04850b59a756" providerId="ADAL" clId="{D7E2F68E-A503-4B31-8CB2-DC1B28F456AF}" dt="2025-05-31T19:24:04.836" v="2329" actId="2890"/>
        <pc:sldMkLst>
          <pc:docMk/>
          <pc:sldMk cId="4187230702" sldId="328"/>
        </pc:sldMkLst>
      </pc:sldChg>
      <pc:sldChg chg="addSp delSp modSp add mod delAnim modAnim modNotesTx">
        <pc:chgData name="Jessica Henley" userId="63b1edf9-6e48-442a-9e00-04850b59a756" providerId="ADAL" clId="{D7E2F68E-A503-4B31-8CB2-DC1B28F456AF}" dt="2025-06-01T14:20:02.917" v="5279" actId="20577"/>
        <pc:sldMkLst>
          <pc:docMk/>
          <pc:sldMk cId="3098859638" sldId="329"/>
        </pc:sldMkLst>
        <pc:spChg chg="del mod">
          <ac:chgData name="Jessica Henley" userId="63b1edf9-6e48-442a-9e00-04850b59a756" providerId="ADAL" clId="{D7E2F68E-A503-4B31-8CB2-DC1B28F456AF}" dt="2025-05-31T19:33:41.560" v="2410"/>
          <ac:spMkLst>
            <pc:docMk/>
            <pc:sldMk cId="3098859638" sldId="329"/>
            <ac:spMk id="2" creationId="{B851530A-7845-C425-43F1-047F23C81724}"/>
          </ac:spMkLst>
        </pc:spChg>
        <pc:spChg chg="add del mod">
          <ac:chgData name="Jessica Henley" userId="63b1edf9-6e48-442a-9e00-04850b59a756" providerId="ADAL" clId="{D7E2F68E-A503-4B31-8CB2-DC1B28F456AF}" dt="2025-05-31T19:33:57.063" v="2415" actId="478"/>
          <ac:spMkLst>
            <pc:docMk/>
            <pc:sldMk cId="3098859638" sldId="329"/>
            <ac:spMk id="3" creationId="{8EDDBEDB-1659-1F3F-12E9-86BDAADA8C8F}"/>
          </ac:spMkLst>
        </pc:spChg>
        <pc:spChg chg="del mod">
          <ac:chgData name="Jessica Henley" userId="63b1edf9-6e48-442a-9e00-04850b59a756" providerId="ADAL" clId="{D7E2F68E-A503-4B31-8CB2-DC1B28F456AF}" dt="2025-05-31T19:33:41.560" v="2408" actId="478"/>
          <ac:spMkLst>
            <pc:docMk/>
            <pc:sldMk cId="3098859638" sldId="329"/>
            <ac:spMk id="4" creationId="{2AC0D4ED-2FB7-238C-E0DB-DA5AE8A92263}"/>
          </ac:spMkLst>
        </pc:spChg>
        <pc:spChg chg="mod">
          <ac:chgData name="Jessica Henley" userId="63b1edf9-6e48-442a-9e00-04850b59a756" providerId="ADAL" clId="{D7E2F68E-A503-4B31-8CB2-DC1B28F456AF}" dt="2025-05-31T19:33:44.446" v="2411"/>
          <ac:spMkLst>
            <pc:docMk/>
            <pc:sldMk cId="3098859638" sldId="329"/>
            <ac:spMk id="15" creationId="{2B30976D-911B-684B-EF96-21EF4E0E47B6}"/>
          </ac:spMkLst>
        </pc:spChg>
        <pc:spChg chg="mod">
          <ac:chgData name="Jessica Henley" userId="63b1edf9-6e48-442a-9e00-04850b59a756" providerId="ADAL" clId="{D7E2F68E-A503-4B31-8CB2-DC1B28F456AF}" dt="2025-05-31T19:33:44.446" v="2411"/>
          <ac:spMkLst>
            <pc:docMk/>
            <pc:sldMk cId="3098859638" sldId="329"/>
            <ac:spMk id="16" creationId="{6F315DDD-461E-0ED9-E231-F25938A33B33}"/>
          </ac:spMkLst>
        </pc:spChg>
        <pc:spChg chg="mod">
          <ac:chgData name="Jessica Henley" userId="63b1edf9-6e48-442a-9e00-04850b59a756" providerId="ADAL" clId="{D7E2F68E-A503-4B31-8CB2-DC1B28F456AF}" dt="2025-05-31T19:33:44.446" v="2411"/>
          <ac:spMkLst>
            <pc:docMk/>
            <pc:sldMk cId="3098859638" sldId="329"/>
            <ac:spMk id="18" creationId="{859D3D94-F91C-8DD7-1F21-FD48ACBC6D68}"/>
          </ac:spMkLst>
        </pc:spChg>
        <pc:spChg chg="mod">
          <ac:chgData name="Jessica Henley" userId="63b1edf9-6e48-442a-9e00-04850b59a756" providerId="ADAL" clId="{D7E2F68E-A503-4B31-8CB2-DC1B28F456AF}" dt="2025-05-31T19:33:44.446" v="2411"/>
          <ac:spMkLst>
            <pc:docMk/>
            <pc:sldMk cId="3098859638" sldId="329"/>
            <ac:spMk id="19" creationId="{A36C0D78-BC21-BAC1-B31D-4729268B125D}"/>
          </ac:spMkLst>
        </pc:spChg>
        <pc:spChg chg="add mod">
          <ac:chgData name="Jessica Henley" userId="63b1edf9-6e48-442a-9e00-04850b59a756" providerId="ADAL" clId="{D7E2F68E-A503-4B31-8CB2-DC1B28F456AF}" dt="2025-05-31T19:33:44.446" v="2411"/>
          <ac:spMkLst>
            <pc:docMk/>
            <pc:sldMk cId="3098859638" sldId="329"/>
            <ac:spMk id="23" creationId="{41F630D7-C87F-1872-6022-D05182C6E88F}"/>
          </ac:spMkLst>
        </pc:spChg>
        <pc:spChg chg="add mod">
          <ac:chgData name="Jessica Henley" userId="63b1edf9-6e48-442a-9e00-04850b59a756" providerId="ADAL" clId="{D7E2F68E-A503-4B31-8CB2-DC1B28F456AF}" dt="2025-05-31T19:33:44.446" v="2411"/>
          <ac:spMkLst>
            <pc:docMk/>
            <pc:sldMk cId="3098859638" sldId="329"/>
            <ac:spMk id="32" creationId="{C261DB08-3AF1-D7E5-A067-9E6CB4E47F2E}"/>
          </ac:spMkLst>
        </pc:spChg>
        <pc:spChg chg="add mod">
          <ac:chgData name="Jessica Henley" userId="63b1edf9-6e48-442a-9e00-04850b59a756" providerId="ADAL" clId="{D7E2F68E-A503-4B31-8CB2-DC1B28F456AF}" dt="2025-05-31T19:33:44.446" v="2411"/>
          <ac:spMkLst>
            <pc:docMk/>
            <pc:sldMk cId="3098859638" sldId="329"/>
            <ac:spMk id="33" creationId="{5B667662-825F-365C-CA41-63176B764B7F}"/>
          </ac:spMkLst>
        </pc:spChg>
        <pc:spChg chg="add mod">
          <ac:chgData name="Jessica Henley" userId="63b1edf9-6e48-442a-9e00-04850b59a756" providerId="ADAL" clId="{D7E2F68E-A503-4B31-8CB2-DC1B28F456AF}" dt="2025-05-31T19:33:44.446" v="2411"/>
          <ac:spMkLst>
            <pc:docMk/>
            <pc:sldMk cId="3098859638" sldId="329"/>
            <ac:spMk id="39" creationId="{1FABBC5C-8CED-1851-92F1-E40722C92FCF}"/>
          </ac:spMkLst>
        </pc:spChg>
        <pc:spChg chg="add mod">
          <ac:chgData name="Jessica Henley" userId="63b1edf9-6e48-442a-9e00-04850b59a756" providerId="ADAL" clId="{D7E2F68E-A503-4B31-8CB2-DC1B28F456AF}" dt="2025-05-31T19:33:44.446" v="2411"/>
          <ac:spMkLst>
            <pc:docMk/>
            <pc:sldMk cId="3098859638" sldId="329"/>
            <ac:spMk id="42" creationId="{3688F44D-8CA3-6B28-5E5A-352E14364C7D}"/>
          </ac:spMkLst>
        </pc:spChg>
        <pc:grpChg chg="del">
          <ac:chgData name="Jessica Henley" userId="63b1edf9-6e48-442a-9e00-04850b59a756" providerId="ADAL" clId="{D7E2F68E-A503-4B31-8CB2-DC1B28F456AF}" dt="2025-05-31T19:33:49.821" v="2412" actId="478"/>
          <ac:grpSpMkLst>
            <pc:docMk/>
            <pc:sldMk cId="3098859638" sldId="329"/>
            <ac:grpSpMk id="36" creationId="{D19DE1A7-D97C-43E6-C28E-D68764F53330}"/>
          </ac:grpSpMkLst>
        </pc:grpChg>
        <pc:cxnChg chg="del">
          <ac:chgData name="Jessica Henley" userId="63b1edf9-6e48-442a-9e00-04850b59a756" providerId="ADAL" clId="{D7E2F68E-A503-4B31-8CB2-DC1B28F456AF}" dt="2025-05-31T19:33:52.036" v="2413" actId="478"/>
          <ac:cxnSpMkLst>
            <pc:docMk/>
            <pc:sldMk cId="3098859638" sldId="329"/>
            <ac:cxnSpMk id="6" creationId="{99FB4345-0142-B429-1C69-99564AADEBBB}"/>
          </ac:cxnSpMkLst>
        </pc:cxnChg>
      </pc:sldChg>
      <pc:sldChg chg="add del">
        <pc:chgData name="Jessica Henley" userId="63b1edf9-6e48-442a-9e00-04850b59a756" providerId="ADAL" clId="{D7E2F68E-A503-4B31-8CB2-DC1B28F456AF}" dt="2025-06-01T09:34:29.017" v="3014" actId="2696"/>
        <pc:sldMkLst>
          <pc:docMk/>
          <pc:sldMk cId="3148923132" sldId="330"/>
        </pc:sldMkLst>
      </pc:sldChg>
      <pc:sldChg chg="addSp delSp modSp add del mod ord delAnim modAnim">
        <pc:chgData name="Jessica Henley" userId="63b1edf9-6e48-442a-9e00-04850b59a756" providerId="ADAL" clId="{D7E2F68E-A503-4B31-8CB2-DC1B28F456AF}" dt="2025-06-01T12:15:50.109" v="4483" actId="2696"/>
        <pc:sldMkLst>
          <pc:docMk/>
          <pc:sldMk cId="4220429557" sldId="331"/>
        </pc:sldMkLst>
        <pc:spChg chg="mod">
          <ac:chgData name="Jessica Henley" userId="63b1edf9-6e48-442a-9e00-04850b59a756" providerId="ADAL" clId="{D7E2F68E-A503-4B31-8CB2-DC1B28F456AF}" dt="2025-05-31T19:46:23.644" v="2612"/>
          <ac:spMkLst>
            <pc:docMk/>
            <pc:sldMk cId="4220429557" sldId="331"/>
            <ac:spMk id="9" creationId="{F376E348-C421-55A4-B264-647D5F9D6D30}"/>
          </ac:spMkLst>
        </pc:spChg>
        <pc:spChg chg="mod">
          <ac:chgData name="Jessica Henley" userId="63b1edf9-6e48-442a-9e00-04850b59a756" providerId="ADAL" clId="{D7E2F68E-A503-4B31-8CB2-DC1B28F456AF}" dt="2025-05-31T19:46:23.644" v="2612"/>
          <ac:spMkLst>
            <pc:docMk/>
            <pc:sldMk cId="4220429557" sldId="331"/>
            <ac:spMk id="11" creationId="{CE934F52-8F7B-77BF-40DC-5DE727DBDA40}"/>
          </ac:spMkLst>
        </pc:spChg>
        <pc:spChg chg="mod">
          <ac:chgData name="Jessica Henley" userId="63b1edf9-6e48-442a-9e00-04850b59a756" providerId="ADAL" clId="{D7E2F68E-A503-4B31-8CB2-DC1B28F456AF}" dt="2025-05-31T19:46:23.644" v="2612"/>
          <ac:spMkLst>
            <pc:docMk/>
            <pc:sldMk cId="4220429557" sldId="331"/>
            <ac:spMk id="18" creationId="{B4DED2F0-B9B2-7303-9320-32A5DE08E5D1}"/>
          </ac:spMkLst>
        </pc:spChg>
        <pc:spChg chg="mod">
          <ac:chgData name="Jessica Henley" userId="63b1edf9-6e48-442a-9e00-04850b59a756" providerId="ADAL" clId="{D7E2F68E-A503-4B31-8CB2-DC1B28F456AF}" dt="2025-05-31T19:46:23.644" v="2612"/>
          <ac:spMkLst>
            <pc:docMk/>
            <pc:sldMk cId="4220429557" sldId="331"/>
            <ac:spMk id="19" creationId="{73A454C0-D45B-55E4-4255-F1D482C508DA}"/>
          </ac:spMkLst>
        </pc:spChg>
        <pc:spChg chg="mod">
          <ac:chgData name="Jessica Henley" userId="63b1edf9-6e48-442a-9e00-04850b59a756" providerId="ADAL" clId="{D7E2F68E-A503-4B31-8CB2-DC1B28F456AF}" dt="2025-05-31T19:46:23.644" v="2612"/>
          <ac:spMkLst>
            <pc:docMk/>
            <pc:sldMk cId="4220429557" sldId="331"/>
            <ac:spMk id="28" creationId="{BDE0A1CE-9CDC-618C-294A-29B126127C26}"/>
          </ac:spMkLst>
        </pc:spChg>
        <pc:spChg chg="mod">
          <ac:chgData name="Jessica Henley" userId="63b1edf9-6e48-442a-9e00-04850b59a756" providerId="ADAL" clId="{D7E2F68E-A503-4B31-8CB2-DC1B28F456AF}" dt="2025-05-31T19:46:23.644" v="2612"/>
          <ac:spMkLst>
            <pc:docMk/>
            <pc:sldMk cId="4220429557" sldId="331"/>
            <ac:spMk id="33" creationId="{92FD074F-62E1-AD52-61FD-38967D122E9C}"/>
          </ac:spMkLst>
        </pc:spChg>
        <pc:spChg chg="mod">
          <ac:chgData name="Jessica Henley" userId="63b1edf9-6e48-442a-9e00-04850b59a756" providerId="ADAL" clId="{D7E2F68E-A503-4B31-8CB2-DC1B28F456AF}" dt="2025-05-31T19:46:35.141" v="2615"/>
          <ac:spMkLst>
            <pc:docMk/>
            <pc:sldMk cId="4220429557" sldId="331"/>
            <ac:spMk id="35" creationId="{DD5987FB-6835-65FB-2FAF-08B86C275D23}"/>
          </ac:spMkLst>
        </pc:spChg>
        <pc:spChg chg="mod">
          <ac:chgData name="Jessica Henley" userId="63b1edf9-6e48-442a-9e00-04850b59a756" providerId="ADAL" clId="{D7E2F68E-A503-4B31-8CB2-DC1B28F456AF}" dt="2025-05-31T19:46:23.644" v="2612"/>
          <ac:spMkLst>
            <pc:docMk/>
            <pc:sldMk cId="4220429557" sldId="331"/>
            <ac:spMk id="36" creationId="{915304EB-D5F3-225C-7886-02603EC2FDAF}"/>
          </ac:spMkLst>
        </pc:spChg>
        <pc:spChg chg="mod">
          <ac:chgData name="Jessica Henley" userId="63b1edf9-6e48-442a-9e00-04850b59a756" providerId="ADAL" clId="{D7E2F68E-A503-4B31-8CB2-DC1B28F456AF}" dt="2025-05-31T19:46:23.644" v="2612"/>
          <ac:spMkLst>
            <pc:docMk/>
            <pc:sldMk cId="4220429557" sldId="331"/>
            <ac:spMk id="37" creationId="{55DE39C5-5F53-CDCB-F74D-76A7A46DD8D4}"/>
          </ac:spMkLst>
        </pc:spChg>
        <pc:spChg chg="mod">
          <ac:chgData name="Jessica Henley" userId="63b1edf9-6e48-442a-9e00-04850b59a756" providerId="ADAL" clId="{D7E2F68E-A503-4B31-8CB2-DC1B28F456AF}" dt="2025-05-31T19:46:23.644" v="2612"/>
          <ac:spMkLst>
            <pc:docMk/>
            <pc:sldMk cId="4220429557" sldId="331"/>
            <ac:spMk id="38" creationId="{4EECD53C-3F61-5D5F-D9B8-DF6D14C4937D}"/>
          </ac:spMkLst>
        </pc:spChg>
        <pc:spChg chg="mod">
          <ac:chgData name="Jessica Henley" userId="63b1edf9-6e48-442a-9e00-04850b59a756" providerId="ADAL" clId="{D7E2F68E-A503-4B31-8CB2-DC1B28F456AF}" dt="2025-05-31T19:46:23.644" v="2612"/>
          <ac:spMkLst>
            <pc:docMk/>
            <pc:sldMk cId="4220429557" sldId="331"/>
            <ac:spMk id="39" creationId="{975AF3ED-F04B-64F9-82EB-9FBB866A9D68}"/>
          </ac:spMkLst>
        </pc:spChg>
        <pc:spChg chg="mod">
          <ac:chgData name="Jessica Henley" userId="63b1edf9-6e48-442a-9e00-04850b59a756" providerId="ADAL" clId="{D7E2F68E-A503-4B31-8CB2-DC1B28F456AF}" dt="2025-05-31T19:46:35.141" v="2615"/>
          <ac:spMkLst>
            <pc:docMk/>
            <pc:sldMk cId="4220429557" sldId="331"/>
            <ac:spMk id="43" creationId="{3B99FF67-23D1-6F37-1C21-7CA6744871FA}"/>
          </ac:spMkLst>
        </pc:spChg>
        <pc:spChg chg="mod">
          <ac:chgData name="Jessica Henley" userId="63b1edf9-6e48-442a-9e00-04850b59a756" providerId="ADAL" clId="{D7E2F68E-A503-4B31-8CB2-DC1B28F456AF}" dt="2025-05-31T19:46:35.141" v="2615"/>
          <ac:spMkLst>
            <pc:docMk/>
            <pc:sldMk cId="4220429557" sldId="331"/>
            <ac:spMk id="44" creationId="{DB58255C-7657-7A97-245F-256EE015ED0D}"/>
          </ac:spMkLst>
        </pc:spChg>
        <pc:spChg chg="mod">
          <ac:chgData name="Jessica Henley" userId="63b1edf9-6e48-442a-9e00-04850b59a756" providerId="ADAL" clId="{D7E2F68E-A503-4B31-8CB2-DC1B28F456AF}" dt="2025-05-31T19:46:35.141" v="2615"/>
          <ac:spMkLst>
            <pc:docMk/>
            <pc:sldMk cId="4220429557" sldId="331"/>
            <ac:spMk id="46" creationId="{CDEAD59C-A54C-08D8-A20E-C9D20814366C}"/>
          </ac:spMkLst>
        </pc:spChg>
        <pc:spChg chg="mod">
          <ac:chgData name="Jessica Henley" userId="63b1edf9-6e48-442a-9e00-04850b59a756" providerId="ADAL" clId="{D7E2F68E-A503-4B31-8CB2-DC1B28F456AF}" dt="2025-05-31T19:46:35.141" v="2615"/>
          <ac:spMkLst>
            <pc:docMk/>
            <pc:sldMk cId="4220429557" sldId="331"/>
            <ac:spMk id="47" creationId="{19A9F37C-8077-9CDD-3906-CE4A4C2B8DDB}"/>
          </ac:spMkLst>
        </pc:spChg>
        <pc:spChg chg="mod">
          <ac:chgData name="Jessica Henley" userId="63b1edf9-6e48-442a-9e00-04850b59a756" providerId="ADAL" clId="{D7E2F68E-A503-4B31-8CB2-DC1B28F456AF}" dt="2025-05-31T19:46:35.141" v="2615"/>
          <ac:spMkLst>
            <pc:docMk/>
            <pc:sldMk cId="4220429557" sldId="331"/>
            <ac:spMk id="48" creationId="{BF238876-A3E8-9325-BAC0-12E305ACA1F4}"/>
          </ac:spMkLst>
        </pc:spChg>
        <pc:spChg chg="mod">
          <ac:chgData name="Jessica Henley" userId="63b1edf9-6e48-442a-9e00-04850b59a756" providerId="ADAL" clId="{D7E2F68E-A503-4B31-8CB2-DC1B28F456AF}" dt="2025-05-31T19:46:35.141" v="2615"/>
          <ac:spMkLst>
            <pc:docMk/>
            <pc:sldMk cId="4220429557" sldId="331"/>
            <ac:spMk id="49" creationId="{FC1FF1EB-FD58-37BD-6D09-1726B0AEC0FD}"/>
          </ac:spMkLst>
        </pc:spChg>
        <pc:spChg chg="mod">
          <ac:chgData name="Jessica Henley" userId="63b1edf9-6e48-442a-9e00-04850b59a756" providerId="ADAL" clId="{D7E2F68E-A503-4B31-8CB2-DC1B28F456AF}" dt="2025-05-31T19:46:35.141" v="2615"/>
          <ac:spMkLst>
            <pc:docMk/>
            <pc:sldMk cId="4220429557" sldId="331"/>
            <ac:spMk id="51" creationId="{A5B46ECB-16B1-0087-CB2F-849BF1845032}"/>
          </ac:spMkLst>
        </pc:spChg>
        <pc:spChg chg="mod">
          <ac:chgData name="Jessica Henley" userId="63b1edf9-6e48-442a-9e00-04850b59a756" providerId="ADAL" clId="{D7E2F68E-A503-4B31-8CB2-DC1B28F456AF}" dt="2025-05-31T19:46:35.141" v="2615"/>
          <ac:spMkLst>
            <pc:docMk/>
            <pc:sldMk cId="4220429557" sldId="331"/>
            <ac:spMk id="52" creationId="{41D827D1-9C0D-775F-B197-82692063D977}"/>
          </ac:spMkLst>
        </pc:spChg>
        <pc:spChg chg="mod">
          <ac:chgData name="Jessica Henley" userId="63b1edf9-6e48-442a-9e00-04850b59a756" providerId="ADAL" clId="{D7E2F68E-A503-4B31-8CB2-DC1B28F456AF}" dt="2025-05-31T19:46:35.141" v="2615"/>
          <ac:spMkLst>
            <pc:docMk/>
            <pc:sldMk cId="4220429557" sldId="331"/>
            <ac:spMk id="53" creationId="{06A70011-80EB-F54F-57C1-6219205A8FEC}"/>
          </ac:spMkLst>
        </pc:spChg>
        <pc:spChg chg="mod">
          <ac:chgData name="Jessica Henley" userId="63b1edf9-6e48-442a-9e00-04850b59a756" providerId="ADAL" clId="{D7E2F68E-A503-4B31-8CB2-DC1B28F456AF}" dt="2025-05-31T19:52:28.269" v="2669"/>
          <ac:spMkLst>
            <pc:docMk/>
            <pc:sldMk cId="4220429557" sldId="331"/>
            <ac:spMk id="58" creationId="{429C3CA3-77D7-32C7-5375-59B19444C341}"/>
          </ac:spMkLst>
        </pc:spChg>
        <pc:spChg chg="mod">
          <ac:chgData name="Jessica Henley" userId="63b1edf9-6e48-442a-9e00-04850b59a756" providerId="ADAL" clId="{D7E2F68E-A503-4B31-8CB2-DC1B28F456AF}" dt="2025-05-31T19:52:28.269" v="2669"/>
          <ac:spMkLst>
            <pc:docMk/>
            <pc:sldMk cId="4220429557" sldId="331"/>
            <ac:spMk id="60" creationId="{530544D3-28AC-125A-86DA-A481C031F12E}"/>
          </ac:spMkLst>
        </pc:spChg>
        <pc:spChg chg="mod">
          <ac:chgData name="Jessica Henley" userId="63b1edf9-6e48-442a-9e00-04850b59a756" providerId="ADAL" clId="{D7E2F68E-A503-4B31-8CB2-DC1B28F456AF}" dt="2025-05-31T19:52:28.269" v="2669"/>
          <ac:spMkLst>
            <pc:docMk/>
            <pc:sldMk cId="4220429557" sldId="331"/>
            <ac:spMk id="61" creationId="{0F500B97-5A57-7F0A-CA48-F55B71B53506}"/>
          </ac:spMkLst>
        </pc:spChg>
        <pc:spChg chg="mod">
          <ac:chgData name="Jessica Henley" userId="63b1edf9-6e48-442a-9e00-04850b59a756" providerId="ADAL" clId="{D7E2F68E-A503-4B31-8CB2-DC1B28F456AF}" dt="2025-05-31T19:52:28.269" v="2669"/>
          <ac:spMkLst>
            <pc:docMk/>
            <pc:sldMk cId="4220429557" sldId="331"/>
            <ac:spMk id="62" creationId="{7BA8755B-C32F-E889-D8ED-8FDF61CBDA67}"/>
          </ac:spMkLst>
        </pc:spChg>
        <pc:spChg chg="mod">
          <ac:chgData name="Jessica Henley" userId="63b1edf9-6e48-442a-9e00-04850b59a756" providerId="ADAL" clId="{D7E2F68E-A503-4B31-8CB2-DC1B28F456AF}" dt="2025-05-31T19:52:28.269" v="2669"/>
          <ac:spMkLst>
            <pc:docMk/>
            <pc:sldMk cId="4220429557" sldId="331"/>
            <ac:spMk id="64" creationId="{C07BBE7D-8BB9-57A4-1D8B-10F6C4D19466}"/>
          </ac:spMkLst>
        </pc:spChg>
        <pc:spChg chg="mod">
          <ac:chgData name="Jessica Henley" userId="63b1edf9-6e48-442a-9e00-04850b59a756" providerId="ADAL" clId="{D7E2F68E-A503-4B31-8CB2-DC1B28F456AF}" dt="2025-05-31T19:52:28.269" v="2669"/>
          <ac:spMkLst>
            <pc:docMk/>
            <pc:sldMk cId="4220429557" sldId="331"/>
            <ac:spMk id="65" creationId="{2EC11A88-AB25-0D28-0391-092C041D89C6}"/>
          </ac:spMkLst>
        </pc:spChg>
        <pc:spChg chg="mod">
          <ac:chgData name="Jessica Henley" userId="63b1edf9-6e48-442a-9e00-04850b59a756" providerId="ADAL" clId="{D7E2F68E-A503-4B31-8CB2-DC1B28F456AF}" dt="2025-05-31T19:52:28.269" v="2669"/>
          <ac:spMkLst>
            <pc:docMk/>
            <pc:sldMk cId="4220429557" sldId="331"/>
            <ac:spMk id="66" creationId="{026A5F11-BA61-294F-36C1-EAC34FA9ACD4}"/>
          </ac:spMkLst>
        </pc:spChg>
        <pc:spChg chg="mod">
          <ac:chgData name="Jessica Henley" userId="63b1edf9-6e48-442a-9e00-04850b59a756" providerId="ADAL" clId="{D7E2F68E-A503-4B31-8CB2-DC1B28F456AF}" dt="2025-05-31T19:52:28.269" v="2669"/>
          <ac:spMkLst>
            <pc:docMk/>
            <pc:sldMk cId="4220429557" sldId="331"/>
            <ac:spMk id="67" creationId="{E4C49F1F-8DDF-1AD9-61B8-17F20291ACF7}"/>
          </ac:spMkLst>
        </pc:spChg>
        <pc:spChg chg="mod">
          <ac:chgData name="Jessica Henley" userId="63b1edf9-6e48-442a-9e00-04850b59a756" providerId="ADAL" clId="{D7E2F68E-A503-4B31-8CB2-DC1B28F456AF}" dt="2025-05-31T19:52:28.269" v="2669"/>
          <ac:spMkLst>
            <pc:docMk/>
            <pc:sldMk cId="4220429557" sldId="331"/>
            <ac:spMk id="68" creationId="{7AEFABF5-246F-3335-CB35-CC8057DAAEB0}"/>
          </ac:spMkLst>
        </pc:spChg>
        <pc:spChg chg="mod">
          <ac:chgData name="Jessica Henley" userId="63b1edf9-6e48-442a-9e00-04850b59a756" providerId="ADAL" clId="{D7E2F68E-A503-4B31-8CB2-DC1B28F456AF}" dt="2025-05-31T19:52:28.269" v="2669"/>
          <ac:spMkLst>
            <pc:docMk/>
            <pc:sldMk cId="4220429557" sldId="331"/>
            <ac:spMk id="69" creationId="{8223E032-0B8B-B812-A960-688D6C9A5876}"/>
          </ac:spMkLst>
        </pc:spChg>
        <pc:grpChg chg="del">
          <ac:chgData name="Jessica Henley" userId="63b1edf9-6e48-442a-9e00-04850b59a756" providerId="ADAL" clId="{D7E2F68E-A503-4B31-8CB2-DC1B28F456AF}" dt="2025-05-31T19:46:34.001" v="2614" actId="478"/>
          <ac:grpSpMkLst>
            <pc:docMk/>
            <pc:sldMk cId="4220429557" sldId="331"/>
            <ac:grpSpMk id="4" creationId="{3D402F37-E80E-506A-FBF6-B10BC1538803}"/>
          </ac:grpSpMkLst>
        </pc:grpChg>
        <pc:grpChg chg="del">
          <ac:chgData name="Jessica Henley" userId="63b1edf9-6e48-442a-9e00-04850b59a756" providerId="ADAL" clId="{D7E2F68E-A503-4B31-8CB2-DC1B28F456AF}" dt="2025-05-31T19:52:28.984" v="2670" actId="21"/>
          <ac:grpSpMkLst>
            <pc:docMk/>
            <pc:sldMk cId="4220429557" sldId="331"/>
            <ac:grpSpMk id="54" creationId="{498F5D18-0BDB-9C97-E01B-9B33555044FB}"/>
          </ac:grpSpMkLst>
        </pc:grpChg>
      </pc:sldChg>
      <pc:sldChg chg="addSp delSp modSp add mod modAnim modNotesTx">
        <pc:chgData name="Jessica Henley" userId="63b1edf9-6e48-442a-9e00-04850b59a756" providerId="ADAL" clId="{D7E2F68E-A503-4B31-8CB2-DC1B28F456AF}" dt="2025-06-01T14:30:22.660" v="5578" actId="20577"/>
        <pc:sldMkLst>
          <pc:docMk/>
          <pc:sldMk cId="1051581664" sldId="332"/>
        </pc:sldMkLst>
        <pc:spChg chg="mod">
          <ac:chgData name="Jessica Henley" userId="63b1edf9-6e48-442a-9e00-04850b59a756" providerId="ADAL" clId="{D7E2F68E-A503-4B31-8CB2-DC1B28F456AF}" dt="2025-05-31T19:52:42.452" v="2676"/>
          <ac:spMkLst>
            <pc:docMk/>
            <pc:sldMk cId="1051581664" sldId="332"/>
            <ac:spMk id="7" creationId="{E548ADB3-3555-4C5A-9662-C5FFEC05B656}"/>
          </ac:spMkLst>
        </pc:spChg>
        <pc:spChg chg="mod">
          <ac:chgData name="Jessica Henley" userId="63b1edf9-6e48-442a-9e00-04850b59a756" providerId="ADAL" clId="{D7E2F68E-A503-4B31-8CB2-DC1B28F456AF}" dt="2025-05-31T19:52:42.452" v="2676"/>
          <ac:spMkLst>
            <pc:docMk/>
            <pc:sldMk cId="1051581664" sldId="332"/>
            <ac:spMk id="9" creationId="{715D2DAC-8C96-00AD-F4E7-99B112A3153B}"/>
          </ac:spMkLst>
        </pc:spChg>
        <pc:spChg chg="mod">
          <ac:chgData name="Jessica Henley" userId="63b1edf9-6e48-442a-9e00-04850b59a756" providerId="ADAL" clId="{D7E2F68E-A503-4B31-8CB2-DC1B28F456AF}" dt="2025-05-31T19:52:42.452" v="2676"/>
          <ac:spMkLst>
            <pc:docMk/>
            <pc:sldMk cId="1051581664" sldId="332"/>
            <ac:spMk id="10" creationId="{F1797AD3-7EA3-D36D-85C3-2D6F1BF6660C}"/>
          </ac:spMkLst>
        </pc:spChg>
        <pc:spChg chg="mod">
          <ac:chgData name="Jessica Henley" userId="63b1edf9-6e48-442a-9e00-04850b59a756" providerId="ADAL" clId="{D7E2F68E-A503-4B31-8CB2-DC1B28F456AF}" dt="2025-05-31T19:52:42.452" v="2676"/>
          <ac:spMkLst>
            <pc:docMk/>
            <pc:sldMk cId="1051581664" sldId="332"/>
            <ac:spMk id="11" creationId="{05432A55-6DCB-0AF8-8748-A559D5BF70A1}"/>
          </ac:spMkLst>
        </pc:spChg>
        <pc:spChg chg="mod">
          <ac:chgData name="Jessica Henley" userId="63b1edf9-6e48-442a-9e00-04850b59a756" providerId="ADAL" clId="{D7E2F68E-A503-4B31-8CB2-DC1B28F456AF}" dt="2025-05-31T19:52:42.452" v="2676"/>
          <ac:spMkLst>
            <pc:docMk/>
            <pc:sldMk cId="1051581664" sldId="332"/>
            <ac:spMk id="19" creationId="{FEA73D74-B8DD-7C83-CE65-C963D6FEE469}"/>
          </ac:spMkLst>
        </pc:spChg>
        <pc:spChg chg="mod">
          <ac:chgData name="Jessica Henley" userId="63b1edf9-6e48-442a-9e00-04850b59a756" providerId="ADAL" clId="{D7E2F68E-A503-4B31-8CB2-DC1B28F456AF}" dt="2025-05-31T19:52:42.452" v="2676"/>
          <ac:spMkLst>
            <pc:docMk/>
            <pc:sldMk cId="1051581664" sldId="332"/>
            <ac:spMk id="25" creationId="{69D85EB8-EC4F-B91B-EF98-24AA1461421D}"/>
          </ac:spMkLst>
        </pc:spChg>
        <pc:spChg chg="mod">
          <ac:chgData name="Jessica Henley" userId="63b1edf9-6e48-442a-9e00-04850b59a756" providerId="ADAL" clId="{D7E2F68E-A503-4B31-8CB2-DC1B28F456AF}" dt="2025-05-31T19:52:42.452" v="2676"/>
          <ac:spMkLst>
            <pc:docMk/>
            <pc:sldMk cId="1051581664" sldId="332"/>
            <ac:spMk id="28" creationId="{BD888988-65D3-F92E-D9F8-DC0C7D404AD5}"/>
          </ac:spMkLst>
        </pc:spChg>
        <pc:spChg chg="mod">
          <ac:chgData name="Jessica Henley" userId="63b1edf9-6e48-442a-9e00-04850b59a756" providerId="ADAL" clId="{D7E2F68E-A503-4B31-8CB2-DC1B28F456AF}" dt="2025-05-31T19:52:42.452" v="2676"/>
          <ac:spMkLst>
            <pc:docMk/>
            <pc:sldMk cId="1051581664" sldId="332"/>
            <ac:spMk id="29" creationId="{7C35E18B-6737-6667-7816-F2ABD696CA6A}"/>
          </ac:spMkLst>
        </pc:spChg>
        <pc:spChg chg="mod">
          <ac:chgData name="Jessica Henley" userId="63b1edf9-6e48-442a-9e00-04850b59a756" providerId="ADAL" clId="{D7E2F68E-A503-4B31-8CB2-DC1B28F456AF}" dt="2025-05-31T19:52:42.452" v="2676"/>
          <ac:spMkLst>
            <pc:docMk/>
            <pc:sldMk cId="1051581664" sldId="332"/>
            <ac:spMk id="31" creationId="{98D2E8CE-E571-4531-5B80-3E2AA88AFFF2}"/>
          </ac:spMkLst>
        </pc:spChg>
        <pc:spChg chg="mod">
          <ac:chgData name="Jessica Henley" userId="63b1edf9-6e48-442a-9e00-04850b59a756" providerId="ADAL" clId="{D7E2F68E-A503-4B31-8CB2-DC1B28F456AF}" dt="2025-05-31T19:52:42.452" v="2676"/>
          <ac:spMkLst>
            <pc:docMk/>
            <pc:sldMk cId="1051581664" sldId="332"/>
            <ac:spMk id="38" creationId="{0B749764-45FB-8507-3BD3-EFB3911C3E92}"/>
          </ac:spMkLst>
        </pc:spChg>
        <pc:spChg chg="mod">
          <ac:chgData name="Jessica Henley" userId="63b1edf9-6e48-442a-9e00-04850b59a756" providerId="ADAL" clId="{D7E2F68E-A503-4B31-8CB2-DC1B28F456AF}" dt="2025-05-31T19:52:31.979" v="2671"/>
          <ac:spMkLst>
            <pc:docMk/>
            <pc:sldMk cId="1051581664" sldId="332"/>
            <ac:spMk id="57" creationId="{740B9225-4D9B-64F1-265E-C6B2BDF108D4}"/>
          </ac:spMkLst>
        </pc:spChg>
        <pc:spChg chg="mod">
          <ac:chgData name="Jessica Henley" userId="63b1edf9-6e48-442a-9e00-04850b59a756" providerId="ADAL" clId="{D7E2F68E-A503-4B31-8CB2-DC1B28F456AF}" dt="2025-05-31T19:52:31.979" v="2671"/>
          <ac:spMkLst>
            <pc:docMk/>
            <pc:sldMk cId="1051581664" sldId="332"/>
            <ac:spMk id="59" creationId="{7C0BE07B-847C-0CDB-6F9E-D632C7B25CD3}"/>
          </ac:spMkLst>
        </pc:spChg>
        <pc:spChg chg="mod">
          <ac:chgData name="Jessica Henley" userId="63b1edf9-6e48-442a-9e00-04850b59a756" providerId="ADAL" clId="{D7E2F68E-A503-4B31-8CB2-DC1B28F456AF}" dt="2025-05-31T19:52:31.979" v="2671"/>
          <ac:spMkLst>
            <pc:docMk/>
            <pc:sldMk cId="1051581664" sldId="332"/>
            <ac:spMk id="60" creationId="{530544D3-28AC-125A-86DA-A481C031F12E}"/>
          </ac:spMkLst>
        </pc:spChg>
        <pc:spChg chg="mod">
          <ac:chgData name="Jessica Henley" userId="63b1edf9-6e48-442a-9e00-04850b59a756" providerId="ADAL" clId="{D7E2F68E-A503-4B31-8CB2-DC1B28F456AF}" dt="2025-05-31T19:52:31.979" v="2671"/>
          <ac:spMkLst>
            <pc:docMk/>
            <pc:sldMk cId="1051581664" sldId="332"/>
            <ac:spMk id="61" creationId="{0F500B97-5A57-7F0A-CA48-F55B71B53506}"/>
          </ac:spMkLst>
        </pc:spChg>
        <pc:spChg chg="mod">
          <ac:chgData name="Jessica Henley" userId="63b1edf9-6e48-442a-9e00-04850b59a756" providerId="ADAL" clId="{D7E2F68E-A503-4B31-8CB2-DC1B28F456AF}" dt="2025-05-31T19:52:31.979" v="2671"/>
          <ac:spMkLst>
            <pc:docMk/>
            <pc:sldMk cId="1051581664" sldId="332"/>
            <ac:spMk id="62" creationId="{7BA8755B-C32F-E889-D8ED-8FDF61CBDA67}"/>
          </ac:spMkLst>
        </pc:spChg>
        <pc:spChg chg="mod">
          <ac:chgData name="Jessica Henley" userId="63b1edf9-6e48-442a-9e00-04850b59a756" providerId="ADAL" clId="{D7E2F68E-A503-4B31-8CB2-DC1B28F456AF}" dt="2025-05-31T19:52:31.979" v="2671"/>
          <ac:spMkLst>
            <pc:docMk/>
            <pc:sldMk cId="1051581664" sldId="332"/>
            <ac:spMk id="63" creationId="{CADE3627-F212-1695-3245-D7C5D998F56A}"/>
          </ac:spMkLst>
        </pc:spChg>
        <pc:spChg chg="mod">
          <ac:chgData name="Jessica Henley" userId="63b1edf9-6e48-442a-9e00-04850b59a756" providerId="ADAL" clId="{D7E2F68E-A503-4B31-8CB2-DC1B28F456AF}" dt="2025-05-31T19:52:31.979" v="2671"/>
          <ac:spMkLst>
            <pc:docMk/>
            <pc:sldMk cId="1051581664" sldId="332"/>
            <ac:spMk id="64" creationId="{C07BBE7D-8BB9-57A4-1D8B-10F6C4D19466}"/>
          </ac:spMkLst>
        </pc:spChg>
        <pc:spChg chg="mod">
          <ac:chgData name="Jessica Henley" userId="63b1edf9-6e48-442a-9e00-04850b59a756" providerId="ADAL" clId="{D7E2F68E-A503-4B31-8CB2-DC1B28F456AF}" dt="2025-05-31T19:52:31.979" v="2671"/>
          <ac:spMkLst>
            <pc:docMk/>
            <pc:sldMk cId="1051581664" sldId="332"/>
            <ac:spMk id="66" creationId="{026A5F11-BA61-294F-36C1-EAC34FA9ACD4}"/>
          </ac:spMkLst>
        </pc:spChg>
        <pc:spChg chg="mod">
          <ac:chgData name="Jessica Henley" userId="63b1edf9-6e48-442a-9e00-04850b59a756" providerId="ADAL" clId="{D7E2F68E-A503-4B31-8CB2-DC1B28F456AF}" dt="2025-05-31T19:52:31.979" v="2671"/>
          <ac:spMkLst>
            <pc:docMk/>
            <pc:sldMk cId="1051581664" sldId="332"/>
            <ac:spMk id="67" creationId="{E4C49F1F-8DDF-1AD9-61B8-17F20291ACF7}"/>
          </ac:spMkLst>
        </pc:spChg>
        <pc:spChg chg="mod">
          <ac:chgData name="Jessica Henley" userId="63b1edf9-6e48-442a-9e00-04850b59a756" providerId="ADAL" clId="{D7E2F68E-A503-4B31-8CB2-DC1B28F456AF}" dt="2025-05-31T19:52:31.979" v="2671"/>
          <ac:spMkLst>
            <pc:docMk/>
            <pc:sldMk cId="1051581664" sldId="332"/>
            <ac:spMk id="69" creationId="{8223E032-0B8B-B812-A960-688D6C9A5876}"/>
          </ac:spMkLst>
        </pc:spChg>
        <pc:grpChg chg="mod">
          <ac:chgData name="Jessica Henley" userId="63b1edf9-6e48-442a-9e00-04850b59a756" providerId="ADAL" clId="{D7E2F68E-A503-4B31-8CB2-DC1B28F456AF}" dt="2025-05-31T19:53:02.219" v="2678" actId="1076"/>
          <ac:grpSpMkLst>
            <pc:docMk/>
            <pc:sldMk cId="1051581664" sldId="332"/>
            <ac:grpSpMk id="2" creationId="{789BDA00-E5DA-294D-379B-A5D107074AF7}"/>
          </ac:grpSpMkLst>
        </pc:grpChg>
        <pc:grpChg chg="add del">
          <ac:chgData name="Jessica Henley" userId="63b1edf9-6e48-442a-9e00-04850b59a756" providerId="ADAL" clId="{D7E2F68E-A503-4B31-8CB2-DC1B28F456AF}" dt="2025-05-31T19:52:40.719" v="2675" actId="478"/>
          <ac:grpSpMkLst>
            <pc:docMk/>
            <pc:sldMk cId="1051581664" sldId="332"/>
            <ac:grpSpMk id="4" creationId="{73566E81-0088-6717-6767-CD64D4C7D64C}"/>
          </ac:grpSpMkLst>
        </pc:grpChg>
      </pc:sldChg>
      <pc:sldChg chg="add del ord">
        <pc:chgData name="Jessica Henley" userId="63b1edf9-6e48-442a-9e00-04850b59a756" providerId="ADAL" clId="{D7E2F68E-A503-4B31-8CB2-DC1B28F456AF}" dt="2025-05-31T19:49:26.344" v="2629" actId="47"/>
        <pc:sldMkLst>
          <pc:docMk/>
          <pc:sldMk cId="4055694182" sldId="332"/>
        </pc:sldMkLst>
      </pc:sldChg>
      <pc:sldChg chg="addSp delSp modSp add mod">
        <pc:chgData name="Jessica Henley" userId="63b1edf9-6e48-442a-9e00-04850b59a756" providerId="ADAL" clId="{D7E2F68E-A503-4B31-8CB2-DC1B28F456AF}" dt="2025-06-01T11:01:36.210" v="3862" actId="1076"/>
        <pc:sldMkLst>
          <pc:docMk/>
          <pc:sldMk cId="1141852911" sldId="333"/>
        </pc:sldMkLst>
        <pc:spChg chg="mod">
          <ac:chgData name="Jessica Henley" userId="63b1edf9-6e48-442a-9e00-04850b59a756" providerId="ADAL" clId="{D7E2F68E-A503-4B31-8CB2-DC1B28F456AF}" dt="2025-05-31T20:45:03.234" v="2997" actId="1076"/>
          <ac:spMkLst>
            <pc:docMk/>
            <pc:sldMk cId="1141852911" sldId="333"/>
            <ac:spMk id="7" creationId="{7D310B29-F342-FDB0-2941-17E0371A7AF4}"/>
          </ac:spMkLst>
        </pc:spChg>
        <pc:spChg chg="mod">
          <ac:chgData name="Jessica Henley" userId="63b1edf9-6e48-442a-9e00-04850b59a756" providerId="ADAL" clId="{D7E2F68E-A503-4B31-8CB2-DC1B28F456AF}" dt="2025-06-01T11:01:36.210" v="3862" actId="1076"/>
          <ac:spMkLst>
            <pc:docMk/>
            <pc:sldMk cId="1141852911" sldId="333"/>
            <ac:spMk id="9" creationId="{AB9B98A9-9259-9C08-4AC9-3412FC32B2C6}"/>
          </ac:spMkLst>
        </pc:spChg>
        <pc:spChg chg="del">
          <ac:chgData name="Jessica Henley" userId="63b1edf9-6e48-442a-9e00-04850b59a756" providerId="ADAL" clId="{D7E2F68E-A503-4B31-8CB2-DC1B28F456AF}" dt="2025-05-31T20:44:04.562" v="2990" actId="478"/>
          <ac:spMkLst>
            <pc:docMk/>
            <pc:sldMk cId="1141852911" sldId="333"/>
            <ac:spMk id="9" creationId="{E94951A4-FBB6-098B-FD20-C0EE59BDE56E}"/>
          </ac:spMkLst>
        </pc:spChg>
        <pc:spChg chg="mod">
          <ac:chgData name="Jessica Henley" userId="63b1edf9-6e48-442a-9e00-04850b59a756" providerId="ADAL" clId="{D7E2F68E-A503-4B31-8CB2-DC1B28F456AF}" dt="2025-05-31T20:42:24.867" v="2981"/>
          <ac:spMkLst>
            <pc:docMk/>
            <pc:sldMk cId="1141852911" sldId="333"/>
            <ac:spMk id="10" creationId="{A1A18AD3-B304-E519-BEDB-4A49C55C8528}"/>
          </ac:spMkLst>
        </pc:spChg>
        <pc:spChg chg="mod">
          <ac:chgData name="Jessica Henley" userId="63b1edf9-6e48-442a-9e00-04850b59a756" providerId="ADAL" clId="{D7E2F68E-A503-4B31-8CB2-DC1B28F456AF}" dt="2025-05-31T20:44:51.499" v="2995" actId="1076"/>
          <ac:spMkLst>
            <pc:docMk/>
            <pc:sldMk cId="1141852911" sldId="333"/>
            <ac:spMk id="11" creationId="{31252E11-0112-64F3-B17D-DCB230FC1076}"/>
          </ac:spMkLst>
        </pc:spChg>
        <pc:spChg chg="del mod">
          <ac:chgData name="Jessica Henley" userId="63b1edf9-6e48-442a-9e00-04850b59a756" providerId="ADAL" clId="{D7E2F68E-A503-4B31-8CB2-DC1B28F456AF}" dt="2025-05-31T20:44:01.289" v="2989" actId="478"/>
          <ac:spMkLst>
            <pc:docMk/>
            <pc:sldMk cId="1141852911" sldId="333"/>
            <ac:spMk id="12" creationId="{1BFF7208-6099-F75B-BD5C-71AD062B8DA5}"/>
          </ac:spMkLst>
        </pc:spChg>
        <pc:spChg chg="mod">
          <ac:chgData name="Jessica Henley" userId="63b1edf9-6e48-442a-9e00-04850b59a756" providerId="ADAL" clId="{D7E2F68E-A503-4B31-8CB2-DC1B28F456AF}" dt="2025-06-01T11:01:36.210" v="3862" actId="1076"/>
          <ac:spMkLst>
            <pc:docMk/>
            <pc:sldMk cId="1141852911" sldId="333"/>
            <ac:spMk id="12" creationId="{63980D88-314D-6009-9026-AE475727CB68}"/>
          </ac:spMkLst>
        </pc:spChg>
        <pc:spChg chg="mod">
          <ac:chgData name="Jessica Henley" userId="63b1edf9-6e48-442a-9e00-04850b59a756" providerId="ADAL" clId="{D7E2F68E-A503-4B31-8CB2-DC1B28F456AF}" dt="2025-05-31T20:41:35.541" v="2954" actId="20577"/>
          <ac:spMkLst>
            <pc:docMk/>
            <pc:sldMk cId="1141852911" sldId="333"/>
            <ac:spMk id="13" creationId="{81AA9821-A9C1-AFC2-C44E-6090011C7CA9}"/>
          </ac:spMkLst>
        </pc:spChg>
        <pc:grpChg chg="add mod">
          <ac:chgData name="Jessica Henley" userId="63b1edf9-6e48-442a-9e00-04850b59a756" providerId="ADAL" clId="{D7E2F68E-A503-4B31-8CB2-DC1B28F456AF}" dt="2025-06-01T11:01:36.210" v="3862" actId="1076"/>
          <ac:grpSpMkLst>
            <pc:docMk/>
            <pc:sldMk cId="1141852911" sldId="333"/>
            <ac:grpSpMk id="4" creationId="{9A6C00A4-AE60-F5FC-DF84-D8EAD6CEF697}"/>
          </ac:grpSpMkLst>
        </pc:grpChg>
        <pc:grpChg chg="mod">
          <ac:chgData name="Jessica Henley" userId="63b1edf9-6e48-442a-9e00-04850b59a756" providerId="ADAL" clId="{D7E2F68E-A503-4B31-8CB2-DC1B28F456AF}" dt="2025-06-01T11:01:36.210" v="3862" actId="1076"/>
          <ac:grpSpMkLst>
            <pc:docMk/>
            <pc:sldMk cId="1141852911" sldId="333"/>
            <ac:grpSpMk id="6" creationId="{09AA9D13-BA59-331A-3514-1387F3A6EFD3}"/>
          </ac:grpSpMkLst>
        </pc:grpChg>
        <pc:grpChg chg="mod">
          <ac:chgData name="Jessica Henley" userId="63b1edf9-6e48-442a-9e00-04850b59a756" providerId="ADAL" clId="{D7E2F68E-A503-4B31-8CB2-DC1B28F456AF}" dt="2025-05-31T20:45:32.830" v="2999" actId="1076"/>
          <ac:grpSpMkLst>
            <pc:docMk/>
            <pc:sldMk cId="1141852911" sldId="333"/>
            <ac:grpSpMk id="14" creationId="{76100213-F5F9-DEB2-B545-2D3641B10005}"/>
          </ac:grpSpMkLst>
        </pc:grpChg>
        <pc:picChg chg="mod">
          <ac:chgData name="Jessica Henley" userId="63b1edf9-6e48-442a-9e00-04850b59a756" providerId="ADAL" clId="{D7E2F68E-A503-4B31-8CB2-DC1B28F456AF}" dt="2025-06-01T11:01:36.210" v="3862" actId="1076"/>
          <ac:picMkLst>
            <pc:docMk/>
            <pc:sldMk cId="1141852911" sldId="333"/>
            <ac:picMk id="8" creationId="{C75CF03A-019D-67D7-83C4-508418C4B963}"/>
          </ac:picMkLst>
        </pc:picChg>
        <pc:cxnChg chg="mod">
          <ac:chgData name="Jessica Henley" userId="63b1edf9-6e48-442a-9e00-04850b59a756" providerId="ADAL" clId="{D7E2F68E-A503-4B31-8CB2-DC1B28F456AF}" dt="2025-05-31T20:45:19.664" v="2998" actId="1076"/>
          <ac:cxnSpMkLst>
            <pc:docMk/>
            <pc:sldMk cId="1141852911" sldId="333"/>
            <ac:cxnSpMk id="2" creationId="{5F8EBED7-8525-D517-2507-E7CBF3109590}"/>
          </ac:cxnSpMkLst>
        </pc:cxnChg>
        <pc:cxnChg chg="del">
          <ac:chgData name="Jessica Henley" userId="63b1edf9-6e48-442a-9e00-04850b59a756" providerId="ADAL" clId="{D7E2F68E-A503-4B31-8CB2-DC1B28F456AF}" dt="2025-05-31T20:44:15.202" v="2991" actId="478"/>
          <ac:cxnSpMkLst>
            <pc:docMk/>
            <pc:sldMk cId="1141852911" sldId="333"/>
            <ac:cxnSpMk id="17" creationId="{F30F075D-EF46-B81D-4CD0-AE5FDAB9DAB9}"/>
          </ac:cxnSpMkLst>
        </pc:cxnChg>
      </pc:sldChg>
      <pc:sldChg chg="new del">
        <pc:chgData name="Jessica Henley" userId="63b1edf9-6e48-442a-9e00-04850b59a756" providerId="ADAL" clId="{D7E2F68E-A503-4B31-8CB2-DC1B28F456AF}" dt="2025-06-01T09:37:01.349" v="3027" actId="2696"/>
        <pc:sldMkLst>
          <pc:docMk/>
          <pc:sldMk cId="557617551" sldId="334"/>
        </pc:sldMkLst>
      </pc:sldChg>
      <pc:sldChg chg="addSp delSp modSp add mod modShow">
        <pc:chgData name="Jessica Henley" userId="63b1edf9-6e48-442a-9e00-04850b59a756" providerId="ADAL" clId="{D7E2F68E-A503-4B31-8CB2-DC1B28F456AF}" dt="2025-06-01T14:32:23.938" v="5579" actId="729"/>
        <pc:sldMkLst>
          <pc:docMk/>
          <pc:sldMk cId="4116684460" sldId="335"/>
        </pc:sldMkLst>
        <pc:spChg chg="del mod">
          <ac:chgData name="Jessica Henley" userId="63b1edf9-6e48-442a-9e00-04850b59a756" providerId="ADAL" clId="{D7E2F68E-A503-4B31-8CB2-DC1B28F456AF}" dt="2025-06-01T09:35:59.008" v="3019" actId="478"/>
          <ac:spMkLst>
            <pc:docMk/>
            <pc:sldMk cId="4116684460" sldId="335"/>
            <ac:spMk id="3" creationId="{44885C61-72C3-6E1A-5400-20CEEA2EE7CC}"/>
          </ac:spMkLst>
        </pc:spChg>
        <pc:spChg chg="mod">
          <ac:chgData name="Jessica Henley" userId="63b1edf9-6e48-442a-9e00-04850b59a756" providerId="ADAL" clId="{D7E2F68E-A503-4B31-8CB2-DC1B28F456AF}" dt="2025-06-01T09:36:45.320" v="3024"/>
          <ac:spMkLst>
            <pc:docMk/>
            <pc:sldMk cId="4116684460" sldId="335"/>
            <ac:spMk id="4" creationId="{15D9DBBB-B387-ECF9-C036-FEDD0367F40E}"/>
          </ac:spMkLst>
        </pc:spChg>
        <pc:spChg chg="mod">
          <ac:chgData name="Jessica Henley" userId="63b1edf9-6e48-442a-9e00-04850b59a756" providerId="ADAL" clId="{D7E2F68E-A503-4B31-8CB2-DC1B28F456AF}" dt="2025-06-01T11:01:13.266" v="3859"/>
          <ac:spMkLst>
            <pc:docMk/>
            <pc:sldMk cId="4116684460" sldId="335"/>
            <ac:spMk id="7" creationId="{AB9B98A9-9259-9C08-4AC9-3412FC32B2C6}"/>
          </ac:spMkLst>
        </pc:spChg>
        <pc:spChg chg="mod">
          <ac:chgData name="Jessica Henley" userId="63b1edf9-6e48-442a-9e00-04850b59a756" providerId="ADAL" clId="{D7E2F68E-A503-4B31-8CB2-DC1B28F456AF}" dt="2025-06-01T11:01:13.266" v="3859"/>
          <ac:spMkLst>
            <pc:docMk/>
            <pc:sldMk cId="4116684460" sldId="335"/>
            <ac:spMk id="8" creationId="{63980D88-314D-6009-9026-AE475727CB68}"/>
          </ac:spMkLst>
        </pc:spChg>
        <pc:spChg chg="mod">
          <ac:chgData name="Jessica Henley" userId="63b1edf9-6e48-442a-9e00-04850b59a756" providerId="ADAL" clId="{D7E2F68E-A503-4B31-8CB2-DC1B28F456AF}" dt="2025-06-01T11:04:05.826" v="3870"/>
          <ac:spMkLst>
            <pc:docMk/>
            <pc:sldMk cId="4116684460" sldId="335"/>
            <ac:spMk id="19" creationId="{4A279E8D-0355-31B2-861B-D678247A4455}"/>
          </ac:spMkLst>
        </pc:spChg>
        <pc:spChg chg="mod">
          <ac:chgData name="Jessica Henley" userId="63b1edf9-6e48-442a-9e00-04850b59a756" providerId="ADAL" clId="{D7E2F68E-A503-4B31-8CB2-DC1B28F456AF}" dt="2025-06-01T11:04:05.826" v="3870"/>
          <ac:spMkLst>
            <pc:docMk/>
            <pc:sldMk cId="4116684460" sldId="335"/>
            <ac:spMk id="23" creationId="{054C88D8-7CB8-C604-649A-60FB2DC46200}"/>
          </ac:spMkLst>
        </pc:spChg>
        <pc:spChg chg="mod">
          <ac:chgData name="Jessica Henley" userId="63b1edf9-6e48-442a-9e00-04850b59a756" providerId="ADAL" clId="{D7E2F68E-A503-4B31-8CB2-DC1B28F456AF}" dt="2025-06-01T11:04:05.826" v="3870"/>
          <ac:spMkLst>
            <pc:docMk/>
            <pc:sldMk cId="4116684460" sldId="335"/>
            <ac:spMk id="24" creationId="{6275A53E-69F8-865D-8D15-6DF96C4A82DB}"/>
          </ac:spMkLst>
        </pc:spChg>
        <pc:spChg chg="mod">
          <ac:chgData name="Jessica Henley" userId="63b1edf9-6e48-442a-9e00-04850b59a756" providerId="ADAL" clId="{D7E2F68E-A503-4B31-8CB2-DC1B28F456AF}" dt="2025-06-01T11:04:05.826" v="3870"/>
          <ac:spMkLst>
            <pc:docMk/>
            <pc:sldMk cId="4116684460" sldId="335"/>
            <ac:spMk id="25" creationId="{8F97EE04-8372-0688-82FE-7F62C19C826D}"/>
          </ac:spMkLst>
        </pc:spChg>
        <pc:spChg chg="mod">
          <ac:chgData name="Jessica Henley" userId="63b1edf9-6e48-442a-9e00-04850b59a756" providerId="ADAL" clId="{D7E2F68E-A503-4B31-8CB2-DC1B28F456AF}" dt="2025-06-01T09:36:45.320" v="3024"/>
          <ac:spMkLst>
            <pc:docMk/>
            <pc:sldMk cId="4116684460" sldId="335"/>
            <ac:spMk id="29" creationId="{68D5A2B2-DCEC-AFE4-EF74-23E9023FB4ED}"/>
          </ac:spMkLst>
        </pc:spChg>
        <pc:grpChg chg="add mod">
          <ac:chgData name="Jessica Henley" userId="63b1edf9-6e48-442a-9e00-04850b59a756" providerId="ADAL" clId="{D7E2F68E-A503-4B31-8CB2-DC1B28F456AF}" dt="2025-06-01T11:01:11.736" v="3858" actId="164"/>
          <ac:grpSpMkLst>
            <pc:docMk/>
            <pc:sldMk cId="4116684460" sldId="335"/>
            <ac:grpSpMk id="2" creationId="{AFD9D4CC-F10B-8856-EBD0-D3DD4518735C}"/>
          </ac:grpSpMkLst>
        </pc:grpChg>
        <pc:grpChg chg="add del mod">
          <ac:chgData name="Jessica Henley" userId="63b1edf9-6e48-442a-9e00-04850b59a756" providerId="ADAL" clId="{D7E2F68E-A503-4B31-8CB2-DC1B28F456AF}" dt="2025-06-01T11:01:14.335" v="3860" actId="21"/>
          <ac:grpSpMkLst>
            <pc:docMk/>
            <pc:sldMk cId="4116684460" sldId="335"/>
            <ac:grpSpMk id="3" creationId="{9A6C00A4-AE60-F5FC-DF84-D8EAD6CEF697}"/>
          </ac:grpSpMkLst>
        </pc:grpChg>
        <pc:grpChg chg="mod">
          <ac:chgData name="Jessica Henley" userId="63b1edf9-6e48-442a-9e00-04850b59a756" providerId="ADAL" clId="{D7E2F68E-A503-4B31-8CB2-DC1B28F456AF}" dt="2025-06-01T11:01:13.266" v="3859"/>
          <ac:grpSpMkLst>
            <pc:docMk/>
            <pc:sldMk cId="4116684460" sldId="335"/>
            <ac:grpSpMk id="5" creationId="{09AA9D13-BA59-331A-3514-1387F3A6EFD3}"/>
          </ac:grpSpMkLst>
        </pc:grpChg>
        <pc:grpChg chg="add mod">
          <ac:chgData name="Jessica Henley" userId="63b1edf9-6e48-442a-9e00-04850b59a756" providerId="ADAL" clId="{D7E2F68E-A503-4B31-8CB2-DC1B28F456AF}" dt="2025-06-01T11:01:11.736" v="3858" actId="164"/>
          <ac:grpSpMkLst>
            <pc:docMk/>
            <pc:sldMk cId="4116684460" sldId="335"/>
            <ac:grpSpMk id="12" creationId="{E86ECDF0-CF3B-2CEE-FB62-DAC4AC5E7666}"/>
          </ac:grpSpMkLst>
        </pc:grpChg>
        <pc:grpChg chg="del">
          <ac:chgData name="Jessica Henley" userId="63b1edf9-6e48-442a-9e00-04850b59a756" providerId="ADAL" clId="{D7E2F68E-A503-4B31-8CB2-DC1B28F456AF}" dt="2025-06-01T09:35:55.135" v="3017" actId="478"/>
          <ac:grpSpMkLst>
            <pc:docMk/>
            <pc:sldMk cId="4116684460" sldId="335"/>
            <ac:grpSpMk id="14" creationId="{A3BFE15E-7CCD-29EB-04E9-79B755134AEC}"/>
          </ac:grpSpMkLst>
        </pc:grpChg>
        <pc:grpChg chg="add mod">
          <ac:chgData name="Jessica Henley" userId="63b1edf9-6e48-442a-9e00-04850b59a756" providerId="ADAL" clId="{D7E2F68E-A503-4B31-8CB2-DC1B28F456AF}" dt="2025-06-01T11:04:11.746" v="3871" actId="1076"/>
          <ac:grpSpMkLst>
            <pc:docMk/>
            <pc:sldMk cId="4116684460" sldId="335"/>
            <ac:grpSpMk id="18" creationId="{BB016D5D-8BD2-C5BD-394E-7A9B65AB321E}"/>
          </ac:grpSpMkLst>
        </pc:grpChg>
        <pc:grpChg chg="mod">
          <ac:chgData name="Jessica Henley" userId="63b1edf9-6e48-442a-9e00-04850b59a756" providerId="ADAL" clId="{D7E2F68E-A503-4B31-8CB2-DC1B28F456AF}" dt="2025-06-01T11:04:05.826" v="3870"/>
          <ac:grpSpMkLst>
            <pc:docMk/>
            <pc:sldMk cId="4116684460" sldId="335"/>
            <ac:grpSpMk id="20" creationId="{725644FB-2F7B-1488-3E00-33E94C80B16C}"/>
          </ac:grpSpMkLst>
        </pc:grpChg>
        <pc:picChg chg="mod">
          <ac:chgData name="Jessica Henley" userId="63b1edf9-6e48-442a-9e00-04850b59a756" providerId="ADAL" clId="{D7E2F68E-A503-4B31-8CB2-DC1B28F456AF}" dt="2025-06-01T11:01:13.266" v="3859"/>
          <ac:picMkLst>
            <pc:docMk/>
            <pc:sldMk cId="4116684460" sldId="335"/>
            <ac:picMk id="6" creationId="{C75CF03A-019D-67D7-83C4-508418C4B963}"/>
          </ac:picMkLst>
        </pc:picChg>
        <pc:picChg chg="mod">
          <ac:chgData name="Jessica Henley" userId="63b1edf9-6e48-442a-9e00-04850b59a756" providerId="ADAL" clId="{D7E2F68E-A503-4B31-8CB2-DC1B28F456AF}" dt="2025-06-01T11:04:05.826" v="3870"/>
          <ac:picMkLst>
            <pc:docMk/>
            <pc:sldMk cId="4116684460" sldId="335"/>
            <ac:picMk id="26" creationId="{58B978B8-83FB-E893-369E-DA6BA210A853}"/>
          </ac:picMkLst>
        </pc:picChg>
        <pc:picChg chg="mod">
          <ac:chgData name="Jessica Henley" userId="63b1edf9-6e48-442a-9e00-04850b59a756" providerId="ADAL" clId="{D7E2F68E-A503-4B31-8CB2-DC1B28F456AF}" dt="2025-06-01T11:04:05.826" v="3870"/>
          <ac:picMkLst>
            <pc:docMk/>
            <pc:sldMk cId="4116684460" sldId="335"/>
            <ac:picMk id="27" creationId="{7638DE3C-2226-DF8E-52FE-4D4E64B34CB6}"/>
          </ac:picMkLst>
        </pc:picChg>
        <pc:picChg chg="mod">
          <ac:chgData name="Jessica Henley" userId="63b1edf9-6e48-442a-9e00-04850b59a756" providerId="ADAL" clId="{D7E2F68E-A503-4B31-8CB2-DC1B28F456AF}" dt="2025-06-01T11:04:05.826" v="3870"/>
          <ac:picMkLst>
            <pc:docMk/>
            <pc:sldMk cId="4116684460" sldId="335"/>
            <ac:picMk id="28" creationId="{A7A396C4-DD97-3CA3-EF91-E17CAF769FC2}"/>
          </ac:picMkLst>
        </pc:picChg>
        <pc:picChg chg="add mod">
          <ac:chgData name="Jessica Henley" userId="63b1edf9-6e48-442a-9e00-04850b59a756" providerId="ADAL" clId="{D7E2F68E-A503-4B31-8CB2-DC1B28F456AF}" dt="2025-06-01T11:01:11.736" v="3858" actId="164"/>
          <ac:picMkLst>
            <pc:docMk/>
            <pc:sldMk cId="4116684460" sldId="335"/>
            <ac:picMk id="30" creationId="{7B3348F4-6F43-560C-474E-C3002B96BCC8}"/>
          </ac:picMkLst>
        </pc:picChg>
      </pc:sldChg>
      <pc:sldChg chg="addSp delSp modSp add mod modAnim modNotesTx">
        <pc:chgData name="Jessica Henley" userId="63b1edf9-6e48-442a-9e00-04850b59a756" providerId="ADAL" clId="{D7E2F68E-A503-4B31-8CB2-DC1B28F456AF}" dt="2025-06-01T15:49:04.525" v="5884" actId="20577"/>
        <pc:sldMkLst>
          <pc:docMk/>
          <pc:sldMk cId="57253700" sldId="336"/>
        </pc:sldMkLst>
        <pc:spChg chg="add mod topLvl">
          <ac:chgData name="Jessica Henley" userId="63b1edf9-6e48-442a-9e00-04850b59a756" providerId="ADAL" clId="{D7E2F68E-A503-4B31-8CB2-DC1B28F456AF}" dt="2025-06-01T10:07:52.485" v="3191" actId="164"/>
          <ac:spMkLst>
            <pc:docMk/>
            <pc:sldMk cId="57253700" sldId="336"/>
            <ac:spMk id="2" creationId="{71EBB04F-5210-2B20-4271-417AF5A1B6CE}"/>
          </ac:spMkLst>
        </pc:spChg>
        <pc:spChg chg="add mod topLvl">
          <ac:chgData name="Jessica Henley" userId="63b1edf9-6e48-442a-9e00-04850b59a756" providerId="ADAL" clId="{D7E2F68E-A503-4B31-8CB2-DC1B28F456AF}" dt="2025-06-01T10:07:52.485" v="3191" actId="164"/>
          <ac:spMkLst>
            <pc:docMk/>
            <pc:sldMk cId="57253700" sldId="336"/>
            <ac:spMk id="3" creationId="{65D6E206-8252-5E5B-4963-3BFAF2124325}"/>
          </ac:spMkLst>
        </pc:spChg>
        <pc:spChg chg="mod topLvl">
          <ac:chgData name="Jessica Henley" userId="63b1edf9-6e48-442a-9e00-04850b59a756" providerId="ADAL" clId="{D7E2F68E-A503-4B31-8CB2-DC1B28F456AF}" dt="2025-06-01T11:03:58.256" v="3867" actId="164"/>
          <ac:spMkLst>
            <pc:docMk/>
            <pc:sldMk cId="57253700" sldId="336"/>
            <ac:spMk id="4" creationId="{A706E49B-9BE5-B0B3-4723-57D995494409}"/>
          </ac:spMkLst>
        </pc:spChg>
        <pc:spChg chg="mod">
          <ac:chgData name="Jessica Henley" userId="63b1edf9-6e48-442a-9e00-04850b59a756" providerId="ADAL" clId="{D7E2F68E-A503-4B31-8CB2-DC1B28F456AF}" dt="2025-06-01T11:04:00.919" v="3868"/>
          <ac:spMkLst>
            <pc:docMk/>
            <pc:sldMk cId="57253700" sldId="336"/>
            <ac:spMk id="19" creationId="{4A279E8D-0355-31B2-861B-D678247A4455}"/>
          </ac:spMkLst>
        </pc:spChg>
        <pc:spChg chg="mod">
          <ac:chgData name="Jessica Henley" userId="63b1edf9-6e48-442a-9e00-04850b59a756" providerId="ADAL" clId="{D7E2F68E-A503-4B31-8CB2-DC1B28F456AF}" dt="2025-06-01T11:04:00.919" v="3868"/>
          <ac:spMkLst>
            <pc:docMk/>
            <pc:sldMk cId="57253700" sldId="336"/>
            <ac:spMk id="23" creationId="{054C88D8-7CB8-C604-649A-60FB2DC46200}"/>
          </ac:spMkLst>
        </pc:spChg>
        <pc:spChg chg="mod">
          <ac:chgData name="Jessica Henley" userId="63b1edf9-6e48-442a-9e00-04850b59a756" providerId="ADAL" clId="{D7E2F68E-A503-4B31-8CB2-DC1B28F456AF}" dt="2025-06-01T11:04:00.919" v="3868"/>
          <ac:spMkLst>
            <pc:docMk/>
            <pc:sldMk cId="57253700" sldId="336"/>
            <ac:spMk id="24" creationId="{6275A53E-69F8-865D-8D15-6DF96C4A82DB}"/>
          </ac:spMkLst>
        </pc:spChg>
        <pc:spChg chg="mod">
          <ac:chgData name="Jessica Henley" userId="63b1edf9-6e48-442a-9e00-04850b59a756" providerId="ADAL" clId="{D7E2F68E-A503-4B31-8CB2-DC1B28F456AF}" dt="2025-06-01T11:04:00.919" v="3868"/>
          <ac:spMkLst>
            <pc:docMk/>
            <pc:sldMk cId="57253700" sldId="336"/>
            <ac:spMk id="25" creationId="{8F97EE04-8372-0688-82FE-7F62C19C826D}"/>
          </ac:spMkLst>
        </pc:spChg>
        <pc:spChg chg="mod topLvl">
          <ac:chgData name="Jessica Henley" userId="63b1edf9-6e48-442a-9e00-04850b59a756" providerId="ADAL" clId="{D7E2F68E-A503-4B31-8CB2-DC1B28F456AF}" dt="2025-06-01T10:07:52.485" v="3191" actId="164"/>
          <ac:spMkLst>
            <pc:docMk/>
            <pc:sldMk cId="57253700" sldId="336"/>
            <ac:spMk id="29" creationId="{85530334-92FD-4C7E-FD5D-4AC14EDE5497}"/>
          </ac:spMkLst>
        </pc:spChg>
        <pc:grpChg chg="del mod">
          <ac:chgData name="Jessica Henley" userId="63b1edf9-6e48-442a-9e00-04850b59a756" providerId="ADAL" clId="{D7E2F68E-A503-4B31-8CB2-DC1B28F456AF}" dt="2025-06-01T10:06:22.245" v="3181" actId="165"/>
          <ac:grpSpMkLst>
            <pc:docMk/>
            <pc:sldMk cId="57253700" sldId="336"/>
            <ac:grpSpMk id="12" creationId="{47178F08-8122-D173-3C94-B6BB406AF250}"/>
          </ac:grpSpMkLst>
        </pc:grpChg>
        <pc:grpChg chg="add mod">
          <ac:chgData name="Jessica Henley" userId="63b1edf9-6e48-442a-9e00-04850b59a756" providerId="ADAL" clId="{D7E2F68E-A503-4B31-8CB2-DC1B28F456AF}" dt="2025-06-01T11:03:58.256" v="3867" actId="164"/>
          <ac:grpSpMkLst>
            <pc:docMk/>
            <pc:sldMk cId="57253700" sldId="336"/>
            <ac:grpSpMk id="14" creationId="{754ED242-EC3D-7A30-658B-387BD1D57F31}"/>
          </ac:grpSpMkLst>
        </pc:grpChg>
        <pc:grpChg chg="add mod">
          <ac:chgData name="Jessica Henley" userId="63b1edf9-6e48-442a-9e00-04850b59a756" providerId="ADAL" clId="{D7E2F68E-A503-4B31-8CB2-DC1B28F456AF}" dt="2025-06-01T11:03:58.256" v="3867" actId="164"/>
          <ac:grpSpMkLst>
            <pc:docMk/>
            <pc:sldMk cId="57253700" sldId="336"/>
            <ac:grpSpMk id="17" creationId="{57CD5059-9EC2-7DCF-73C5-E22810CF084C}"/>
          </ac:grpSpMkLst>
        </pc:grpChg>
        <pc:grpChg chg="add del mod">
          <ac:chgData name="Jessica Henley" userId="63b1edf9-6e48-442a-9e00-04850b59a756" providerId="ADAL" clId="{D7E2F68E-A503-4B31-8CB2-DC1B28F456AF}" dt="2025-06-01T11:04:02.077" v="3869" actId="21"/>
          <ac:grpSpMkLst>
            <pc:docMk/>
            <pc:sldMk cId="57253700" sldId="336"/>
            <ac:grpSpMk id="18" creationId="{BB016D5D-8BD2-C5BD-394E-7A9B65AB321E}"/>
          </ac:grpSpMkLst>
        </pc:grpChg>
        <pc:grpChg chg="mod">
          <ac:chgData name="Jessica Henley" userId="63b1edf9-6e48-442a-9e00-04850b59a756" providerId="ADAL" clId="{D7E2F68E-A503-4B31-8CB2-DC1B28F456AF}" dt="2025-06-01T11:04:00.919" v="3868"/>
          <ac:grpSpMkLst>
            <pc:docMk/>
            <pc:sldMk cId="57253700" sldId="336"/>
            <ac:grpSpMk id="20" creationId="{725644FB-2F7B-1488-3E00-33E94C80B16C}"/>
          </ac:grpSpMkLst>
        </pc:grpChg>
        <pc:picChg chg="add del mod">
          <ac:chgData name="Jessica Henley" userId="63b1edf9-6e48-442a-9e00-04850b59a756" providerId="ADAL" clId="{D7E2F68E-A503-4B31-8CB2-DC1B28F456AF}" dt="2025-06-01T09:55:47.366" v="3150" actId="478"/>
          <ac:picMkLst>
            <pc:docMk/>
            <pc:sldMk cId="57253700" sldId="336"/>
            <ac:picMk id="6" creationId="{3D6DE2A8-A0C2-DD57-1298-7831B78549AF}"/>
          </ac:picMkLst>
        </pc:picChg>
        <pc:picChg chg="add mod">
          <ac:chgData name="Jessica Henley" userId="63b1edf9-6e48-442a-9e00-04850b59a756" providerId="ADAL" clId="{D7E2F68E-A503-4B31-8CB2-DC1B28F456AF}" dt="2025-06-01T11:03:37.884" v="3866" actId="14861"/>
          <ac:picMkLst>
            <pc:docMk/>
            <pc:sldMk cId="57253700" sldId="336"/>
            <ac:picMk id="8" creationId="{DBF9BAC2-C136-485A-5230-49878621B1FB}"/>
          </ac:picMkLst>
        </pc:picChg>
        <pc:picChg chg="add mod">
          <ac:chgData name="Jessica Henley" userId="63b1edf9-6e48-442a-9e00-04850b59a756" providerId="ADAL" clId="{D7E2F68E-A503-4B31-8CB2-DC1B28F456AF}" dt="2025-06-01T11:03:31.156" v="3865" actId="14861"/>
          <ac:picMkLst>
            <pc:docMk/>
            <pc:sldMk cId="57253700" sldId="336"/>
            <ac:picMk id="10" creationId="{ED99C0F2-80BC-2B56-9E74-4FEF21D4F94C}"/>
          </ac:picMkLst>
        </pc:picChg>
        <pc:picChg chg="add mod">
          <ac:chgData name="Jessica Henley" userId="63b1edf9-6e48-442a-9e00-04850b59a756" providerId="ADAL" clId="{D7E2F68E-A503-4B31-8CB2-DC1B28F456AF}" dt="2025-06-01T11:02:46.078" v="3864" actId="14861"/>
          <ac:picMkLst>
            <pc:docMk/>
            <pc:sldMk cId="57253700" sldId="336"/>
            <ac:picMk id="13" creationId="{7A0473CA-7876-8D0C-0909-9668A906B61B}"/>
          </ac:picMkLst>
        </pc:picChg>
        <pc:picChg chg="add del mod">
          <ac:chgData name="Jessica Henley" userId="63b1edf9-6e48-442a-9e00-04850b59a756" providerId="ADAL" clId="{D7E2F68E-A503-4B31-8CB2-DC1B28F456AF}" dt="2025-06-01T10:10:02.376" v="3198" actId="478"/>
          <ac:picMkLst>
            <pc:docMk/>
            <pc:sldMk cId="57253700" sldId="336"/>
            <ac:picMk id="15" creationId="{AD344DFC-B873-2AD2-0525-777DE8AE4F01}"/>
          </ac:picMkLst>
        </pc:picChg>
        <pc:picChg chg="mod">
          <ac:chgData name="Jessica Henley" userId="63b1edf9-6e48-442a-9e00-04850b59a756" providerId="ADAL" clId="{D7E2F68E-A503-4B31-8CB2-DC1B28F456AF}" dt="2025-06-01T11:04:00.919" v="3868"/>
          <ac:picMkLst>
            <pc:docMk/>
            <pc:sldMk cId="57253700" sldId="336"/>
            <ac:picMk id="26" creationId="{58B978B8-83FB-E893-369E-DA6BA210A853}"/>
          </ac:picMkLst>
        </pc:picChg>
        <pc:picChg chg="mod">
          <ac:chgData name="Jessica Henley" userId="63b1edf9-6e48-442a-9e00-04850b59a756" providerId="ADAL" clId="{D7E2F68E-A503-4B31-8CB2-DC1B28F456AF}" dt="2025-06-01T11:04:00.919" v="3868"/>
          <ac:picMkLst>
            <pc:docMk/>
            <pc:sldMk cId="57253700" sldId="336"/>
            <ac:picMk id="27" creationId="{7638DE3C-2226-DF8E-52FE-4D4E64B34CB6}"/>
          </ac:picMkLst>
        </pc:picChg>
        <pc:picChg chg="mod">
          <ac:chgData name="Jessica Henley" userId="63b1edf9-6e48-442a-9e00-04850b59a756" providerId="ADAL" clId="{D7E2F68E-A503-4B31-8CB2-DC1B28F456AF}" dt="2025-06-01T11:04:00.919" v="3868"/>
          <ac:picMkLst>
            <pc:docMk/>
            <pc:sldMk cId="57253700" sldId="336"/>
            <ac:picMk id="28" creationId="{A7A396C4-DD97-3CA3-EF91-E17CAF769FC2}"/>
          </ac:picMkLst>
        </pc:picChg>
        <pc:picChg chg="del">
          <ac:chgData name="Jessica Henley" userId="63b1edf9-6e48-442a-9e00-04850b59a756" providerId="ADAL" clId="{D7E2F68E-A503-4B31-8CB2-DC1B28F456AF}" dt="2025-06-01T09:38:48.126" v="3086" actId="478"/>
          <ac:picMkLst>
            <pc:docMk/>
            <pc:sldMk cId="57253700" sldId="336"/>
            <ac:picMk id="30" creationId="{63897935-5D4B-8C62-60D5-558D7EFAEF38}"/>
          </ac:picMkLst>
        </pc:picChg>
      </pc:sldChg>
      <pc:sldChg chg="addSp delSp modSp add mod delAnim modNotesTx">
        <pc:chgData name="Jessica Henley" userId="63b1edf9-6e48-442a-9e00-04850b59a756" providerId="ADAL" clId="{D7E2F68E-A503-4B31-8CB2-DC1B28F456AF}" dt="2025-06-01T14:34:01.475" v="5585"/>
        <pc:sldMkLst>
          <pc:docMk/>
          <pc:sldMk cId="3814022716" sldId="337"/>
        </pc:sldMkLst>
        <pc:spChg chg="mod">
          <ac:chgData name="Jessica Henley" userId="63b1edf9-6e48-442a-9e00-04850b59a756" providerId="ADAL" clId="{D7E2F68E-A503-4B31-8CB2-DC1B28F456AF}" dt="2025-06-01T10:15:47.179" v="3231" actId="1076"/>
          <ac:spMkLst>
            <pc:docMk/>
            <pc:sldMk cId="3814022716" sldId="337"/>
            <ac:spMk id="4" creationId="{020D2775-5994-A67E-403C-C7639C9FE548}"/>
          </ac:spMkLst>
        </pc:spChg>
        <pc:spChg chg="mod">
          <ac:chgData name="Jessica Henley" userId="63b1edf9-6e48-442a-9e00-04850b59a756" providerId="ADAL" clId="{D7E2F68E-A503-4B31-8CB2-DC1B28F456AF}" dt="2025-06-01T11:05:12.504" v="3875"/>
          <ac:spMkLst>
            <pc:docMk/>
            <pc:sldMk cId="3814022716" sldId="337"/>
            <ac:spMk id="18" creationId="{2235FB4F-4BA7-ADF6-0288-087BDB68EE74}"/>
          </ac:spMkLst>
        </pc:spChg>
        <pc:spChg chg="mod">
          <ac:chgData name="Jessica Henley" userId="63b1edf9-6e48-442a-9e00-04850b59a756" providerId="ADAL" clId="{D7E2F68E-A503-4B31-8CB2-DC1B28F456AF}" dt="2025-06-01T11:05:12.504" v="3875"/>
          <ac:spMkLst>
            <pc:docMk/>
            <pc:sldMk cId="3814022716" sldId="337"/>
            <ac:spMk id="24" creationId="{4FE726DC-D364-76EB-AC11-8C7224DE0B1F}"/>
          </ac:spMkLst>
        </pc:spChg>
        <pc:spChg chg="mod">
          <ac:chgData name="Jessica Henley" userId="63b1edf9-6e48-442a-9e00-04850b59a756" providerId="ADAL" clId="{D7E2F68E-A503-4B31-8CB2-DC1B28F456AF}" dt="2025-06-01T11:05:12.504" v="3875"/>
          <ac:spMkLst>
            <pc:docMk/>
            <pc:sldMk cId="3814022716" sldId="337"/>
            <ac:spMk id="25" creationId="{AB8A831C-0DA2-9708-0639-E26DB6F1DA17}"/>
          </ac:spMkLst>
        </pc:spChg>
        <pc:spChg chg="mod">
          <ac:chgData name="Jessica Henley" userId="63b1edf9-6e48-442a-9e00-04850b59a756" providerId="ADAL" clId="{D7E2F68E-A503-4B31-8CB2-DC1B28F456AF}" dt="2025-06-01T11:05:12.504" v="3875"/>
          <ac:spMkLst>
            <pc:docMk/>
            <pc:sldMk cId="3814022716" sldId="337"/>
            <ac:spMk id="27" creationId="{5325E39F-DD54-43D2-8004-C52793CFC90C}"/>
          </ac:spMkLst>
        </pc:spChg>
        <pc:spChg chg="mod">
          <ac:chgData name="Jessica Henley" userId="63b1edf9-6e48-442a-9e00-04850b59a756" providerId="ADAL" clId="{D7E2F68E-A503-4B31-8CB2-DC1B28F456AF}" dt="2025-06-01T11:05:12.504" v="3875"/>
          <ac:spMkLst>
            <pc:docMk/>
            <pc:sldMk cId="3814022716" sldId="337"/>
            <ac:spMk id="31" creationId="{35FCAF17-A001-A26E-4CB4-2E677FD6DE38}"/>
          </ac:spMkLst>
        </pc:spChg>
        <pc:spChg chg="mod">
          <ac:chgData name="Jessica Henley" userId="63b1edf9-6e48-442a-9e00-04850b59a756" providerId="ADAL" clId="{D7E2F68E-A503-4B31-8CB2-DC1B28F456AF}" dt="2025-06-01T11:05:12.504" v="3875"/>
          <ac:spMkLst>
            <pc:docMk/>
            <pc:sldMk cId="3814022716" sldId="337"/>
            <ac:spMk id="36" creationId="{2FB709B2-937A-440D-083E-2FC13F888352}"/>
          </ac:spMkLst>
        </pc:spChg>
        <pc:spChg chg="mod">
          <ac:chgData name="Jessica Henley" userId="63b1edf9-6e48-442a-9e00-04850b59a756" providerId="ADAL" clId="{D7E2F68E-A503-4B31-8CB2-DC1B28F456AF}" dt="2025-06-01T11:05:12.504" v="3875"/>
          <ac:spMkLst>
            <pc:docMk/>
            <pc:sldMk cId="3814022716" sldId="337"/>
            <ac:spMk id="38" creationId="{74D39B82-6E8F-03B7-A51E-D1E3DF9A8F12}"/>
          </ac:spMkLst>
        </pc:spChg>
        <pc:spChg chg="mod">
          <ac:chgData name="Jessica Henley" userId="63b1edf9-6e48-442a-9e00-04850b59a756" providerId="ADAL" clId="{D7E2F68E-A503-4B31-8CB2-DC1B28F456AF}" dt="2025-06-01T11:05:12.504" v="3875"/>
          <ac:spMkLst>
            <pc:docMk/>
            <pc:sldMk cId="3814022716" sldId="337"/>
            <ac:spMk id="40" creationId="{2A69048A-C765-742D-BA30-7A18A5732290}"/>
          </ac:spMkLst>
        </pc:spChg>
        <pc:spChg chg="mod">
          <ac:chgData name="Jessica Henley" userId="63b1edf9-6e48-442a-9e00-04850b59a756" providerId="ADAL" clId="{D7E2F68E-A503-4B31-8CB2-DC1B28F456AF}" dt="2025-06-01T11:05:12.504" v="3875"/>
          <ac:spMkLst>
            <pc:docMk/>
            <pc:sldMk cId="3814022716" sldId="337"/>
            <ac:spMk id="43" creationId="{8495EA46-3510-ACE6-CDAD-5787CE00A9D1}"/>
          </ac:spMkLst>
        </pc:spChg>
        <pc:spChg chg="mod">
          <ac:chgData name="Jessica Henley" userId="63b1edf9-6e48-442a-9e00-04850b59a756" providerId="ADAL" clId="{D7E2F68E-A503-4B31-8CB2-DC1B28F456AF}" dt="2025-06-01T11:05:12.504" v="3875"/>
          <ac:spMkLst>
            <pc:docMk/>
            <pc:sldMk cId="3814022716" sldId="337"/>
            <ac:spMk id="44" creationId="{21BE1C95-AD9D-C046-5535-5C9FF45912B2}"/>
          </ac:spMkLst>
        </pc:spChg>
        <pc:grpChg chg="mod">
          <ac:chgData name="Jessica Henley" userId="63b1edf9-6e48-442a-9e00-04850b59a756" providerId="ADAL" clId="{D7E2F68E-A503-4B31-8CB2-DC1B28F456AF}" dt="2025-06-01T11:05:16.843" v="3876" actId="1076"/>
          <ac:grpSpMkLst>
            <pc:docMk/>
            <pc:sldMk cId="3814022716" sldId="337"/>
            <ac:grpSpMk id="12" creationId="{036A7602-6969-E628-0624-CCF6E356D763}"/>
          </ac:grpSpMkLst>
        </pc:grpChg>
        <pc:grpChg chg="del">
          <ac:chgData name="Jessica Henley" userId="63b1edf9-6e48-442a-9e00-04850b59a756" providerId="ADAL" clId="{D7E2F68E-A503-4B31-8CB2-DC1B28F456AF}" dt="2025-06-01T10:10:06.193" v="3199" actId="478"/>
          <ac:grpSpMkLst>
            <pc:docMk/>
            <pc:sldMk cId="3814022716" sldId="337"/>
            <ac:grpSpMk id="14" creationId="{D6A4DBA6-A28B-4D9C-7E6F-D8BAF402A73F}"/>
          </ac:grpSpMkLst>
        </pc:grpChg>
        <pc:picChg chg="mod">
          <ac:chgData name="Jessica Henley" userId="63b1edf9-6e48-442a-9e00-04850b59a756" providerId="ADAL" clId="{D7E2F68E-A503-4B31-8CB2-DC1B28F456AF}" dt="2025-06-01T10:15:32.738" v="3230" actId="14861"/>
          <ac:picMkLst>
            <pc:docMk/>
            <pc:sldMk cId="3814022716" sldId="337"/>
            <ac:picMk id="15" creationId="{EE565EED-6F44-0DEB-6CAD-841F26B78164}"/>
          </ac:picMkLst>
        </pc:picChg>
      </pc:sldChg>
      <pc:sldChg chg="addSp delSp modSp add mod">
        <pc:chgData name="Jessica Henley" userId="63b1edf9-6e48-442a-9e00-04850b59a756" providerId="ADAL" clId="{D7E2F68E-A503-4B31-8CB2-DC1B28F456AF}" dt="2025-06-01T11:05:31.994" v="3880" actId="1076"/>
        <pc:sldMkLst>
          <pc:docMk/>
          <pc:sldMk cId="2765643156" sldId="338"/>
        </pc:sldMkLst>
        <pc:spChg chg="del mod">
          <ac:chgData name="Jessica Henley" userId="63b1edf9-6e48-442a-9e00-04850b59a756" providerId="ADAL" clId="{D7E2F68E-A503-4B31-8CB2-DC1B28F456AF}" dt="2025-06-01T10:17:26.259" v="3236" actId="478"/>
          <ac:spMkLst>
            <pc:docMk/>
            <pc:sldMk cId="2765643156" sldId="338"/>
            <ac:spMk id="4" creationId="{C3090D0E-A66E-59CF-78D6-27799127967A}"/>
          </ac:spMkLst>
        </pc:spChg>
        <pc:spChg chg="add mod">
          <ac:chgData name="Jessica Henley" userId="63b1edf9-6e48-442a-9e00-04850b59a756" providerId="ADAL" clId="{D7E2F68E-A503-4B31-8CB2-DC1B28F456AF}" dt="2025-06-01T11:05:06.365" v="3872" actId="164"/>
          <ac:spMkLst>
            <pc:docMk/>
            <pc:sldMk cId="2765643156" sldId="338"/>
            <ac:spMk id="8" creationId="{33DEC37C-9415-3575-6D31-78841C471687}"/>
          </ac:spMkLst>
        </pc:spChg>
        <pc:spChg chg="add del">
          <ac:chgData name="Jessica Henley" userId="63b1edf9-6e48-442a-9e00-04850b59a756" providerId="ADAL" clId="{D7E2F68E-A503-4B31-8CB2-DC1B28F456AF}" dt="2025-06-01T10:42:40.626" v="3546" actId="22"/>
          <ac:spMkLst>
            <pc:docMk/>
            <pc:sldMk cId="2765643156" sldId="338"/>
            <ac:spMk id="10" creationId="{65D0B8C3-82D1-CE3E-569A-EBEEFA8A9F20}"/>
          </ac:spMkLst>
        </pc:spChg>
        <pc:spChg chg="mod">
          <ac:chgData name="Jessica Henley" userId="63b1edf9-6e48-442a-9e00-04850b59a756" providerId="ADAL" clId="{D7E2F68E-A503-4B31-8CB2-DC1B28F456AF}" dt="2025-06-01T11:05:08.677" v="3873"/>
          <ac:spMkLst>
            <pc:docMk/>
            <pc:sldMk cId="2765643156" sldId="338"/>
            <ac:spMk id="13" creationId="{68D249E5-4E2F-4D36-97DF-F99CEFC0ED1B}"/>
          </ac:spMkLst>
        </pc:spChg>
        <pc:spChg chg="mod">
          <ac:chgData name="Jessica Henley" userId="63b1edf9-6e48-442a-9e00-04850b59a756" providerId="ADAL" clId="{D7E2F68E-A503-4B31-8CB2-DC1B28F456AF}" dt="2025-06-01T11:05:08.677" v="3873"/>
          <ac:spMkLst>
            <pc:docMk/>
            <pc:sldMk cId="2765643156" sldId="338"/>
            <ac:spMk id="18" creationId="{2235FB4F-4BA7-ADF6-0288-087BDB68EE74}"/>
          </ac:spMkLst>
        </pc:spChg>
        <pc:spChg chg="mod">
          <ac:chgData name="Jessica Henley" userId="63b1edf9-6e48-442a-9e00-04850b59a756" providerId="ADAL" clId="{D7E2F68E-A503-4B31-8CB2-DC1B28F456AF}" dt="2025-06-01T11:05:08.677" v="3873"/>
          <ac:spMkLst>
            <pc:docMk/>
            <pc:sldMk cId="2765643156" sldId="338"/>
            <ac:spMk id="24" creationId="{4FE726DC-D364-76EB-AC11-8C7224DE0B1F}"/>
          </ac:spMkLst>
        </pc:spChg>
        <pc:spChg chg="mod">
          <ac:chgData name="Jessica Henley" userId="63b1edf9-6e48-442a-9e00-04850b59a756" providerId="ADAL" clId="{D7E2F68E-A503-4B31-8CB2-DC1B28F456AF}" dt="2025-06-01T11:05:08.677" v="3873"/>
          <ac:spMkLst>
            <pc:docMk/>
            <pc:sldMk cId="2765643156" sldId="338"/>
            <ac:spMk id="30" creationId="{E3E717B4-1055-703C-DB72-0DAA076C394B}"/>
          </ac:spMkLst>
        </pc:spChg>
        <pc:spChg chg="mod">
          <ac:chgData name="Jessica Henley" userId="63b1edf9-6e48-442a-9e00-04850b59a756" providerId="ADAL" clId="{D7E2F68E-A503-4B31-8CB2-DC1B28F456AF}" dt="2025-06-01T11:05:08.677" v="3873"/>
          <ac:spMkLst>
            <pc:docMk/>
            <pc:sldMk cId="2765643156" sldId="338"/>
            <ac:spMk id="31" creationId="{35FCAF17-A001-A26E-4CB4-2E677FD6DE38}"/>
          </ac:spMkLst>
        </pc:spChg>
        <pc:spChg chg="mod">
          <ac:chgData name="Jessica Henley" userId="63b1edf9-6e48-442a-9e00-04850b59a756" providerId="ADAL" clId="{D7E2F68E-A503-4B31-8CB2-DC1B28F456AF}" dt="2025-06-01T11:05:08.677" v="3873"/>
          <ac:spMkLst>
            <pc:docMk/>
            <pc:sldMk cId="2765643156" sldId="338"/>
            <ac:spMk id="32" creationId="{C1607114-1EC5-2D3E-0045-F7D4F6EDE79E}"/>
          </ac:spMkLst>
        </pc:spChg>
        <pc:spChg chg="mod">
          <ac:chgData name="Jessica Henley" userId="63b1edf9-6e48-442a-9e00-04850b59a756" providerId="ADAL" clId="{D7E2F68E-A503-4B31-8CB2-DC1B28F456AF}" dt="2025-06-01T11:05:08.677" v="3873"/>
          <ac:spMkLst>
            <pc:docMk/>
            <pc:sldMk cId="2765643156" sldId="338"/>
            <ac:spMk id="37" creationId="{532FC044-941B-0709-BF07-46E3FF44C1C9}"/>
          </ac:spMkLst>
        </pc:spChg>
        <pc:spChg chg="mod">
          <ac:chgData name="Jessica Henley" userId="63b1edf9-6e48-442a-9e00-04850b59a756" providerId="ADAL" clId="{D7E2F68E-A503-4B31-8CB2-DC1B28F456AF}" dt="2025-06-01T11:05:08.677" v="3873"/>
          <ac:spMkLst>
            <pc:docMk/>
            <pc:sldMk cId="2765643156" sldId="338"/>
            <ac:spMk id="38" creationId="{74D39B82-6E8F-03B7-A51E-D1E3DF9A8F12}"/>
          </ac:spMkLst>
        </pc:spChg>
        <pc:spChg chg="mod">
          <ac:chgData name="Jessica Henley" userId="63b1edf9-6e48-442a-9e00-04850b59a756" providerId="ADAL" clId="{D7E2F68E-A503-4B31-8CB2-DC1B28F456AF}" dt="2025-06-01T11:05:08.677" v="3873"/>
          <ac:spMkLst>
            <pc:docMk/>
            <pc:sldMk cId="2765643156" sldId="338"/>
            <ac:spMk id="41" creationId="{32EF16C9-9DCA-12DC-70EA-7E5C66BAA7D0}"/>
          </ac:spMkLst>
        </pc:spChg>
        <pc:spChg chg="mod">
          <ac:chgData name="Jessica Henley" userId="63b1edf9-6e48-442a-9e00-04850b59a756" providerId="ADAL" clId="{D7E2F68E-A503-4B31-8CB2-DC1B28F456AF}" dt="2025-06-01T11:05:08.677" v="3873"/>
          <ac:spMkLst>
            <pc:docMk/>
            <pc:sldMk cId="2765643156" sldId="338"/>
            <ac:spMk id="44" creationId="{21BE1C95-AD9D-C046-5535-5C9FF45912B2}"/>
          </ac:spMkLst>
        </pc:spChg>
        <pc:spChg chg="mod">
          <ac:chgData name="Jessica Henley" userId="63b1edf9-6e48-442a-9e00-04850b59a756" providerId="ADAL" clId="{D7E2F68E-A503-4B31-8CB2-DC1B28F456AF}" dt="2025-06-01T11:05:06.365" v="3872" actId="164"/>
          <ac:spMkLst>
            <pc:docMk/>
            <pc:sldMk cId="2765643156" sldId="338"/>
            <ac:spMk id="51" creationId="{5D3E4C0F-FC3B-3A8A-75C7-116DD74F9252}"/>
          </ac:spMkLst>
        </pc:spChg>
        <pc:spChg chg="del">
          <ac:chgData name="Jessica Henley" userId="63b1edf9-6e48-442a-9e00-04850b59a756" providerId="ADAL" clId="{D7E2F68E-A503-4B31-8CB2-DC1B28F456AF}" dt="2025-06-01T10:21:17.607" v="3270" actId="478"/>
          <ac:spMkLst>
            <pc:docMk/>
            <pc:sldMk cId="2765643156" sldId="338"/>
            <ac:spMk id="60" creationId="{74358380-ACA3-DD5E-E3F9-2C603522B922}"/>
          </ac:spMkLst>
        </pc:spChg>
        <pc:spChg chg="mod">
          <ac:chgData name="Jessica Henley" userId="63b1edf9-6e48-442a-9e00-04850b59a756" providerId="ADAL" clId="{D7E2F68E-A503-4B31-8CB2-DC1B28F456AF}" dt="2025-06-01T10:49:03.405" v="3746"/>
          <ac:spMkLst>
            <pc:docMk/>
            <pc:sldMk cId="2765643156" sldId="338"/>
            <ac:spMk id="62" creationId="{3469D3ED-46E6-5564-50EA-6D819A2F0C96}"/>
          </ac:spMkLst>
        </pc:spChg>
        <pc:spChg chg="mod">
          <ac:chgData name="Jessica Henley" userId="63b1edf9-6e48-442a-9e00-04850b59a756" providerId="ADAL" clId="{D7E2F68E-A503-4B31-8CB2-DC1B28F456AF}" dt="2025-06-01T10:55:56.737" v="3826"/>
          <ac:spMkLst>
            <pc:docMk/>
            <pc:sldMk cId="2765643156" sldId="338"/>
            <ac:spMk id="63" creationId="{15E7E710-06FF-39C6-2C66-90FEF65B31E8}"/>
          </ac:spMkLst>
        </pc:spChg>
        <pc:spChg chg="del mod">
          <ac:chgData name="Jessica Henley" userId="63b1edf9-6e48-442a-9e00-04850b59a756" providerId="ADAL" clId="{D7E2F68E-A503-4B31-8CB2-DC1B28F456AF}" dt="2025-06-01T10:21:02.083" v="3268" actId="478"/>
          <ac:spMkLst>
            <pc:docMk/>
            <pc:sldMk cId="2765643156" sldId="338"/>
            <ac:spMk id="65" creationId="{A305DC71-9C50-8968-0212-9CB21DE755B9}"/>
          </ac:spMkLst>
        </pc:spChg>
        <pc:spChg chg="mod">
          <ac:chgData name="Jessica Henley" userId="63b1edf9-6e48-442a-9e00-04850b59a756" providerId="ADAL" clId="{D7E2F68E-A503-4B31-8CB2-DC1B28F456AF}" dt="2025-06-01T10:50:54.593" v="3796" actId="404"/>
          <ac:spMkLst>
            <pc:docMk/>
            <pc:sldMk cId="2765643156" sldId="338"/>
            <ac:spMk id="67" creationId="{0A5EA7DE-034D-EA3E-67E6-D11682B8A78C}"/>
          </ac:spMkLst>
        </pc:spChg>
        <pc:spChg chg="mod">
          <ac:chgData name="Jessica Henley" userId="63b1edf9-6e48-442a-9e00-04850b59a756" providerId="ADAL" clId="{D7E2F68E-A503-4B31-8CB2-DC1B28F456AF}" dt="2025-06-01T10:55:59.618" v="3827"/>
          <ac:spMkLst>
            <pc:docMk/>
            <pc:sldMk cId="2765643156" sldId="338"/>
            <ac:spMk id="68" creationId="{AADFA3A1-3A8A-7E32-8952-1E14FF68B99B}"/>
          </ac:spMkLst>
        </pc:spChg>
        <pc:spChg chg="mod">
          <ac:chgData name="Jessica Henley" userId="63b1edf9-6e48-442a-9e00-04850b59a756" providerId="ADAL" clId="{D7E2F68E-A503-4B31-8CB2-DC1B28F456AF}" dt="2025-06-01T10:19:06.795" v="3242" actId="165"/>
          <ac:spMkLst>
            <pc:docMk/>
            <pc:sldMk cId="2765643156" sldId="338"/>
            <ac:spMk id="69" creationId="{01131CC5-EF57-894E-506A-CD8454BC3355}"/>
          </ac:spMkLst>
        </pc:spChg>
        <pc:spChg chg="del">
          <ac:chgData name="Jessica Henley" userId="63b1edf9-6e48-442a-9e00-04850b59a756" providerId="ADAL" clId="{D7E2F68E-A503-4B31-8CB2-DC1B28F456AF}" dt="2025-06-01T10:21:30.963" v="3271" actId="478"/>
          <ac:spMkLst>
            <pc:docMk/>
            <pc:sldMk cId="2765643156" sldId="338"/>
            <ac:spMk id="70" creationId="{6DF9CE2C-E6A8-4A28-F2CE-FE50AEC369F9}"/>
          </ac:spMkLst>
        </pc:spChg>
        <pc:spChg chg="mod">
          <ac:chgData name="Jessica Henley" userId="63b1edf9-6e48-442a-9e00-04850b59a756" providerId="ADAL" clId="{D7E2F68E-A503-4B31-8CB2-DC1B28F456AF}" dt="2025-06-01T10:48:38.879" v="3740"/>
          <ac:spMkLst>
            <pc:docMk/>
            <pc:sldMk cId="2765643156" sldId="338"/>
            <ac:spMk id="72" creationId="{D8B92B2D-5231-3CC0-1091-C7C78B0D9346}"/>
          </ac:spMkLst>
        </pc:spChg>
        <pc:spChg chg="mod">
          <ac:chgData name="Jessica Henley" userId="63b1edf9-6e48-442a-9e00-04850b59a756" providerId="ADAL" clId="{D7E2F68E-A503-4B31-8CB2-DC1B28F456AF}" dt="2025-06-01T10:55:50.050" v="3824"/>
          <ac:spMkLst>
            <pc:docMk/>
            <pc:sldMk cId="2765643156" sldId="338"/>
            <ac:spMk id="73" creationId="{50451393-37A2-55DA-1FC9-3FD0C3F4D5BD}"/>
          </ac:spMkLst>
        </pc:spChg>
        <pc:spChg chg="mod">
          <ac:chgData name="Jessica Henley" userId="63b1edf9-6e48-442a-9e00-04850b59a756" providerId="ADAL" clId="{D7E2F68E-A503-4B31-8CB2-DC1B28F456AF}" dt="2025-06-01T10:19:06.795" v="3242" actId="165"/>
          <ac:spMkLst>
            <pc:docMk/>
            <pc:sldMk cId="2765643156" sldId="338"/>
            <ac:spMk id="74" creationId="{DACF0A22-B500-6A9E-1D24-1C989F2F54FA}"/>
          </ac:spMkLst>
        </pc:spChg>
        <pc:spChg chg="del">
          <ac:chgData name="Jessica Henley" userId="63b1edf9-6e48-442a-9e00-04850b59a756" providerId="ADAL" clId="{D7E2F68E-A503-4B31-8CB2-DC1B28F456AF}" dt="2025-06-01T10:20:35.850" v="3265" actId="478"/>
          <ac:spMkLst>
            <pc:docMk/>
            <pc:sldMk cId="2765643156" sldId="338"/>
            <ac:spMk id="75" creationId="{7415F173-067C-E4A0-CD3B-0E27A0A8BE6F}"/>
          </ac:spMkLst>
        </pc:spChg>
        <pc:spChg chg="mod">
          <ac:chgData name="Jessica Henley" userId="63b1edf9-6e48-442a-9e00-04850b59a756" providerId="ADAL" clId="{D7E2F68E-A503-4B31-8CB2-DC1B28F456AF}" dt="2025-06-01T10:40:32.706" v="3522" actId="404"/>
          <ac:spMkLst>
            <pc:docMk/>
            <pc:sldMk cId="2765643156" sldId="338"/>
            <ac:spMk id="77" creationId="{E24BC47B-7759-3658-A1D3-F67E0BA0731F}"/>
          </ac:spMkLst>
        </pc:spChg>
        <pc:spChg chg="mod">
          <ac:chgData name="Jessica Henley" userId="63b1edf9-6e48-442a-9e00-04850b59a756" providerId="ADAL" clId="{D7E2F68E-A503-4B31-8CB2-DC1B28F456AF}" dt="2025-06-01T10:41:50.800" v="3544" actId="20577"/>
          <ac:spMkLst>
            <pc:docMk/>
            <pc:sldMk cId="2765643156" sldId="338"/>
            <ac:spMk id="78" creationId="{A71B6A03-79E7-432C-584D-A3A2C81BEBAA}"/>
          </ac:spMkLst>
        </pc:spChg>
        <pc:spChg chg="mod">
          <ac:chgData name="Jessica Henley" userId="63b1edf9-6e48-442a-9e00-04850b59a756" providerId="ADAL" clId="{D7E2F68E-A503-4B31-8CB2-DC1B28F456AF}" dt="2025-06-01T10:19:06.795" v="3242" actId="165"/>
          <ac:spMkLst>
            <pc:docMk/>
            <pc:sldMk cId="2765643156" sldId="338"/>
            <ac:spMk id="79" creationId="{08ABCF36-F542-EE98-D8F0-68C4DF877444}"/>
          </ac:spMkLst>
        </pc:spChg>
        <pc:spChg chg="del mod">
          <ac:chgData name="Jessica Henley" userId="63b1edf9-6e48-442a-9e00-04850b59a756" providerId="ADAL" clId="{D7E2F68E-A503-4B31-8CB2-DC1B28F456AF}" dt="2025-06-01T10:20:49.903" v="3266" actId="478"/>
          <ac:spMkLst>
            <pc:docMk/>
            <pc:sldMk cId="2765643156" sldId="338"/>
            <ac:spMk id="80" creationId="{25D0B79D-92CC-C329-6E9D-192CA4764D63}"/>
          </ac:spMkLst>
        </pc:spChg>
        <pc:spChg chg="mod">
          <ac:chgData name="Jessica Henley" userId="63b1edf9-6e48-442a-9e00-04850b59a756" providerId="ADAL" clId="{D7E2F68E-A503-4B31-8CB2-DC1B28F456AF}" dt="2025-06-01T10:40:56.920" v="3526" actId="122"/>
          <ac:spMkLst>
            <pc:docMk/>
            <pc:sldMk cId="2765643156" sldId="338"/>
            <ac:spMk id="82" creationId="{573ACBD1-7D9C-EC58-3E03-1197EFB6A7A8}"/>
          </ac:spMkLst>
        </pc:spChg>
        <pc:spChg chg="mod">
          <ac:chgData name="Jessica Henley" userId="63b1edf9-6e48-442a-9e00-04850b59a756" providerId="ADAL" clId="{D7E2F68E-A503-4B31-8CB2-DC1B28F456AF}" dt="2025-06-01T10:43:16.596" v="3584" actId="20577"/>
          <ac:spMkLst>
            <pc:docMk/>
            <pc:sldMk cId="2765643156" sldId="338"/>
            <ac:spMk id="83" creationId="{4DD689BD-3557-D487-6DE2-16F686914BB6}"/>
          </ac:spMkLst>
        </pc:spChg>
        <pc:spChg chg="mod">
          <ac:chgData name="Jessica Henley" userId="63b1edf9-6e48-442a-9e00-04850b59a756" providerId="ADAL" clId="{D7E2F68E-A503-4B31-8CB2-DC1B28F456AF}" dt="2025-06-01T10:39:48.233" v="3513" actId="692"/>
          <ac:spMkLst>
            <pc:docMk/>
            <pc:sldMk cId="2765643156" sldId="338"/>
            <ac:spMk id="84" creationId="{5BC76EC0-292D-FEF8-5B0F-2F5F25BDEA7F}"/>
          </ac:spMkLst>
        </pc:spChg>
        <pc:spChg chg="del">
          <ac:chgData name="Jessica Henley" userId="63b1edf9-6e48-442a-9e00-04850b59a756" providerId="ADAL" clId="{D7E2F68E-A503-4B31-8CB2-DC1B28F456AF}" dt="2025-06-01T10:20:14.413" v="3263" actId="478"/>
          <ac:spMkLst>
            <pc:docMk/>
            <pc:sldMk cId="2765643156" sldId="338"/>
            <ac:spMk id="85" creationId="{E3AF9191-3D95-0E36-2840-2048458978D5}"/>
          </ac:spMkLst>
        </pc:spChg>
        <pc:spChg chg="mod">
          <ac:chgData name="Jessica Henley" userId="63b1edf9-6e48-442a-9e00-04850b59a756" providerId="ADAL" clId="{D7E2F68E-A503-4B31-8CB2-DC1B28F456AF}" dt="2025-06-01T10:35:53.536" v="3500" actId="207"/>
          <ac:spMkLst>
            <pc:docMk/>
            <pc:sldMk cId="2765643156" sldId="338"/>
            <ac:spMk id="87" creationId="{B71F0252-730E-57E7-E61B-67A7EABEF815}"/>
          </ac:spMkLst>
        </pc:spChg>
        <pc:spChg chg="mod">
          <ac:chgData name="Jessica Henley" userId="63b1edf9-6e48-442a-9e00-04850b59a756" providerId="ADAL" clId="{D7E2F68E-A503-4B31-8CB2-DC1B28F456AF}" dt="2025-06-01T10:36:08.391" v="3502" actId="207"/>
          <ac:spMkLst>
            <pc:docMk/>
            <pc:sldMk cId="2765643156" sldId="338"/>
            <ac:spMk id="88" creationId="{D07F80E1-3D1A-7ABD-78F8-90CF1974A296}"/>
          </ac:spMkLst>
        </pc:spChg>
        <pc:grpChg chg="mod">
          <ac:chgData name="Jessica Henley" userId="63b1edf9-6e48-442a-9e00-04850b59a756" providerId="ADAL" clId="{D7E2F68E-A503-4B31-8CB2-DC1B28F456AF}" dt="2025-06-01T10:19:27.234" v="3244" actId="164"/>
          <ac:grpSpMkLst>
            <pc:docMk/>
            <pc:sldMk cId="2765643156" sldId="338"/>
            <ac:grpSpMk id="2" creationId="{69D12F26-4D99-1D29-4E84-0E99D4D2FD86}"/>
          </ac:grpSpMkLst>
        </pc:grpChg>
        <pc:grpChg chg="mod">
          <ac:chgData name="Jessica Henley" userId="63b1edf9-6e48-442a-9e00-04850b59a756" providerId="ADAL" clId="{D7E2F68E-A503-4B31-8CB2-DC1B28F456AF}" dt="2025-06-01T10:19:18.695" v="3243" actId="164"/>
          <ac:grpSpMkLst>
            <pc:docMk/>
            <pc:sldMk cId="2765643156" sldId="338"/>
            <ac:grpSpMk id="3" creationId="{6C27343D-FB93-35AF-40F5-BDAFC5AAD602}"/>
          </ac:grpSpMkLst>
        </pc:grpChg>
        <pc:grpChg chg="mod">
          <ac:chgData name="Jessica Henley" userId="63b1edf9-6e48-442a-9e00-04850b59a756" providerId="ADAL" clId="{D7E2F68E-A503-4B31-8CB2-DC1B28F456AF}" dt="2025-06-01T10:19:18.695" v="3243" actId="164"/>
          <ac:grpSpMkLst>
            <pc:docMk/>
            <pc:sldMk cId="2765643156" sldId="338"/>
            <ac:grpSpMk id="5" creationId="{73D45429-700C-28FE-C3C7-7C70A049C3E9}"/>
          </ac:grpSpMkLst>
        </pc:grpChg>
        <pc:grpChg chg="add mod">
          <ac:chgData name="Jessica Henley" userId="63b1edf9-6e48-442a-9e00-04850b59a756" providerId="ADAL" clId="{D7E2F68E-A503-4B31-8CB2-DC1B28F456AF}" dt="2025-06-01T11:05:06.365" v="3872" actId="164"/>
          <ac:grpSpMkLst>
            <pc:docMk/>
            <pc:sldMk cId="2765643156" sldId="338"/>
            <ac:grpSpMk id="6" creationId="{C723D432-1F2D-EC50-5690-CBC75DE731FC}"/>
          </ac:grpSpMkLst>
        </pc:grpChg>
        <pc:grpChg chg="add mod">
          <ac:chgData name="Jessica Henley" userId="63b1edf9-6e48-442a-9e00-04850b59a756" providerId="ADAL" clId="{D7E2F68E-A503-4B31-8CB2-DC1B28F456AF}" dt="2025-06-01T11:05:06.365" v="3872" actId="164"/>
          <ac:grpSpMkLst>
            <pc:docMk/>
            <pc:sldMk cId="2765643156" sldId="338"/>
            <ac:grpSpMk id="7" creationId="{E597CDC9-730A-64B0-6C18-1E3C89FEE01F}"/>
          </ac:grpSpMkLst>
        </pc:grpChg>
        <pc:grpChg chg="add mod">
          <ac:chgData name="Jessica Henley" userId="63b1edf9-6e48-442a-9e00-04850b59a756" providerId="ADAL" clId="{D7E2F68E-A503-4B31-8CB2-DC1B28F456AF}" dt="2025-06-01T11:05:06.365" v="3872" actId="164"/>
          <ac:grpSpMkLst>
            <pc:docMk/>
            <pc:sldMk cId="2765643156" sldId="338"/>
            <ac:grpSpMk id="11" creationId="{BA51B3A7-336D-FB8C-6B61-AF65526ED617}"/>
          </ac:grpSpMkLst>
        </pc:grpChg>
        <pc:grpChg chg="del">
          <ac:chgData name="Jessica Henley" userId="63b1edf9-6e48-442a-9e00-04850b59a756" providerId="ADAL" clId="{D7E2F68E-A503-4B31-8CB2-DC1B28F456AF}" dt="2025-06-01T11:05:09.580" v="3874" actId="21"/>
          <ac:grpSpMkLst>
            <pc:docMk/>
            <pc:sldMk cId="2765643156" sldId="338"/>
            <ac:grpSpMk id="12" creationId="{036A7602-6969-E628-0624-CCF6E356D763}"/>
          </ac:grpSpMkLst>
        </pc:grpChg>
        <pc:grpChg chg="mod">
          <ac:chgData name="Jessica Henley" userId="63b1edf9-6e48-442a-9e00-04850b59a756" providerId="ADAL" clId="{D7E2F68E-A503-4B31-8CB2-DC1B28F456AF}" dt="2025-06-01T10:17:59.115" v="3241" actId="1076"/>
          <ac:grpSpMkLst>
            <pc:docMk/>
            <pc:sldMk cId="2765643156" sldId="338"/>
            <ac:grpSpMk id="49" creationId="{E43BBAD4-DDA2-C048-EC2E-802923933637}"/>
          </ac:grpSpMkLst>
        </pc:grpChg>
        <pc:grpChg chg="mod">
          <ac:chgData name="Jessica Henley" userId="63b1edf9-6e48-442a-9e00-04850b59a756" providerId="ADAL" clId="{D7E2F68E-A503-4B31-8CB2-DC1B28F456AF}" dt="2025-06-01T10:19:27.234" v="3244" actId="164"/>
          <ac:grpSpMkLst>
            <pc:docMk/>
            <pc:sldMk cId="2765643156" sldId="338"/>
            <ac:grpSpMk id="53" creationId="{7CAF66A9-96AC-2ED7-012B-5F2A5E40BF82}"/>
          </ac:grpSpMkLst>
        </pc:grpChg>
        <pc:grpChg chg="mod">
          <ac:chgData name="Jessica Henley" userId="63b1edf9-6e48-442a-9e00-04850b59a756" providerId="ADAL" clId="{D7E2F68E-A503-4B31-8CB2-DC1B28F456AF}" dt="2025-06-01T10:19:27.234" v="3244" actId="164"/>
          <ac:grpSpMkLst>
            <pc:docMk/>
            <pc:sldMk cId="2765643156" sldId="338"/>
            <ac:grpSpMk id="54" creationId="{8F730538-205D-0B9C-6D84-764818C7C438}"/>
          </ac:grpSpMkLst>
        </pc:grpChg>
        <pc:grpChg chg="mod">
          <ac:chgData name="Jessica Henley" userId="63b1edf9-6e48-442a-9e00-04850b59a756" providerId="ADAL" clId="{D7E2F68E-A503-4B31-8CB2-DC1B28F456AF}" dt="2025-06-01T10:19:18.695" v="3243" actId="164"/>
          <ac:grpSpMkLst>
            <pc:docMk/>
            <pc:sldMk cId="2765643156" sldId="338"/>
            <ac:grpSpMk id="58" creationId="{7C05DF1C-9FEC-2AAA-C749-6F7F61BDAAB6}"/>
          </ac:grpSpMkLst>
        </pc:grpChg>
        <pc:picChg chg="del">
          <ac:chgData name="Jessica Henley" userId="63b1edf9-6e48-442a-9e00-04850b59a756" providerId="ADAL" clId="{D7E2F68E-A503-4B31-8CB2-DC1B28F456AF}" dt="2025-06-01T10:17:28.015" v="3237" actId="478"/>
          <ac:picMkLst>
            <pc:docMk/>
            <pc:sldMk cId="2765643156" sldId="338"/>
            <ac:picMk id="15" creationId="{9A1D54CC-4FA8-F1E4-A51F-9C8A83C91D13}"/>
          </ac:picMkLst>
        </pc:picChg>
        <pc:picChg chg="add mod">
          <ac:chgData name="Jessica Henley" userId="63b1edf9-6e48-442a-9e00-04850b59a756" providerId="ADAL" clId="{D7E2F68E-A503-4B31-8CB2-DC1B28F456AF}" dt="2025-06-01T11:05:31.994" v="3880" actId="1076"/>
          <ac:picMkLst>
            <pc:docMk/>
            <pc:sldMk cId="2765643156" sldId="338"/>
            <ac:picMk id="45" creationId="{6C00850C-C3AF-B031-1475-80C13B82EF33}"/>
          </ac:picMkLst>
        </pc:picChg>
        <pc:picChg chg="del">
          <ac:chgData name="Jessica Henley" userId="63b1edf9-6e48-442a-9e00-04850b59a756" providerId="ADAL" clId="{D7E2F68E-A503-4B31-8CB2-DC1B28F456AF}" dt="2025-06-01T10:21:11.423" v="3269" actId="478"/>
          <ac:picMkLst>
            <pc:docMk/>
            <pc:sldMk cId="2765643156" sldId="338"/>
            <ac:picMk id="61" creationId="{F82CDB29-1387-C5D2-CF9A-76C7A0D1B70F}"/>
          </ac:picMkLst>
        </pc:picChg>
        <pc:picChg chg="del">
          <ac:chgData name="Jessica Henley" userId="63b1edf9-6e48-442a-9e00-04850b59a756" providerId="ADAL" clId="{D7E2F68E-A503-4B31-8CB2-DC1B28F456AF}" dt="2025-06-01T10:20:56.480" v="3267" actId="478"/>
          <ac:picMkLst>
            <pc:docMk/>
            <pc:sldMk cId="2765643156" sldId="338"/>
            <ac:picMk id="66" creationId="{A799058B-7BA4-66A1-0363-B821416D755E}"/>
          </ac:picMkLst>
        </pc:picChg>
        <pc:picChg chg="del">
          <ac:chgData name="Jessica Henley" userId="63b1edf9-6e48-442a-9e00-04850b59a756" providerId="ADAL" clId="{D7E2F68E-A503-4B31-8CB2-DC1B28F456AF}" dt="2025-06-01T10:21:30.963" v="3271" actId="478"/>
          <ac:picMkLst>
            <pc:docMk/>
            <pc:sldMk cId="2765643156" sldId="338"/>
            <ac:picMk id="71" creationId="{A397A33A-5C33-4B22-0820-9A5D8452B2D5}"/>
          </ac:picMkLst>
        </pc:picChg>
        <pc:picChg chg="del">
          <ac:chgData name="Jessica Henley" userId="63b1edf9-6e48-442a-9e00-04850b59a756" providerId="ADAL" clId="{D7E2F68E-A503-4B31-8CB2-DC1B28F456AF}" dt="2025-06-01T10:20:35.850" v="3265" actId="478"/>
          <ac:picMkLst>
            <pc:docMk/>
            <pc:sldMk cId="2765643156" sldId="338"/>
            <ac:picMk id="76" creationId="{102F3937-8C80-D06A-DA95-C322C2696393}"/>
          </ac:picMkLst>
        </pc:picChg>
        <pc:picChg chg="del">
          <ac:chgData name="Jessica Henley" userId="63b1edf9-6e48-442a-9e00-04850b59a756" providerId="ADAL" clId="{D7E2F68E-A503-4B31-8CB2-DC1B28F456AF}" dt="2025-06-01T10:20:49.903" v="3266" actId="478"/>
          <ac:picMkLst>
            <pc:docMk/>
            <pc:sldMk cId="2765643156" sldId="338"/>
            <ac:picMk id="81" creationId="{C3E8C9BB-137E-9B7B-13E9-009C5E0E10D9}"/>
          </ac:picMkLst>
        </pc:picChg>
        <pc:picChg chg="del">
          <ac:chgData name="Jessica Henley" userId="63b1edf9-6e48-442a-9e00-04850b59a756" providerId="ADAL" clId="{D7E2F68E-A503-4B31-8CB2-DC1B28F456AF}" dt="2025-06-01T10:20:19.936" v="3264" actId="478"/>
          <ac:picMkLst>
            <pc:docMk/>
            <pc:sldMk cId="2765643156" sldId="338"/>
            <ac:picMk id="86" creationId="{09510F35-2AFA-5BB8-CF02-6EE8FAC6A71E}"/>
          </ac:picMkLst>
        </pc:picChg>
        <pc:cxnChg chg="del">
          <ac:chgData name="Jessica Henley" userId="63b1edf9-6e48-442a-9e00-04850b59a756" providerId="ADAL" clId="{D7E2F68E-A503-4B31-8CB2-DC1B28F456AF}" dt="2025-06-01T10:17:52.726" v="3240" actId="21"/>
          <ac:cxnSpMkLst>
            <pc:docMk/>
            <pc:sldMk cId="2765643156" sldId="338"/>
            <ac:cxnSpMk id="50" creationId="{6524746B-8AC4-DFFA-F1FE-F0E0A7B3FCF7}"/>
          </ac:cxnSpMkLst>
        </pc:cxnChg>
      </pc:sldChg>
      <pc:sldChg chg="addSp delSp modSp add mod ord modNotesTx">
        <pc:chgData name="Jessica Henley" userId="63b1edf9-6e48-442a-9e00-04850b59a756" providerId="ADAL" clId="{D7E2F68E-A503-4B31-8CB2-DC1B28F456AF}" dt="2025-06-01T14:36:45.218" v="5657"/>
        <pc:sldMkLst>
          <pc:docMk/>
          <pc:sldMk cId="3899499193" sldId="339"/>
        </pc:sldMkLst>
        <pc:spChg chg="del">
          <ac:chgData name="Jessica Henley" userId="63b1edf9-6e48-442a-9e00-04850b59a756" providerId="ADAL" clId="{D7E2F68E-A503-4B31-8CB2-DC1B28F456AF}" dt="2025-06-01T10:58:55.166" v="3831" actId="478"/>
          <ac:spMkLst>
            <pc:docMk/>
            <pc:sldMk cId="3899499193" sldId="339"/>
            <ac:spMk id="4" creationId="{66476243-7FDC-D2ED-0690-84A5EDFC3E35}"/>
          </ac:spMkLst>
        </pc:spChg>
        <pc:picChg chg="add mod modCrop">
          <ac:chgData name="Jessica Henley" userId="63b1edf9-6e48-442a-9e00-04850b59a756" providerId="ADAL" clId="{D7E2F68E-A503-4B31-8CB2-DC1B28F456AF}" dt="2025-06-01T11:00:41.066" v="3857" actId="14861"/>
          <ac:picMkLst>
            <pc:docMk/>
            <pc:sldMk cId="3899499193" sldId="339"/>
            <ac:picMk id="2" creationId="{80BF15D3-72FE-5A38-E66D-DA1063B235F7}"/>
          </ac:picMkLst>
        </pc:picChg>
        <pc:picChg chg="add del mod">
          <ac:chgData name="Jessica Henley" userId="63b1edf9-6e48-442a-9e00-04850b59a756" providerId="ADAL" clId="{D7E2F68E-A503-4B31-8CB2-DC1B28F456AF}" dt="2025-06-01T11:05:24.025" v="3878" actId="21"/>
          <ac:picMkLst>
            <pc:docMk/>
            <pc:sldMk cId="3899499193" sldId="339"/>
            <ac:picMk id="3" creationId="{6C00850C-C3AF-B031-1475-80C13B82EF33}"/>
          </ac:picMkLst>
        </pc:picChg>
        <pc:picChg chg="del">
          <ac:chgData name="Jessica Henley" userId="63b1edf9-6e48-442a-9e00-04850b59a756" providerId="ADAL" clId="{D7E2F68E-A503-4B31-8CB2-DC1B28F456AF}" dt="2025-06-01T10:58:56.795" v="3832" actId="478"/>
          <ac:picMkLst>
            <pc:docMk/>
            <pc:sldMk cId="3899499193" sldId="339"/>
            <ac:picMk id="15" creationId="{24B4DE30-86A8-9C24-411F-5148B8B604A0}"/>
          </ac:picMkLst>
        </pc:picChg>
      </pc:sldChg>
      <pc:sldChg chg="addSp delSp modSp add del mod ord delAnim">
        <pc:chgData name="Jessica Henley" userId="63b1edf9-6e48-442a-9e00-04850b59a756" providerId="ADAL" clId="{D7E2F68E-A503-4B31-8CB2-DC1B28F456AF}" dt="2025-06-01T11:49:31.396" v="4145" actId="47"/>
        <pc:sldMkLst>
          <pc:docMk/>
          <pc:sldMk cId="1049469891" sldId="340"/>
        </pc:sldMkLst>
        <pc:spChg chg="mod">
          <ac:chgData name="Jessica Henley" userId="63b1edf9-6e48-442a-9e00-04850b59a756" providerId="ADAL" clId="{D7E2F68E-A503-4B31-8CB2-DC1B28F456AF}" dt="2025-06-01T11:43:57.384" v="4086" actId="1076"/>
          <ac:spMkLst>
            <pc:docMk/>
            <pc:sldMk cId="1049469891" sldId="340"/>
            <ac:spMk id="6" creationId="{A147C97F-DA71-8ADE-0FD1-FEDBC6ADCF90}"/>
          </ac:spMkLst>
        </pc:spChg>
        <pc:spChg chg="del mod">
          <ac:chgData name="Jessica Henley" userId="63b1edf9-6e48-442a-9e00-04850b59a756" providerId="ADAL" clId="{D7E2F68E-A503-4B31-8CB2-DC1B28F456AF}" dt="2025-06-01T11:47:01.764" v="4124" actId="478"/>
          <ac:spMkLst>
            <pc:docMk/>
            <pc:sldMk cId="1049469891" sldId="340"/>
            <ac:spMk id="8" creationId="{B35EFF46-EFED-E113-E364-D6EB4665E2D5}"/>
          </ac:spMkLst>
        </pc:spChg>
        <pc:spChg chg="mod">
          <ac:chgData name="Jessica Henley" userId="63b1edf9-6e48-442a-9e00-04850b59a756" providerId="ADAL" clId="{D7E2F68E-A503-4B31-8CB2-DC1B28F456AF}" dt="2025-06-01T11:46:33.257" v="4117" actId="1076"/>
          <ac:spMkLst>
            <pc:docMk/>
            <pc:sldMk cId="1049469891" sldId="340"/>
            <ac:spMk id="10" creationId="{1D150EDE-B16E-A393-FDDB-CAA0F0689EF7}"/>
          </ac:spMkLst>
        </pc:spChg>
        <pc:spChg chg="mod">
          <ac:chgData name="Jessica Henley" userId="63b1edf9-6e48-442a-9e00-04850b59a756" providerId="ADAL" clId="{D7E2F68E-A503-4B31-8CB2-DC1B28F456AF}" dt="2025-06-01T11:45:19.967" v="4098"/>
          <ac:spMkLst>
            <pc:docMk/>
            <pc:sldMk cId="1049469891" sldId="340"/>
            <ac:spMk id="11" creationId="{73C25E56-A4F5-F238-949B-8E4D05A73F08}"/>
          </ac:spMkLst>
        </pc:spChg>
        <pc:spChg chg="mod">
          <ac:chgData name="Jessica Henley" userId="63b1edf9-6e48-442a-9e00-04850b59a756" providerId="ADAL" clId="{D7E2F68E-A503-4B31-8CB2-DC1B28F456AF}" dt="2025-06-01T11:43:44.676" v="4080" actId="1076"/>
          <ac:spMkLst>
            <pc:docMk/>
            <pc:sldMk cId="1049469891" sldId="340"/>
            <ac:spMk id="14" creationId="{CE6D72BE-168B-5E9E-2C46-E5619D77B57F}"/>
          </ac:spMkLst>
        </pc:spChg>
        <pc:spChg chg="mod">
          <ac:chgData name="Jessica Henley" userId="63b1edf9-6e48-442a-9e00-04850b59a756" providerId="ADAL" clId="{D7E2F68E-A503-4B31-8CB2-DC1B28F456AF}" dt="2025-06-01T11:45:28.706" v="4105"/>
          <ac:spMkLst>
            <pc:docMk/>
            <pc:sldMk cId="1049469891" sldId="340"/>
            <ac:spMk id="15" creationId="{0E42B73A-5BED-9359-D0D1-CE23F1B754D5}"/>
          </ac:spMkLst>
        </pc:spChg>
        <pc:spChg chg="mod">
          <ac:chgData name="Jessica Henley" userId="63b1edf9-6e48-442a-9e00-04850b59a756" providerId="ADAL" clId="{D7E2F68E-A503-4B31-8CB2-DC1B28F456AF}" dt="2025-06-01T11:45:28.467" v="4104"/>
          <ac:spMkLst>
            <pc:docMk/>
            <pc:sldMk cId="1049469891" sldId="340"/>
            <ac:spMk id="18" creationId="{33A15871-50B6-7DE3-432C-34CAF5E860A0}"/>
          </ac:spMkLst>
        </pc:spChg>
        <pc:spChg chg="mod">
          <ac:chgData name="Jessica Henley" userId="63b1edf9-6e48-442a-9e00-04850b59a756" providerId="ADAL" clId="{D7E2F68E-A503-4B31-8CB2-DC1B28F456AF}" dt="2025-06-01T11:45:28.214" v="4103"/>
          <ac:spMkLst>
            <pc:docMk/>
            <pc:sldMk cId="1049469891" sldId="340"/>
            <ac:spMk id="21" creationId="{3F15B383-183A-CAD4-49C7-58400E3AECAD}"/>
          </ac:spMkLst>
        </pc:spChg>
        <pc:spChg chg="mod">
          <ac:chgData name="Jessica Henley" userId="63b1edf9-6e48-442a-9e00-04850b59a756" providerId="ADAL" clId="{D7E2F68E-A503-4B31-8CB2-DC1B28F456AF}" dt="2025-06-01T11:43:24.155" v="4071" actId="1076"/>
          <ac:spMkLst>
            <pc:docMk/>
            <pc:sldMk cId="1049469891" sldId="340"/>
            <ac:spMk id="24" creationId="{AB97BF9F-E5AD-C579-1193-4A621F771EC8}"/>
          </ac:spMkLst>
        </pc:spChg>
        <pc:spChg chg="del mod">
          <ac:chgData name="Jessica Henley" userId="63b1edf9-6e48-442a-9e00-04850b59a756" providerId="ADAL" clId="{D7E2F68E-A503-4B31-8CB2-DC1B28F456AF}" dt="2025-06-01T11:43:01.136" v="4066" actId="478"/>
          <ac:spMkLst>
            <pc:docMk/>
            <pc:sldMk cId="1049469891" sldId="340"/>
            <ac:spMk id="25" creationId="{7ECB16A6-819C-BD51-B0BD-C788C0455366}"/>
          </ac:spMkLst>
        </pc:spChg>
        <pc:spChg chg="mod">
          <ac:chgData name="Jessica Henley" userId="63b1edf9-6e48-442a-9e00-04850b59a756" providerId="ADAL" clId="{D7E2F68E-A503-4B31-8CB2-DC1B28F456AF}" dt="2025-06-01T11:46:02.594" v="4113"/>
          <ac:spMkLst>
            <pc:docMk/>
            <pc:sldMk cId="1049469891" sldId="340"/>
            <ac:spMk id="26" creationId="{4C352FFB-D1A7-A275-872D-8307F30CB7ED}"/>
          </ac:spMkLst>
        </pc:spChg>
        <pc:spChg chg="mod">
          <ac:chgData name="Jessica Henley" userId="63b1edf9-6e48-442a-9e00-04850b59a756" providerId="ADAL" clId="{D7E2F68E-A503-4B31-8CB2-DC1B28F456AF}" dt="2025-06-01T11:43:37.768" v="4077" actId="1076"/>
          <ac:spMkLst>
            <pc:docMk/>
            <pc:sldMk cId="1049469891" sldId="340"/>
            <ac:spMk id="27" creationId="{71502868-C139-2708-D862-59F94BA025AF}"/>
          </ac:spMkLst>
        </pc:spChg>
        <pc:spChg chg="del mod">
          <ac:chgData name="Jessica Henley" userId="63b1edf9-6e48-442a-9e00-04850b59a756" providerId="ADAL" clId="{D7E2F68E-A503-4B31-8CB2-DC1B28F456AF}" dt="2025-06-01T11:43:03.958" v="4068" actId="478"/>
          <ac:spMkLst>
            <pc:docMk/>
            <pc:sldMk cId="1049469891" sldId="340"/>
            <ac:spMk id="28" creationId="{CA47D795-36A3-C799-9FF1-363B2EE18B19}"/>
          </ac:spMkLst>
        </pc:spChg>
        <pc:spChg chg="mod">
          <ac:chgData name="Jessica Henley" userId="63b1edf9-6e48-442a-9e00-04850b59a756" providerId="ADAL" clId="{D7E2F68E-A503-4B31-8CB2-DC1B28F456AF}" dt="2025-06-01T11:44:52.966" v="4094" actId="1076"/>
          <ac:spMkLst>
            <pc:docMk/>
            <pc:sldMk cId="1049469891" sldId="340"/>
            <ac:spMk id="30" creationId="{DDC4582E-05C1-9647-42C3-766191247880}"/>
          </ac:spMkLst>
        </pc:spChg>
        <pc:spChg chg="del">
          <ac:chgData name="Jessica Henley" userId="63b1edf9-6e48-442a-9e00-04850b59a756" providerId="ADAL" clId="{D7E2F68E-A503-4B31-8CB2-DC1B28F456AF}" dt="2025-06-01T11:43:06.316" v="4069" actId="478"/>
          <ac:spMkLst>
            <pc:docMk/>
            <pc:sldMk cId="1049469891" sldId="340"/>
            <ac:spMk id="31" creationId="{61B0EBC9-F9EA-C5A5-62BD-D110CBA13C78}"/>
          </ac:spMkLst>
        </pc:spChg>
        <pc:spChg chg="add mod">
          <ac:chgData name="Jessica Henley" userId="63b1edf9-6e48-442a-9e00-04850b59a756" providerId="ADAL" clId="{D7E2F68E-A503-4B31-8CB2-DC1B28F456AF}" dt="2025-06-01T11:47:08.814" v="4125" actId="1076"/>
          <ac:spMkLst>
            <pc:docMk/>
            <pc:sldMk cId="1049469891" sldId="340"/>
            <ac:spMk id="32" creationId="{868E37D2-6875-01AB-F990-3B4C85C1D42F}"/>
          </ac:spMkLst>
        </pc:spChg>
        <pc:spChg chg="mod">
          <ac:chgData name="Jessica Henley" userId="63b1edf9-6e48-442a-9e00-04850b59a756" providerId="ADAL" clId="{D7E2F68E-A503-4B31-8CB2-DC1B28F456AF}" dt="2025-06-01T11:43:40.336" v="4078" actId="1076"/>
          <ac:spMkLst>
            <pc:docMk/>
            <pc:sldMk cId="1049469891" sldId="340"/>
            <ac:spMk id="33" creationId="{70D0A14F-BA56-F1C9-6008-E3C270FC8C5C}"/>
          </ac:spMkLst>
        </pc:spChg>
        <pc:spChg chg="del">
          <ac:chgData name="Jessica Henley" userId="63b1edf9-6e48-442a-9e00-04850b59a756" providerId="ADAL" clId="{D7E2F68E-A503-4B31-8CB2-DC1B28F456AF}" dt="2025-06-01T11:43:10.654" v="4070" actId="478"/>
          <ac:spMkLst>
            <pc:docMk/>
            <pc:sldMk cId="1049469891" sldId="340"/>
            <ac:spMk id="34" creationId="{329ED064-1A13-DED7-E2A8-B5AC8796C7C9}"/>
          </ac:spMkLst>
        </pc:spChg>
        <pc:spChg chg="mod">
          <ac:chgData name="Jessica Henley" userId="63b1edf9-6e48-442a-9e00-04850b59a756" providerId="ADAL" clId="{D7E2F68E-A503-4B31-8CB2-DC1B28F456AF}" dt="2025-06-01T11:43:42.496" v="4079" actId="1076"/>
          <ac:spMkLst>
            <pc:docMk/>
            <pc:sldMk cId="1049469891" sldId="340"/>
            <ac:spMk id="36" creationId="{D2570CD7-EBD5-5024-3DBE-731DA5BCB801}"/>
          </ac:spMkLst>
        </pc:spChg>
        <pc:spChg chg="mod">
          <ac:chgData name="Jessica Henley" userId="63b1edf9-6e48-442a-9e00-04850b59a756" providerId="ADAL" clId="{D7E2F68E-A503-4B31-8CB2-DC1B28F456AF}" dt="2025-06-01T11:47:42.571" v="4127"/>
          <ac:spMkLst>
            <pc:docMk/>
            <pc:sldMk cId="1049469891" sldId="340"/>
            <ac:spMk id="38" creationId="{A0766869-2106-A191-C52A-3CD91AFF0C6C}"/>
          </ac:spMkLst>
        </pc:spChg>
        <pc:spChg chg="add del mod">
          <ac:chgData name="Jessica Henley" userId="63b1edf9-6e48-442a-9e00-04850b59a756" providerId="ADAL" clId="{D7E2F68E-A503-4B31-8CB2-DC1B28F456AF}" dt="2025-06-01T11:48:09.219" v="4132" actId="21"/>
          <ac:spMkLst>
            <pc:docMk/>
            <pc:sldMk cId="1049469891" sldId="340"/>
            <ac:spMk id="40" creationId="{3C878066-2B57-64AE-1765-5188DE6771F0}"/>
          </ac:spMkLst>
        </pc:spChg>
        <pc:spChg chg="add mod">
          <ac:chgData name="Jessica Henley" userId="63b1edf9-6e48-442a-9e00-04850b59a756" providerId="ADAL" clId="{D7E2F68E-A503-4B31-8CB2-DC1B28F456AF}" dt="2025-06-01T11:48:58.074" v="4141"/>
          <ac:spMkLst>
            <pc:docMk/>
            <pc:sldMk cId="1049469891" sldId="340"/>
            <ac:spMk id="41" creationId="{98DE26DD-3A14-2AF7-A6DA-F4D2B1B2559B}"/>
          </ac:spMkLst>
        </pc:spChg>
        <pc:spChg chg="add mod">
          <ac:chgData name="Jessica Henley" userId="63b1edf9-6e48-442a-9e00-04850b59a756" providerId="ADAL" clId="{D7E2F68E-A503-4B31-8CB2-DC1B28F456AF}" dt="2025-06-01T11:48:58.074" v="4141"/>
          <ac:spMkLst>
            <pc:docMk/>
            <pc:sldMk cId="1049469891" sldId="340"/>
            <ac:spMk id="42" creationId="{EF071DE5-AA63-5B74-7CCA-968A698E0A7A}"/>
          </ac:spMkLst>
        </pc:spChg>
        <pc:spChg chg="mod">
          <ac:chgData name="Jessica Henley" userId="63b1edf9-6e48-442a-9e00-04850b59a756" providerId="ADAL" clId="{D7E2F68E-A503-4B31-8CB2-DC1B28F456AF}" dt="2025-06-01T11:43:46.576" v="4081" actId="1076"/>
          <ac:spMkLst>
            <pc:docMk/>
            <pc:sldMk cId="1049469891" sldId="340"/>
            <ac:spMk id="43" creationId="{D693C144-BDF1-B9DE-96ED-5BE2B4017CDC}"/>
          </ac:spMkLst>
        </pc:spChg>
        <pc:spChg chg="add mod">
          <ac:chgData name="Jessica Henley" userId="63b1edf9-6e48-442a-9e00-04850b59a756" providerId="ADAL" clId="{D7E2F68E-A503-4B31-8CB2-DC1B28F456AF}" dt="2025-06-01T11:48:58.074" v="4141"/>
          <ac:spMkLst>
            <pc:docMk/>
            <pc:sldMk cId="1049469891" sldId="340"/>
            <ac:spMk id="44" creationId="{238E76DD-6AE4-FD26-1BFB-147E65AB72CF}"/>
          </ac:spMkLst>
        </pc:spChg>
        <pc:spChg chg="mod">
          <ac:chgData name="Jessica Henley" userId="63b1edf9-6e48-442a-9e00-04850b59a756" providerId="ADAL" clId="{D7E2F68E-A503-4B31-8CB2-DC1B28F456AF}" dt="2025-06-01T11:43:36.076" v="4076" actId="1076"/>
          <ac:spMkLst>
            <pc:docMk/>
            <pc:sldMk cId="1049469891" sldId="340"/>
            <ac:spMk id="45" creationId="{7CB21A1E-5F19-AE35-3547-8B9AAAC67E2E}"/>
          </ac:spMkLst>
        </pc:spChg>
        <pc:spChg chg="add mod">
          <ac:chgData name="Jessica Henley" userId="63b1edf9-6e48-442a-9e00-04850b59a756" providerId="ADAL" clId="{D7E2F68E-A503-4B31-8CB2-DC1B28F456AF}" dt="2025-06-01T11:48:58.074" v="4141"/>
          <ac:spMkLst>
            <pc:docMk/>
            <pc:sldMk cId="1049469891" sldId="340"/>
            <ac:spMk id="46" creationId="{32899C60-ACC6-5526-3F08-EF4BF156A251}"/>
          </ac:spMkLst>
        </pc:spChg>
        <pc:spChg chg="mod">
          <ac:chgData name="Jessica Henley" userId="63b1edf9-6e48-442a-9e00-04850b59a756" providerId="ADAL" clId="{D7E2F68E-A503-4B31-8CB2-DC1B28F456AF}" dt="2025-06-01T11:43:33.537" v="4075" actId="1076"/>
          <ac:spMkLst>
            <pc:docMk/>
            <pc:sldMk cId="1049469891" sldId="340"/>
            <ac:spMk id="47" creationId="{D142AA20-E212-9849-7910-AE148DC71767}"/>
          </ac:spMkLst>
        </pc:spChg>
        <pc:spChg chg="add mod">
          <ac:chgData name="Jessica Henley" userId="63b1edf9-6e48-442a-9e00-04850b59a756" providerId="ADAL" clId="{D7E2F68E-A503-4B31-8CB2-DC1B28F456AF}" dt="2025-06-01T11:48:58.074" v="4141"/>
          <ac:spMkLst>
            <pc:docMk/>
            <pc:sldMk cId="1049469891" sldId="340"/>
            <ac:spMk id="48" creationId="{D5C090E7-FF9B-57B2-8CE7-C4080212BF23}"/>
          </ac:spMkLst>
        </pc:spChg>
        <pc:spChg chg="mod">
          <ac:chgData name="Jessica Henley" userId="63b1edf9-6e48-442a-9e00-04850b59a756" providerId="ADAL" clId="{D7E2F68E-A503-4B31-8CB2-DC1B28F456AF}" dt="2025-06-01T11:43:26.386" v="4072" actId="1076"/>
          <ac:spMkLst>
            <pc:docMk/>
            <pc:sldMk cId="1049469891" sldId="340"/>
            <ac:spMk id="49" creationId="{0B57D1E7-CE84-1A86-95CA-AF39F1A3F134}"/>
          </ac:spMkLst>
        </pc:spChg>
        <pc:spChg chg="add mod">
          <ac:chgData name="Jessica Henley" userId="63b1edf9-6e48-442a-9e00-04850b59a756" providerId="ADAL" clId="{D7E2F68E-A503-4B31-8CB2-DC1B28F456AF}" dt="2025-06-01T11:48:58.074" v="4141"/>
          <ac:spMkLst>
            <pc:docMk/>
            <pc:sldMk cId="1049469891" sldId="340"/>
            <ac:spMk id="50" creationId="{34731B89-E2FC-2BBE-5F53-5868BC692FE5}"/>
          </ac:spMkLst>
        </pc:spChg>
        <pc:spChg chg="add mod">
          <ac:chgData name="Jessica Henley" userId="63b1edf9-6e48-442a-9e00-04850b59a756" providerId="ADAL" clId="{D7E2F68E-A503-4B31-8CB2-DC1B28F456AF}" dt="2025-06-01T11:48:58.074" v="4141"/>
          <ac:spMkLst>
            <pc:docMk/>
            <pc:sldMk cId="1049469891" sldId="340"/>
            <ac:spMk id="51" creationId="{A2E292A6-DC2E-678C-B8CF-3260F19A39E2}"/>
          </ac:spMkLst>
        </pc:spChg>
        <pc:spChg chg="add mod">
          <ac:chgData name="Jessica Henley" userId="63b1edf9-6e48-442a-9e00-04850b59a756" providerId="ADAL" clId="{D7E2F68E-A503-4B31-8CB2-DC1B28F456AF}" dt="2025-06-01T11:48:58.074" v="4141"/>
          <ac:spMkLst>
            <pc:docMk/>
            <pc:sldMk cId="1049469891" sldId="340"/>
            <ac:spMk id="52" creationId="{F2F0286D-0222-6F08-11C9-6BB39F8D4BEF}"/>
          </ac:spMkLst>
        </pc:spChg>
        <pc:spChg chg="add mod">
          <ac:chgData name="Jessica Henley" userId="63b1edf9-6e48-442a-9e00-04850b59a756" providerId="ADAL" clId="{D7E2F68E-A503-4B31-8CB2-DC1B28F456AF}" dt="2025-06-01T11:48:58.074" v="4141"/>
          <ac:spMkLst>
            <pc:docMk/>
            <pc:sldMk cId="1049469891" sldId="340"/>
            <ac:spMk id="54" creationId="{50095D4D-BC1D-2819-AF5D-8AAC4E5BCCC2}"/>
          </ac:spMkLst>
        </pc:spChg>
        <pc:spChg chg="add mod">
          <ac:chgData name="Jessica Henley" userId="63b1edf9-6e48-442a-9e00-04850b59a756" providerId="ADAL" clId="{D7E2F68E-A503-4B31-8CB2-DC1B28F456AF}" dt="2025-06-01T11:48:58.074" v="4141"/>
          <ac:spMkLst>
            <pc:docMk/>
            <pc:sldMk cId="1049469891" sldId="340"/>
            <ac:spMk id="55" creationId="{F855C69B-98FC-E28B-65EC-2A5EC47DB4D7}"/>
          </ac:spMkLst>
        </pc:spChg>
        <pc:spChg chg="add del mod">
          <ac:chgData name="Jessica Henley" userId="63b1edf9-6e48-442a-9e00-04850b59a756" providerId="ADAL" clId="{D7E2F68E-A503-4B31-8CB2-DC1B28F456AF}" dt="2025-06-01T11:49:04.041" v="4143" actId="21"/>
          <ac:spMkLst>
            <pc:docMk/>
            <pc:sldMk cId="1049469891" sldId="340"/>
            <ac:spMk id="56" creationId="{25C1717C-C3F9-1F6F-E4CE-7299EC3D1390}"/>
          </ac:spMkLst>
        </pc:spChg>
        <pc:spChg chg="add del mod">
          <ac:chgData name="Jessica Henley" userId="63b1edf9-6e48-442a-9e00-04850b59a756" providerId="ADAL" clId="{D7E2F68E-A503-4B31-8CB2-DC1B28F456AF}" dt="2025-06-01T11:49:04.041" v="4143" actId="21"/>
          <ac:spMkLst>
            <pc:docMk/>
            <pc:sldMk cId="1049469891" sldId="340"/>
            <ac:spMk id="57" creationId="{64C46658-3D6B-383C-A392-91475CC76732}"/>
          </ac:spMkLst>
        </pc:spChg>
        <pc:spChg chg="add del mod">
          <ac:chgData name="Jessica Henley" userId="63b1edf9-6e48-442a-9e00-04850b59a756" providerId="ADAL" clId="{D7E2F68E-A503-4B31-8CB2-DC1B28F456AF}" dt="2025-06-01T11:49:04.041" v="4143" actId="21"/>
          <ac:spMkLst>
            <pc:docMk/>
            <pc:sldMk cId="1049469891" sldId="340"/>
            <ac:spMk id="58" creationId="{5F791675-B7ED-996C-4966-9074EC705714}"/>
          </ac:spMkLst>
        </pc:spChg>
        <pc:spChg chg="add del mod">
          <ac:chgData name="Jessica Henley" userId="63b1edf9-6e48-442a-9e00-04850b59a756" providerId="ADAL" clId="{D7E2F68E-A503-4B31-8CB2-DC1B28F456AF}" dt="2025-06-01T11:49:04.041" v="4143" actId="21"/>
          <ac:spMkLst>
            <pc:docMk/>
            <pc:sldMk cId="1049469891" sldId="340"/>
            <ac:spMk id="60" creationId="{4DE36AD0-F9E3-E909-433A-5CFAFEF43C37}"/>
          </ac:spMkLst>
        </pc:spChg>
        <pc:spChg chg="add del mod">
          <ac:chgData name="Jessica Henley" userId="63b1edf9-6e48-442a-9e00-04850b59a756" providerId="ADAL" clId="{D7E2F68E-A503-4B31-8CB2-DC1B28F456AF}" dt="2025-06-01T11:49:04.041" v="4143" actId="21"/>
          <ac:spMkLst>
            <pc:docMk/>
            <pc:sldMk cId="1049469891" sldId="340"/>
            <ac:spMk id="61" creationId="{F610008F-5655-459E-B465-C21D4BB42B97}"/>
          </ac:spMkLst>
        </pc:spChg>
        <pc:spChg chg="add del mod">
          <ac:chgData name="Jessica Henley" userId="63b1edf9-6e48-442a-9e00-04850b59a756" providerId="ADAL" clId="{D7E2F68E-A503-4B31-8CB2-DC1B28F456AF}" dt="2025-06-01T11:49:04.041" v="4143" actId="21"/>
          <ac:spMkLst>
            <pc:docMk/>
            <pc:sldMk cId="1049469891" sldId="340"/>
            <ac:spMk id="62" creationId="{10724E3D-FA13-A505-A07C-48CDC68BB323}"/>
          </ac:spMkLst>
        </pc:spChg>
        <pc:spChg chg="add del mod">
          <ac:chgData name="Jessica Henley" userId="63b1edf9-6e48-442a-9e00-04850b59a756" providerId="ADAL" clId="{D7E2F68E-A503-4B31-8CB2-DC1B28F456AF}" dt="2025-06-01T11:49:04.041" v="4143" actId="21"/>
          <ac:spMkLst>
            <pc:docMk/>
            <pc:sldMk cId="1049469891" sldId="340"/>
            <ac:spMk id="63" creationId="{E1D859A7-AB1D-7543-3D8E-47DDA595EDFD}"/>
          </ac:spMkLst>
        </pc:spChg>
        <pc:spChg chg="add del mod">
          <ac:chgData name="Jessica Henley" userId="63b1edf9-6e48-442a-9e00-04850b59a756" providerId="ADAL" clId="{D7E2F68E-A503-4B31-8CB2-DC1B28F456AF}" dt="2025-06-01T11:49:04.041" v="4143" actId="21"/>
          <ac:spMkLst>
            <pc:docMk/>
            <pc:sldMk cId="1049469891" sldId="340"/>
            <ac:spMk id="65" creationId="{2A8AB775-CCE4-9F30-2248-29668672893C}"/>
          </ac:spMkLst>
        </pc:spChg>
        <pc:spChg chg="add del mod">
          <ac:chgData name="Jessica Henley" userId="63b1edf9-6e48-442a-9e00-04850b59a756" providerId="ADAL" clId="{D7E2F68E-A503-4B31-8CB2-DC1B28F456AF}" dt="2025-06-01T11:49:04.041" v="4143" actId="21"/>
          <ac:spMkLst>
            <pc:docMk/>
            <pc:sldMk cId="1049469891" sldId="340"/>
            <ac:spMk id="66" creationId="{EE846801-B5AF-CD9B-4A3F-8FA5F921A12F}"/>
          </ac:spMkLst>
        </pc:spChg>
        <pc:spChg chg="add del mod">
          <ac:chgData name="Jessica Henley" userId="63b1edf9-6e48-442a-9e00-04850b59a756" providerId="ADAL" clId="{D7E2F68E-A503-4B31-8CB2-DC1B28F456AF}" dt="2025-06-01T11:49:04.041" v="4143" actId="21"/>
          <ac:spMkLst>
            <pc:docMk/>
            <pc:sldMk cId="1049469891" sldId="340"/>
            <ac:spMk id="67" creationId="{26817E8E-BCA5-3115-C026-71B20A9BD8F9}"/>
          </ac:spMkLst>
        </pc:spChg>
        <pc:grpChg chg="add del mod">
          <ac:chgData name="Jessica Henley" userId="63b1edf9-6e48-442a-9e00-04850b59a756" providerId="ADAL" clId="{D7E2F68E-A503-4B31-8CB2-DC1B28F456AF}" dt="2025-06-01T11:45:31.946" v="4107" actId="478"/>
          <ac:grpSpMkLst>
            <pc:docMk/>
            <pc:sldMk cId="1049469891" sldId="340"/>
            <ac:grpSpMk id="2" creationId="{9A23015E-4B69-3092-D40B-AF20FE292F46}"/>
          </ac:grpSpMkLst>
        </pc:grpChg>
        <pc:grpChg chg="del">
          <ac:chgData name="Jessica Henley" userId="63b1edf9-6e48-442a-9e00-04850b59a756" providerId="ADAL" clId="{D7E2F68E-A503-4B31-8CB2-DC1B28F456AF}" dt="2025-06-01T11:45:39.177" v="4108" actId="478"/>
          <ac:grpSpMkLst>
            <pc:docMk/>
            <pc:sldMk cId="1049469891" sldId="340"/>
            <ac:grpSpMk id="3" creationId="{DCD63076-C993-4FCE-DE47-6BC4EC04214A}"/>
          </ac:grpSpMkLst>
        </pc:grpChg>
        <pc:grpChg chg="add mod">
          <ac:chgData name="Jessica Henley" userId="63b1edf9-6e48-442a-9e00-04850b59a756" providerId="ADAL" clId="{D7E2F68E-A503-4B31-8CB2-DC1B28F456AF}" dt="2025-06-01T11:45:28.706" v="4105"/>
          <ac:grpSpMkLst>
            <pc:docMk/>
            <pc:sldMk cId="1049469891" sldId="340"/>
            <ac:grpSpMk id="13" creationId="{33F4507A-45BA-FD0A-4DD7-2DCFBB547E58}"/>
          </ac:grpSpMkLst>
        </pc:grpChg>
        <pc:grpChg chg="add mod">
          <ac:chgData name="Jessica Henley" userId="63b1edf9-6e48-442a-9e00-04850b59a756" providerId="ADAL" clId="{D7E2F68E-A503-4B31-8CB2-DC1B28F456AF}" dt="2025-06-01T11:45:28.467" v="4104"/>
          <ac:grpSpMkLst>
            <pc:docMk/>
            <pc:sldMk cId="1049469891" sldId="340"/>
            <ac:grpSpMk id="17" creationId="{C71590CF-30FB-E6FF-AE58-500C39B87E93}"/>
          </ac:grpSpMkLst>
        </pc:grpChg>
        <pc:grpChg chg="add mod">
          <ac:chgData name="Jessica Henley" userId="63b1edf9-6e48-442a-9e00-04850b59a756" providerId="ADAL" clId="{D7E2F68E-A503-4B31-8CB2-DC1B28F456AF}" dt="2025-06-01T11:45:28.214" v="4103"/>
          <ac:grpSpMkLst>
            <pc:docMk/>
            <pc:sldMk cId="1049469891" sldId="340"/>
            <ac:grpSpMk id="20" creationId="{2CF4B76E-0C88-644F-BDA7-0D12C59EF608}"/>
          </ac:grpSpMkLst>
        </pc:grpChg>
        <pc:grpChg chg="add mod">
          <ac:chgData name="Jessica Henley" userId="63b1edf9-6e48-442a-9e00-04850b59a756" providerId="ADAL" clId="{D7E2F68E-A503-4B31-8CB2-DC1B28F456AF}" dt="2025-06-01T11:46:08.322" v="4114" actId="1076"/>
          <ac:grpSpMkLst>
            <pc:docMk/>
            <pc:sldMk cId="1049469891" sldId="340"/>
            <ac:grpSpMk id="23" creationId="{1296645A-8538-F436-266C-A307603F593B}"/>
          </ac:grpSpMkLst>
        </pc:grpChg>
        <pc:grpChg chg="add del mod">
          <ac:chgData name="Jessica Henley" userId="63b1edf9-6e48-442a-9e00-04850b59a756" providerId="ADAL" clId="{D7E2F68E-A503-4B31-8CB2-DC1B28F456AF}" dt="2025-06-01T11:47:44.011" v="4128" actId="21"/>
          <ac:grpSpMkLst>
            <pc:docMk/>
            <pc:sldMk cId="1049469891" sldId="340"/>
            <ac:grpSpMk id="35" creationId="{DD93BDFF-77ED-6D15-A633-CFBE52D191A2}"/>
          </ac:grpSpMkLst>
        </pc:grpChg>
        <pc:grpChg chg="mod">
          <ac:chgData name="Jessica Henley" userId="63b1edf9-6e48-442a-9e00-04850b59a756" providerId="ADAL" clId="{D7E2F68E-A503-4B31-8CB2-DC1B28F456AF}" dt="2025-06-01T11:45:19.967" v="4098"/>
          <ac:grpSpMkLst>
            <pc:docMk/>
            <pc:sldMk cId="1049469891" sldId="340"/>
            <ac:grpSpMk id="37" creationId="{1AF5E11A-9715-B6A9-9C92-184200B14899}"/>
          </ac:grpSpMkLst>
        </pc:grpChg>
        <pc:picChg chg="mod">
          <ac:chgData name="Jessica Henley" userId="63b1edf9-6e48-442a-9e00-04850b59a756" providerId="ADAL" clId="{D7E2F68E-A503-4B31-8CB2-DC1B28F456AF}" dt="2025-06-01T11:45:19.967" v="4098"/>
          <ac:picMkLst>
            <pc:docMk/>
            <pc:sldMk cId="1049469891" sldId="340"/>
            <ac:picMk id="12" creationId="{AAFCEDD1-2AD0-B051-5D40-E096CEBDDEF1}"/>
          </ac:picMkLst>
        </pc:picChg>
        <pc:picChg chg="mod">
          <ac:chgData name="Jessica Henley" userId="63b1edf9-6e48-442a-9e00-04850b59a756" providerId="ADAL" clId="{D7E2F68E-A503-4B31-8CB2-DC1B28F456AF}" dt="2025-06-01T11:45:28.706" v="4105"/>
          <ac:picMkLst>
            <pc:docMk/>
            <pc:sldMk cId="1049469891" sldId="340"/>
            <ac:picMk id="16" creationId="{35E17694-9E33-8730-A3D9-39831104BFF9}"/>
          </ac:picMkLst>
        </pc:picChg>
        <pc:picChg chg="mod">
          <ac:chgData name="Jessica Henley" userId="63b1edf9-6e48-442a-9e00-04850b59a756" providerId="ADAL" clId="{D7E2F68E-A503-4B31-8CB2-DC1B28F456AF}" dt="2025-06-01T11:45:28.467" v="4104"/>
          <ac:picMkLst>
            <pc:docMk/>
            <pc:sldMk cId="1049469891" sldId="340"/>
            <ac:picMk id="19" creationId="{D0DD9A5F-1174-06FC-E7E6-4A835FB0CA37}"/>
          </ac:picMkLst>
        </pc:picChg>
        <pc:picChg chg="mod">
          <ac:chgData name="Jessica Henley" userId="63b1edf9-6e48-442a-9e00-04850b59a756" providerId="ADAL" clId="{D7E2F68E-A503-4B31-8CB2-DC1B28F456AF}" dt="2025-06-01T11:45:28.214" v="4103"/>
          <ac:picMkLst>
            <pc:docMk/>
            <pc:sldMk cId="1049469891" sldId="340"/>
            <ac:picMk id="22" creationId="{AFE90DF3-794B-DD6A-89C3-35706010E91D}"/>
          </ac:picMkLst>
        </pc:picChg>
        <pc:picChg chg="mod">
          <ac:chgData name="Jessica Henley" userId="63b1edf9-6e48-442a-9e00-04850b59a756" providerId="ADAL" clId="{D7E2F68E-A503-4B31-8CB2-DC1B28F456AF}" dt="2025-06-01T11:46:02.594" v="4113"/>
          <ac:picMkLst>
            <pc:docMk/>
            <pc:sldMk cId="1049469891" sldId="340"/>
            <ac:picMk id="29" creationId="{0B1005C4-052D-61AE-8A3A-8706F061314E}"/>
          </ac:picMkLst>
        </pc:picChg>
        <pc:picChg chg="mod">
          <ac:chgData name="Jessica Henley" userId="63b1edf9-6e48-442a-9e00-04850b59a756" providerId="ADAL" clId="{D7E2F68E-A503-4B31-8CB2-DC1B28F456AF}" dt="2025-06-01T11:47:42.571" v="4127"/>
          <ac:picMkLst>
            <pc:docMk/>
            <pc:sldMk cId="1049469891" sldId="340"/>
            <ac:picMk id="39" creationId="{8A59D800-57C6-ACBF-D9E5-3F7EDD5E53D7}"/>
          </ac:picMkLst>
        </pc:picChg>
        <pc:cxnChg chg="mod">
          <ac:chgData name="Jessica Henley" userId="63b1edf9-6e48-442a-9e00-04850b59a756" providerId="ADAL" clId="{D7E2F68E-A503-4B31-8CB2-DC1B28F456AF}" dt="2025-06-01T11:45:19.967" v="4098"/>
          <ac:cxnSpMkLst>
            <pc:docMk/>
            <pc:sldMk cId="1049469891" sldId="340"/>
            <ac:cxnSpMk id="7" creationId="{54CBF597-7E17-C94A-2D81-D824A75EFB90}"/>
          </ac:cxnSpMkLst>
        </pc:cxnChg>
        <pc:cxnChg chg="add del">
          <ac:chgData name="Jessica Henley" userId="63b1edf9-6e48-442a-9e00-04850b59a756" providerId="ADAL" clId="{D7E2F68E-A503-4B31-8CB2-DC1B28F456AF}" dt="2025-06-01T11:45:29.088" v="4106" actId="478"/>
          <ac:cxnSpMkLst>
            <pc:docMk/>
            <pc:sldMk cId="1049469891" sldId="340"/>
            <ac:cxnSpMk id="9" creationId="{0126C4FB-FB0A-AEE9-EE1F-55501DBF478F}"/>
          </ac:cxnSpMkLst>
        </pc:cxnChg>
      </pc:sldChg>
      <pc:sldChg chg="addSp delSp modSp add mod ord delAnim">
        <pc:chgData name="Jessica Henley" userId="63b1edf9-6e48-442a-9e00-04850b59a756" providerId="ADAL" clId="{D7E2F68E-A503-4B31-8CB2-DC1B28F456AF}" dt="2025-06-01T11:50:15.056" v="4149" actId="21"/>
        <pc:sldMkLst>
          <pc:docMk/>
          <pc:sldMk cId="2856377038" sldId="341"/>
        </pc:sldMkLst>
        <pc:spChg chg="mod">
          <ac:chgData name="Jessica Henley" userId="63b1edf9-6e48-442a-9e00-04850b59a756" providerId="ADAL" clId="{D7E2F68E-A503-4B31-8CB2-DC1B28F456AF}" dt="2025-06-01T11:50:14.062" v="4148"/>
          <ac:spMkLst>
            <pc:docMk/>
            <pc:sldMk cId="2856377038" sldId="341"/>
            <ac:spMk id="7" creationId="{C1243B6D-F967-DFDA-5EB9-DDAF40EB09FC}"/>
          </ac:spMkLst>
        </pc:spChg>
        <pc:spChg chg="add del mod">
          <ac:chgData name="Jessica Henley" userId="63b1edf9-6e48-442a-9e00-04850b59a756" providerId="ADAL" clId="{D7E2F68E-A503-4B31-8CB2-DC1B28F456AF}" dt="2025-06-01T11:50:15.056" v="4149" actId="21"/>
          <ac:spMkLst>
            <pc:docMk/>
            <pc:sldMk cId="2856377038" sldId="341"/>
            <ac:spMk id="11" creationId="{717D1C74-0570-2C66-991D-FE212CE84B98}"/>
          </ac:spMkLst>
        </pc:spChg>
        <pc:spChg chg="add del mod">
          <ac:chgData name="Jessica Henley" userId="63b1edf9-6e48-442a-9e00-04850b59a756" providerId="ADAL" clId="{D7E2F68E-A503-4B31-8CB2-DC1B28F456AF}" dt="2025-06-01T11:50:15.056" v="4149" actId="21"/>
          <ac:spMkLst>
            <pc:docMk/>
            <pc:sldMk cId="2856377038" sldId="341"/>
            <ac:spMk id="12" creationId="{98FF08A6-517C-FED4-8FA5-E2E5DF89334E}"/>
          </ac:spMkLst>
        </pc:spChg>
        <pc:spChg chg="add del mod">
          <ac:chgData name="Jessica Henley" userId="63b1edf9-6e48-442a-9e00-04850b59a756" providerId="ADAL" clId="{D7E2F68E-A503-4B31-8CB2-DC1B28F456AF}" dt="2025-06-01T11:50:15.056" v="4149" actId="21"/>
          <ac:spMkLst>
            <pc:docMk/>
            <pc:sldMk cId="2856377038" sldId="341"/>
            <ac:spMk id="13" creationId="{0DAB279A-A7C4-0A93-2F06-9EBACE7BA4DE}"/>
          </ac:spMkLst>
        </pc:spChg>
        <pc:spChg chg="del">
          <ac:chgData name="Jessica Henley" userId="63b1edf9-6e48-442a-9e00-04850b59a756" providerId="ADAL" clId="{D7E2F68E-A503-4B31-8CB2-DC1B28F456AF}" dt="2025-06-01T11:48:49.565" v="4139" actId="478"/>
          <ac:spMkLst>
            <pc:docMk/>
            <pc:sldMk cId="2856377038" sldId="341"/>
            <ac:spMk id="14" creationId="{717E4048-F319-677E-D3C1-28759CC29224}"/>
          </ac:spMkLst>
        </pc:spChg>
        <pc:spChg chg="add del mod">
          <ac:chgData name="Jessica Henley" userId="63b1edf9-6e48-442a-9e00-04850b59a756" providerId="ADAL" clId="{D7E2F68E-A503-4B31-8CB2-DC1B28F456AF}" dt="2025-06-01T11:50:15.056" v="4149" actId="21"/>
          <ac:spMkLst>
            <pc:docMk/>
            <pc:sldMk cId="2856377038" sldId="341"/>
            <ac:spMk id="16" creationId="{C942DB85-A129-6BD5-82D0-A4995044BFEA}"/>
          </ac:spMkLst>
        </pc:spChg>
        <pc:spChg chg="add del mod">
          <ac:chgData name="Jessica Henley" userId="63b1edf9-6e48-442a-9e00-04850b59a756" providerId="ADAL" clId="{D7E2F68E-A503-4B31-8CB2-DC1B28F456AF}" dt="2025-06-01T11:50:15.056" v="4149" actId="21"/>
          <ac:spMkLst>
            <pc:docMk/>
            <pc:sldMk cId="2856377038" sldId="341"/>
            <ac:spMk id="17" creationId="{A4669159-0DC3-7A4C-C8AF-89511F99DDA4}"/>
          </ac:spMkLst>
        </pc:spChg>
        <pc:spChg chg="add del mod">
          <ac:chgData name="Jessica Henley" userId="63b1edf9-6e48-442a-9e00-04850b59a756" providerId="ADAL" clId="{D7E2F68E-A503-4B31-8CB2-DC1B28F456AF}" dt="2025-06-01T11:50:15.056" v="4149" actId="21"/>
          <ac:spMkLst>
            <pc:docMk/>
            <pc:sldMk cId="2856377038" sldId="341"/>
            <ac:spMk id="18" creationId="{0BDD59E8-DDF7-5D4B-2EFE-F6308462685A}"/>
          </ac:spMkLst>
        </pc:spChg>
        <pc:spChg chg="add del mod">
          <ac:chgData name="Jessica Henley" userId="63b1edf9-6e48-442a-9e00-04850b59a756" providerId="ADAL" clId="{D7E2F68E-A503-4B31-8CB2-DC1B28F456AF}" dt="2025-06-01T11:50:15.056" v="4149" actId="21"/>
          <ac:spMkLst>
            <pc:docMk/>
            <pc:sldMk cId="2856377038" sldId="341"/>
            <ac:spMk id="19" creationId="{F74E1E34-2023-D6A1-2289-8005B6EFB244}"/>
          </ac:spMkLst>
        </pc:spChg>
        <pc:spChg chg="add del mod">
          <ac:chgData name="Jessica Henley" userId="63b1edf9-6e48-442a-9e00-04850b59a756" providerId="ADAL" clId="{D7E2F68E-A503-4B31-8CB2-DC1B28F456AF}" dt="2025-06-01T11:50:15.056" v="4149" actId="21"/>
          <ac:spMkLst>
            <pc:docMk/>
            <pc:sldMk cId="2856377038" sldId="341"/>
            <ac:spMk id="20" creationId="{75794F42-C293-D510-C0CB-8B0BE8E5CF04}"/>
          </ac:spMkLst>
        </pc:spChg>
        <pc:spChg chg="del">
          <ac:chgData name="Jessica Henley" userId="63b1edf9-6e48-442a-9e00-04850b59a756" providerId="ADAL" clId="{D7E2F68E-A503-4B31-8CB2-DC1B28F456AF}" dt="2025-06-01T11:50:15.056" v="4149" actId="21"/>
          <ac:spMkLst>
            <pc:docMk/>
            <pc:sldMk cId="2856377038" sldId="341"/>
            <ac:spMk id="21" creationId="{0671BB91-86B0-7082-8BFC-AA172E5E678E}"/>
          </ac:spMkLst>
        </pc:spChg>
        <pc:spChg chg="add del mod">
          <ac:chgData name="Jessica Henley" userId="63b1edf9-6e48-442a-9e00-04850b59a756" providerId="ADAL" clId="{D7E2F68E-A503-4B31-8CB2-DC1B28F456AF}" dt="2025-06-01T11:50:15.056" v="4149" actId="21"/>
          <ac:spMkLst>
            <pc:docMk/>
            <pc:sldMk cId="2856377038" sldId="341"/>
            <ac:spMk id="22" creationId="{DAABA8FC-E811-F676-4C68-E69AB1CE6EFD}"/>
          </ac:spMkLst>
        </pc:spChg>
        <pc:spChg chg="del">
          <ac:chgData name="Jessica Henley" userId="63b1edf9-6e48-442a-9e00-04850b59a756" providerId="ADAL" clId="{D7E2F68E-A503-4B31-8CB2-DC1B28F456AF}" dt="2025-06-01T11:48:49.565" v="4139" actId="478"/>
          <ac:spMkLst>
            <pc:docMk/>
            <pc:sldMk cId="2856377038" sldId="341"/>
            <ac:spMk id="24" creationId="{C6819DFD-9477-0E6D-A49E-987080337F7C}"/>
          </ac:spMkLst>
        </pc:spChg>
        <pc:spChg chg="del">
          <ac:chgData name="Jessica Henley" userId="63b1edf9-6e48-442a-9e00-04850b59a756" providerId="ADAL" clId="{D7E2F68E-A503-4B31-8CB2-DC1B28F456AF}" dt="2025-06-01T11:48:49.565" v="4139" actId="478"/>
          <ac:spMkLst>
            <pc:docMk/>
            <pc:sldMk cId="2856377038" sldId="341"/>
            <ac:spMk id="28" creationId="{574EDBF5-4B4A-F2FA-98B1-F9ED60AFAEAE}"/>
          </ac:spMkLst>
        </pc:spChg>
        <pc:spChg chg="del">
          <ac:chgData name="Jessica Henley" userId="63b1edf9-6e48-442a-9e00-04850b59a756" providerId="ADAL" clId="{D7E2F68E-A503-4B31-8CB2-DC1B28F456AF}" dt="2025-06-01T11:48:49.565" v="4139" actId="478"/>
          <ac:spMkLst>
            <pc:docMk/>
            <pc:sldMk cId="2856377038" sldId="341"/>
            <ac:spMk id="30" creationId="{2711E8AA-1103-5E7E-32E7-17FFB35431F8}"/>
          </ac:spMkLst>
        </pc:spChg>
        <pc:spChg chg="del">
          <ac:chgData name="Jessica Henley" userId="63b1edf9-6e48-442a-9e00-04850b59a756" providerId="ADAL" clId="{D7E2F68E-A503-4B31-8CB2-DC1B28F456AF}" dt="2025-06-01T11:48:49.565" v="4139" actId="478"/>
          <ac:spMkLst>
            <pc:docMk/>
            <pc:sldMk cId="2856377038" sldId="341"/>
            <ac:spMk id="31" creationId="{83794525-D7E3-1359-5AFE-C6ED17D0A45E}"/>
          </ac:spMkLst>
        </pc:spChg>
        <pc:spChg chg="del">
          <ac:chgData name="Jessica Henley" userId="63b1edf9-6e48-442a-9e00-04850b59a756" providerId="ADAL" clId="{D7E2F68E-A503-4B31-8CB2-DC1B28F456AF}" dt="2025-06-01T11:48:49.565" v="4139" actId="478"/>
          <ac:spMkLst>
            <pc:docMk/>
            <pc:sldMk cId="2856377038" sldId="341"/>
            <ac:spMk id="36" creationId="{624D5F98-1FAD-2636-026A-A6C3C8042C40}"/>
          </ac:spMkLst>
        </pc:spChg>
        <pc:spChg chg="del">
          <ac:chgData name="Jessica Henley" userId="63b1edf9-6e48-442a-9e00-04850b59a756" providerId="ADAL" clId="{D7E2F68E-A503-4B31-8CB2-DC1B28F456AF}" dt="2025-06-01T11:48:49.565" v="4139" actId="478"/>
          <ac:spMkLst>
            <pc:docMk/>
            <pc:sldMk cId="2856377038" sldId="341"/>
            <ac:spMk id="43" creationId="{3003C3DD-7164-8A4D-4C2C-CEE4A2BFD077}"/>
          </ac:spMkLst>
        </pc:spChg>
        <pc:spChg chg="del">
          <ac:chgData name="Jessica Henley" userId="63b1edf9-6e48-442a-9e00-04850b59a756" providerId="ADAL" clId="{D7E2F68E-A503-4B31-8CB2-DC1B28F456AF}" dt="2025-06-01T11:48:49.565" v="4139" actId="478"/>
          <ac:spMkLst>
            <pc:docMk/>
            <pc:sldMk cId="2856377038" sldId="341"/>
            <ac:spMk id="45" creationId="{FDEECD88-9875-4B7B-2EB6-BA9B19DF5638}"/>
          </ac:spMkLst>
        </pc:spChg>
        <pc:spChg chg="del">
          <ac:chgData name="Jessica Henley" userId="63b1edf9-6e48-442a-9e00-04850b59a756" providerId="ADAL" clId="{D7E2F68E-A503-4B31-8CB2-DC1B28F456AF}" dt="2025-06-01T11:48:49.565" v="4139" actId="478"/>
          <ac:spMkLst>
            <pc:docMk/>
            <pc:sldMk cId="2856377038" sldId="341"/>
            <ac:spMk id="47" creationId="{F44BE26F-20AA-A5DF-0261-F1289470712E}"/>
          </ac:spMkLst>
        </pc:spChg>
        <pc:spChg chg="del">
          <ac:chgData name="Jessica Henley" userId="63b1edf9-6e48-442a-9e00-04850b59a756" providerId="ADAL" clId="{D7E2F68E-A503-4B31-8CB2-DC1B28F456AF}" dt="2025-06-01T11:48:49.565" v="4139" actId="478"/>
          <ac:spMkLst>
            <pc:docMk/>
            <pc:sldMk cId="2856377038" sldId="341"/>
            <ac:spMk id="49" creationId="{29E57717-1202-7024-F70C-0DB4C296CBAC}"/>
          </ac:spMkLst>
        </pc:spChg>
        <pc:spChg chg="add mod">
          <ac:chgData name="Jessica Henley" userId="63b1edf9-6e48-442a-9e00-04850b59a756" providerId="ADAL" clId="{D7E2F68E-A503-4B31-8CB2-DC1B28F456AF}" dt="2025-06-01T11:49:07.272" v="4144"/>
          <ac:spMkLst>
            <pc:docMk/>
            <pc:sldMk cId="2856377038" sldId="341"/>
            <ac:spMk id="56" creationId="{25C1717C-C3F9-1F6F-E4CE-7299EC3D1390}"/>
          </ac:spMkLst>
        </pc:spChg>
        <pc:spChg chg="add mod">
          <ac:chgData name="Jessica Henley" userId="63b1edf9-6e48-442a-9e00-04850b59a756" providerId="ADAL" clId="{D7E2F68E-A503-4B31-8CB2-DC1B28F456AF}" dt="2025-06-01T11:49:07.272" v="4144"/>
          <ac:spMkLst>
            <pc:docMk/>
            <pc:sldMk cId="2856377038" sldId="341"/>
            <ac:spMk id="57" creationId="{64C46658-3D6B-383C-A392-91475CC76732}"/>
          </ac:spMkLst>
        </pc:spChg>
        <pc:spChg chg="add mod">
          <ac:chgData name="Jessica Henley" userId="63b1edf9-6e48-442a-9e00-04850b59a756" providerId="ADAL" clId="{D7E2F68E-A503-4B31-8CB2-DC1B28F456AF}" dt="2025-06-01T11:49:07.272" v="4144"/>
          <ac:spMkLst>
            <pc:docMk/>
            <pc:sldMk cId="2856377038" sldId="341"/>
            <ac:spMk id="59" creationId="{ACB47FFF-71AC-5F9B-5E60-709CFD5DD491}"/>
          </ac:spMkLst>
        </pc:spChg>
        <pc:spChg chg="add mod">
          <ac:chgData name="Jessica Henley" userId="63b1edf9-6e48-442a-9e00-04850b59a756" providerId="ADAL" clId="{D7E2F68E-A503-4B31-8CB2-DC1B28F456AF}" dt="2025-06-01T11:49:07.272" v="4144"/>
          <ac:spMkLst>
            <pc:docMk/>
            <pc:sldMk cId="2856377038" sldId="341"/>
            <ac:spMk id="60" creationId="{4DE36AD0-F9E3-E909-433A-5CFAFEF43C37}"/>
          </ac:spMkLst>
        </pc:spChg>
        <pc:spChg chg="add mod">
          <ac:chgData name="Jessica Henley" userId="63b1edf9-6e48-442a-9e00-04850b59a756" providerId="ADAL" clId="{D7E2F68E-A503-4B31-8CB2-DC1B28F456AF}" dt="2025-06-01T11:49:07.272" v="4144"/>
          <ac:spMkLst>
            <pc:docMk/>
            <pc:sldMk cId="2856377038" sldId="341"/>
            <ac:spMk id="62" creationId="{10724E3D-FA13-A505-A07C-48CDC68BB323}"/>
          </ac:spMkLst>
        </pc:spChg>
        <pc:spChg chg="add mod">
          <ac:chgData name="Jessica Henley" userId="63b1edf9-6e48-442a-9e00-04850b59a756" providerId="ADAL" clId="{D7E2F68E-A503-4B31-8CB2-DC1B28F456AF}" dt="2025-06-01T11:49:07.272" v="4144"/>
          <ac:spMkLst>
            <pc:docMk/>
            <pc:sldMk cId="2856377038" sldId="341"/>
            <ac:spMk id="63" creationId="{E1D859A7-AB1D-7543-3D8E-47DDA595EDFD}"/>
          </ac:spMkLst>
        </pc:spChg>
        <pc:spChg chg="add mod">
          <ac:chgData name="Jessica Henley" userId="63b1edf9-6e48-442a-9e00-04850b59a756" providerId="ADAL" clId="{D7E2F68E-A503-4B31-8CB2-DC1B28F456AF}" dt="2025-06-01T11:49:07.272" v="4144"/>
          <ac:spMkLst>
            <pc:docMk/>
            <pc:sldMk cId="2856377038" sldId="341"/>
            <ac:spMk id="64" creationId="{8D064FBC-DF22-B491-58F7-BB1E5A21408B}"/>
          </ac:spMkLst>
        </pc:spChg>
        <pc:spChg chg="add mod">
          <ac:chgData name="Jessica Henley" userId="63b1edf9-6e48-442a-9e00-04850b59a756" providerId="ADAL" clId="{D7E2F68E-A503-4B31-8CB2-DC1B28F456AF}" dt="2025-06-01T11:49:07.272" v="4144"/>
          <ac:spMkLst>
            <pc:docMk/>
            <pc:sldMk cId="2856377038" sldId="341"/>
            <ac:spMk id="65" creationId="{2A8AB775-CCE4-9F30-2248-29668672893C}"/>
          </ac:spMkLst>
        </pc:spChg>
        <pc:spChg chg="add mod">
          <ac:chgData name="Jessica Henley" userId="63b1edf9-6e48-442a-9e00-04850b59a756" providerId="ADAL" clId="{D7E2F68E-A503-4B31-8CB2-DC1B28F456AF}" dt="2025-06-01T11:49:07.272" v="4144"/>
          <ac:spMkLst>
            <pc:docMk/>
            <pc:sldMk cId="2856377038" sldId="341"/>
            <ac:spMk id="66" creationId="{EE846801-B5AF-CD9B-4A3F-8FA5F921A12F}"/>
          </ac:spMkLst>
        </pc:spChg>
        <pc:spChg chg="add mod">
          <ac:chgData name="Jessica Henley" userId="63b1edf9-6e48-442a-9e00-04850b59a756" providerId="ADAL" clId="{D7E2F68E-A503-4B31-8CB2-DC1B28F456AF}" dt="2025-06-01T11:49:07.272" v="4144"/>
          <ac:spMkLst>
            <pc:docMk/>
            <pc:sldMk cId="2856377038" sldId="341"/>
            <ac:spMk id="67" creationId="{26817E8E-BCA5-3115-C026-71B20A9BD8F9}"/>
          </ac:spMkLst>
        </pc:spChg>
        <pc:grpChg chg="add mod">
          <ac:chgData name="Jessica Henley" userId="63b1edf9-6e48-442a-9e00-04850b59a756" providerId="ADAL" clId="{D7E2F68E-A503-4B31-8CB2-DC1B28F456AF}" dt="2025-06-01T11:49:45.640" v="4146" actId="164"/>
          <ac:grpSpMkLst>
            <pc:docMk/>
            <pc:sldMk cId="2856377038" sldId="341"/>
            <ac:grpSpMk id="2" creationId="{33C2D54E-ED08-2FF0-73E7-6FBE61A69C39}"/>
          </ac:grpSpMkLst>
        </pc:grpChg>
        <pc:grpChg chg="mod">
          <ac:chgData name="Jessica Henley" userId="63b1edf9-6e48-442a-9e00-04850b59a756" providerId="ADAL" clId="{D7E2F68E-A503-4B31-8CB2-DC1B28F456AF}" dt="2025-06-01T11:49:45.640" v="4146" actId="164"/>
          <ac:grpSpMkLst>
            <pc:docMk/>
            <pc:sldMk cId="2856377038" sldId="341"/>
            <ac:grpSpMk id="35" creationId="{248F87C4-B4D5-BCF8-9CA1-702131E88EC5}"/>
          </ac:grpSpMkLst>
        </pc:grpChg>
        <pc:cxnChg chg="mod">
          <ac:chgData name="Jessica Henley" userId="63b1edf9-6e48-442a-9e00-04850b59a756" providerId="ADAL" clId="{D7E2F68E-A503-4B31-8CB2-DC1B28F456AF}" dt="2025-06-01T11:49:45.640" v="4146" actId="164"/>
          <ac:cxnSpMkLst>
            <pc:docMk/>
            <pc:sldMk cId="2856377038" sldId="341"/>
            <ac:cxnSpMk id="9" creationId="{2DAC3005-BEC2-3E1F-9EC3-15A715E007B0}"/>
          </ac:cxnSpMkLst>
        </pc:cxnChg>
      </pc:sldChg>
      <pc:sldChg chg="addSp delSp modSp add mod modShow">
        <pc:chgData name="Jessica Henley" userId="63b1edf9-6e48-442a-9e00-04850b59a756" providerId="ADAL" clId="{D7E2F68E-A503-4B31-8CB2-DC1B28F456AF}" dt="2025-06-01T14:46:20.561" v="5770" actId="729"/>
        <pc:sldMkLst>
          <pc:docMk/>
          <pc:sldMk cId="4101857047" sldId="342"/>
        </pc:sldMkLst>
        <pc:spChg chg="add del mod">
          <ac:chgData name="Jessica Henley" userId="63b1edf9-6e48-442a-9e00-04850b59a756" providerId="ADAL" clId="{D7E2F68E-A503-4B31-8CB2-DC1B28F456AF}" dt="2025-06-01T12:09:01.956" v="4432" actId="21"/>
          <ac:spMkLst>
            <pc:docMk/>
            <pc:sldMk cId="4101857047" sldId="342"/>
            <ac:spMk id="2" creationId="{49D8D41F-8B3F-EF5B-8BB3-02668FC7153B}"/>
          </ac:spMkLst>
        </pc:spChg>
        <pc:spChg chg="mod">
          <ac:chgData name="Jessica Henley" userId="63b1edf9-6e48-442a-9e00-04850b59a756" providerId="ADAL" clId="{D7E2F68E-A503-4B31-8CB2-DC1B28F456AF}" dt="2025-06-01T11:57:40.107" v="4355" actId="20577"/>
          <ac:spMkLst>
            <pc:docMk/>
            <pc:sldMk cId="4101857047" sldId="342"/>
            <ac:spMk id="13" creationId="{EF0159F1-EDA7-80DE-403E-647103C28C40}"/>
          </ac:spMkLst>
        </pc:spChg>
      </pc:sldChg>
      <pc:sldChg chg="modSp add mod">
        <pc:chgData name="Jessica Henley" userId="63b1edf9-6e48-442a-9e00-04850b59a756" providerId="ADAL" clId="{D7E2F68E-A503-4B31-8CB2-DC1B28F456AF}" dt="2025-06-01T12:20:33.522" v="4530" actId="1076"/>
        <pc:sldMkLst>
          <pc:docMk/>
          <pc:sldMk cId="1847353813" sldId="343"/>
        </pc:sldMkLst>
        <pc:spChg chg="mod">
          <ac:chgData name="Jessica Henley" userId="63b1edf9-6e48-442a-9e00-04850b59a756" providerId="ADAL" clId="{D7E2F68E-A503-4B31-8CB2-DC1B28F456AF}" dt="2025-06-01T12:20:33.522" v="4530" actId="1076"/>
          <ac:spMkLst>
            <pc:docMk/>
            <pc:sldMk cId="1847353813" sldId="343"/>
            <ac:spMk id="121" creationId="{DFC509CD-4B08-5EB6-A6B3-81381CB9C0D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C3AF2F-7BE3-498F-9766-58B5DA79A88E}" type="datetimeFigureOut">
              <a:rPr lang="en-GB" smtClean="0"/>
              <a:t>02/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27244-25DA-4FDD-ADED-482C09915D8A}" type="slidenum">
              <a:rPr lang="en-GB" smtClean="0"/>
              <a:t>‹#›</a:t>
            </a:fld>
            <a:endParaRPr lang="en-GB"/>
          </a:p>
        </p:txBody>
      </p:sp>
    </p:spTree>
    <p:extLst>
      <p:ext uri="{BB962C8B-B14F-4D97-AF65-F5344CB8AC3E}">
        <p14:creationId xmlns:p14="http://schemas.microsoft.com/office/powerpoint/2010/main" val="2933466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0727244-25DA-4FDD-ADED-482C09915D8A}" type="slidenum">
              <a:rPr lang="en-GB" smtClean="0"/>
              <a:t>1</a:t>
            </a:fld>
            <a:endParaRPr lang="en-GB"/>
          </a:p>
        </p:txBody>
      </p:sp>
    </p:spTree>
    <p:extLst>
      <p:ext uri="{BB962C8B-B14F-4D97-AF65-F5344CB8AC3E}">
        <p14:creationId xmlns:p14="http://schemas.microsoft.com/office/powerpoint/2010/main" val="18796722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itially, our model yielded unrealistically perfect scores due to data leakage—a byproduct of treating categorical data as numerical. </a:t>
            </a:r>
          </a:p>
          <a:p>
            <a:endParaRPr lang="en-US" dirty="0"/>
          </a:p>
          <a:p>
            <a:r>
              <a:rPr lang="en-US" dirty="0"/>
              <a:t>To resolve this, we applied one-hot encoding and carefully separated numerical from categorical inputs. </a:t>
            </a:r>
          </a:p>
          <a:p>
            <a:endParaRPr lang="en-US" dirty="0"/>
          </a:p>
          <a:p>
            <a:r>
              <a:rPr lang="en-US" dirty="0"/>
              <a:t>This adjustment led us to a final logistic regression model built with the </a:t>
            </a:r>
            <a:r>
              <a:rPr lang="en-US" dirty="0" err="1"/>
              <a:t>Keras</a:t>
            </a:r>
            <a:r>
              <a:rPr lang="en-US" dirty="0"/>
              <a:t> Functional API, which not only performed robustly but was also transparent and interpretable for clinical use.”</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19</a:t>
            </a:fld>
            <a:endParaRPr lang="en-GB"/>
          </a:p>
        </p:txBody>
      </p:sp>
    </p:spTree>
    <p:extLst>
      <p:ext uri="{BB962C8B-B14F-4D97-AF65-F5344CB8AC3E}">
        <p14:creationId xmlns:p14="http://schemas.microsoft.com/office/powerpoint/2010/main" val="16226605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training loss curves show a steady decline with smooth convergence, confirming stable model training without overfitting.</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20</a:t>
            </a:fld>
            <a:endParaRPr lang="en-GB"/>
          </a:p>
        </p:txBody>
      </p:sp>
    </p:spTree>
    <p:extLst>
      <p:ext uri="{BB962C8B-B14F-4D97-AF65-F5344CB8AC3E}">
        <p14:creationId xmlns:p14="http://schemas.microsoft.com/office/powerpoint/2010/main" val="2376875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21</a:t>
            </a:fld>
            <a:endParaRPr lang="en-GB"/>
          </a:p>
        </p:txBody>
      </p:sp>
    </p:spTree>
    <p:extLst>
      <p:ext uri="{BB962C8B-B14F-4D97-AF65-F5344CB8AC3E}">
        <p14:creationId xmlns:p14="http://schemas.microsoft.com/office/powerpoint/2010/main" val="3372297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also built a dashboard which </a:t>
            </a:r>
            <a:r>
              <a:rPr lang="en-GB" dirty="0"/>
              <a:t>displays key indicators</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22</a:t>
            </a:fld>
            <a:endParaRPr lang="en-GB"/>
          </a:p>
        </p:txBody>
      </p:sp>
    </p:spTree>
    <p:extLst>
      <p:ext uri="{BB962C8B-B14F-4D97-AF65-F5344CB8AC3E}">
        <p14:creationId xmlns:p14="http://schemas.microsoft.com/office/powerpoint/2010/main" val="3255386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indings are in line with the literature. Studies by Mørch and </a:t>
            </a:r>
            <a:r>
              <a:rPr lang="en-US" dirty="0" err="1"/>
              <a:t>Orrù</a:t>
            </a:r>
            <a:r>
              <a:rPr lang="en-US" dirty="0"/>
              <a:t> have shown that machine learning can significantly improve early diagnostic accuracy. </a:t>
            </a:r>
          </a:p>
          <a:p>
            <a:endParaRPr lang="en-US" dirty="0"/>
          </a:p>
          <a:p>
            <a:r>
              <a:rPr lang="en-US" dirty="0"/>
              <a:t>Our work underscores the idea that even simple yet well-tuned models like logistic regression—when processed and evaluated rigorously—can deliver excellent performance. </a:t>
            </a:r>
          </a:p>
          <a:p>
            <a:endParaRPr lang="en-US" dirty="0"/>
          </a:p>
          <a:p>
            <a:r>
              <a:rPr lang="en-US" dirty="0"/>
              <a:t>However, we must acknowledge limitations such as our dataset’s lack of demographic diversity and the need for external validation to fully generalize our results.</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25</a:t>
            </a:fld>
            <a:endParaRPr lang="en-GB"/>
          </a:p>
        </p:txBody>
      </p:sp>
    </p:spTree>
    <p:extLst>
      <p:ext uri="{BB962C8B-B14F-4D97-AF65-F5344CB8AC3E}">
        <p14:creationId xmlns:p14="http://schemas.microsoft.com/office/powerpoint/2010/main" val="28583088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d on our study, we recommend that </a:t>
            </a:r>
            <a:r>
              <a:rPr lang="en-US" dirty="0" err="1"/>
              <a:t>clinitions</a:t>
            </a:r>
            <a:r>
              <a:rPr lang="en-US" dirty="0"/>
              <a:t> consider adopting interpretable predictive models for early schizophrenia detection and sharing data to cover demographics.</a:t>
            </a:r>
          </a:p>
          <a:p>
            <a:endParaRPr lang="en-US" dirty="0"/>
          </a:p>
          <a:p>
            <a:r>
              <a:rPr lang="en-US" dirty="0"/>
              <a:t>A future direction is to enhance our work by validating on more diverse datasets and exploring more complex models and</a:t>
            </a:r>
          </a:p>
          <a:p>
            <a:endParaRPr lang="en-US" dirty="0"/>
          </a:p>
          <a:p>
            <a:r>
              <a:rPr lang="en-US" dirty="0"/>
              <a:t>Incorporating Explainable AI techniques to further improve clinicians’ trust and understanding of model decisions.”</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27</a:t>
            </a:fld>
            <a:endParaRPr lang="en-GB"/>
          </a:p>
        </p:txBody>
      </p:sp>
    </p:spTree>
    <p:extLst>
      <p:ext uri="{BB962C8B-B14F-4D97-AF65-F5344CB8AC3E}">
        <p14:creationId xmlns:p14="http://schemas.microsoft.com/office/powerpoint/2010/main" val="19091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onclusion, our project has demonstrated that an interpretable machine learning model—built using robust preprocessing and the CRISP-DM framework—can effectively predict early schizophrenia risk. </a:t>
            </a:r>
          </a:p>
          <a:p>
            <a:endParaRPr lang="en-US" dirty="0"/>
          </a:p>
          <a:p>
            <a:r>
              <a:rPr lang="en-US" dirty="0"/>
              <a:t>The outstanding performance metrics serve as evidence for the same. </a:t>
            </a:r>
          </a:p>
          <a:p>
            <a:endParaRPr lang="en-US" dirty="0"/>
          </a:p>
          <a:p>
            <a:r>
              <a:rPr lang="en-US" dirty="0"/>
              <a:t>This encourages its potential use in clinical settings, where early intervention is crucial to patient outcomes.</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33</a:t>
            </a:fld>
            <a:endParaRPr lang="en-GB"/>
          </a:p>
        </p:txBody>
      </p:sp>
    </p:spTree>
    <p:extLst>
      <p:ext uri="{BB962C8B-B14F-4D97-AF65-F5344CB8AC3E}">
        <p14:creationId xmlns:p14="http://schemas.microsoft.com/office/powerpoint/2010/main" val="664450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0727244-25DA-4FDD-ADED-482C09915D8A}" type="slidenum">
              <a:rPr lang="en-GB" smtClean="0"/>
              <a:t>2</a:t>
            </a:fld>
            <a:endParaRPr lang="en-GB"/>
          </a:p>
        </p:txBody>
      </p:sp>
    </p:spTree>
    <p:extLst>
      <p:ext uri="{BB962C8B-B14F-4D97-AF65-F5344CB8AC3E}">
        <p14:creationId xmlns:p14="http://schemas.microsoft.com/office/powerpoint/2010/main" val="1860853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ffects millions globally</a:t>
            </a:r>
          </a:p>
          <a:p>
            <a:pPr marL="171450" indent="-171450">
              <a:buFontTx/>
              <a:buChar char="-"/>
            </a:pPr>
            <a:r>
              <a:rPr lang="en-US" dirty="0"/>
              <a:t>Generic symptoms like depression and isolation</a:t>
            </a:r>
          </a:p>
          <a:p>
            <a:pPr marL="171450" indent="-171450">
              <a:buFontTx/>
              <a:buChar char="-"/>
            </a:pPr>
            <a:r>
              <a:rPr lang="en-US" dirty="0"/>
              <a:t>Can be attributed to other mental illnesses</a:t>
            </a:r>
          </a:p>
          <a:p>
            <a:pPr marL="171450" indent="-171450">
              <a:buFontTx/>
              <a:buChar char="-"/>
            </a:pPr>
            <a:r>
              <a:rPr lang="en-US" dirty="0"/>
              <a:t>Only after psychosis is it detected</a:t>
            </a:r>
          </a:p>
          <a:p>
            <a:pPr marL="171450" indent="-171450">
              <a:buFontTx/>
              <a:buChar char="-"/>
            </a:pPr>
            <a:endParaRPr lang="en-US" dirty="0"/>
          </a:p>
          <a:p>
            <a:pPr marL="171450" indent="-171450">
              <a:buFontTx/>
              <a:buChar char="-"/>
            </a:pP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4</a:t>
            </a:fld>
            <a:endParaRPr lang="en-GB"/>
          </a:p>
        </p:txBody>
      </p:sp>
    </p:spTree>
    <p:extLst>
      <p:ext uri="{BB962C8B-B14F-4D97-AF65-F5344CB8AC3E}">
        <p14:creationId xmlns:p14="http://schemas.microsoft.com/office/powerpoint/2010/main" val="1018208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Our work builds upon a robust body of literature. </a:t>
            </a:r>
          </a:p>
          <a:p>
            <a:pPr marL="171450" indent="-171450">
              <a:buFontTx/>
              <a:buChar char="-"/>
            </a:pPr>
            <a:r>
              <a:rPr lang="en-US" dirty="0"/>
              <a:t>Prior studies have demonstrated that early detection remains a challenge, while machine learning offers promising solutions. </a:t>
            </a:r>
          </a:p>
          <a:p>
            <a:pPr marL="171450" indent="-171450">
              <a:buFontTx/>
              <a:buChar char="-"/>
            </a:pPr>
            <a:r>
              <a:rPr lang="en-US" dirty="0"/>
              <a:t>Notably, research by </a:t>
            </a:r>
            <a:r>
              <a:rPr lang="en-US" dirty="0" err="1"/>
              <a:t>Vellido</a:t>
            </a:r>
            <a:r>
              <a:rPr lang="en-US" dirty="0"/>
              <a:t> et al. and </a:t>
            </a:r>
            <a:r>
              <a:rPr lang="en-US" dirty="0" err="1"/>
              <a:t>Orrù</a:t>
            </a:r>
            <a:r>
              <a:rPr lang="en-US" dirty="0"/>
              <a:t> et al. has validated the use of predictive models in psychiatric contexts. </a:t>
            </a:r>
          </a:p>
          <a:p>
            <a:pPr marL="171450" indent="-171450">
              <a:buFontTx/>
              <a:buChar char="-"/>
            </a:pPr>
            <a:r>
              <a:rPr lang="en-US" dirty="0"/>
              <a:t>Additionally, using frameworks like CRISP-DM—outlined by Shearer and Chapman—ensured our methodology was systematic and ethically rigorous. </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8</a:t>
            </a:fld>
            <a:endParaRPr lang="en-GB"/>
          </a:p>
        </p:txBody>
      </p:sp>
    </p:spTree>
    <p:extLst>
      <p:ext uri="{BB962C8B-B14F-4D97-AF65-F5344CB8AC3E}">
        <p14:creationId xmlns:p14="http://schemas.microsoft.com/office/powerpoint/2010/main" val="288047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ortantly, we prioritized interpretability so that clinicians can trust and understand how the model predicted.”</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9</a:t>
            </a:fld>
            <a:endParaRPr lang="en-GB"/>
          </a:p>
        </p:txBody>
      </p:sp>
    </p:spTree>
    <p:extLst>
      <p:ext uri="{BB962C8B-B14F-4D97-AF65-F5344CB8AC3E}">
        <p14:creationId xmlns:p14="http://schemas.microsoft.com/office/powerpoint/2010/main" val="1349505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C3045-C0CD-B702-BB20-1A821BA3FF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829AD0-EAD6-2A8E-7B10-14DB5B3D77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8D1760-E104-015A-2B6C-2ED988894FFB}"/>
              </a:ext>
            </a:extLst>
          </p:cNvPr>
          <p:cNvSpPr>
            <a:spLocks noGrp="1"/>
          </p:cNvSpPr>
          <p:nvPr>
            <p:ph type="body" idx="1"/>
          </p:nvPr>
        </p:nvSpPr>
        <p:spPr/>
        <p:txBody>
          <a:bodyPr/>
          <a:lstStyle/>
          <a:p>
            <a:r>
              <a:rPr lang="en-US" dirty="0"/>
              <a:t>Importantly, we prioritized interpretability so that clinicians can trust and understand how the model predicted.”</a:t>
            </a:r>
            <a:endParaRPr lang="LID4096" dirty="0"/>
          </a:p>
        </p:txBody>
      </p:sp>
      <p:sp>
        <p:nvSpPr>
          <p:cNvPr id="4" name="Slide Number Placeholder 3">
            <a:extLst>
              <a:ext uri="{FF2B5EF4-FFF2-40B4-BE49-F238E27FC236}">
                <a16:creationId xmlns:a16="http://schemas.microsoft.com/office/drawing/2014/main" id="{058A8BC5-4C83-C7E2-DD9B-33C701BD5013}"/>
              </a:ext>
            </a:extLst>
          </p:cNvPr>
          <p:cNvSpPr>
            <a:spLocks noGrp="1"/>
          </p:cNvSpPr>
          <p:nvPr>
            <p:ph type="sldNum" sz="quarter" idx="5"/>
          </p:nvPr>
        </p:nvSpPr>
        <p:spPr/>
        <p:txBody>
          <a:bodyPr/>
          <a:lstStyle/>
          <a:p>
            <a:fld id="{80727244-25DA-4FDD-ADED-482C09915D8A}" type="slidenum">
              <a:rPr lang="en-GB" smtClean="0"/>
              <a:t>10</a:t>
            </a:fld>
            <a:endParaRPr lang="en-GB"/>
          </a:p>
        </p:txBody>
      </p:sp>
    </p:spTree>
    <p:extLst>
      <p:ext uri="{BB962C8B-B14F-4D97-AF65-F5344CB8AC3E}">
        <p14:creationId xmlns:p14="http://schemas.microsoft.com/office/powerpoint/2010/main" val="16749219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dirty="0">
                <a:solidFill>
                  <a:prstClr val="white">
                    <a:alpha val="90000"/>
                  </a:prstClr>
                </a:solidFill>
              </a:rPr>
              <a:t>Even in large datasets, complex models showed no major advantage over logistic regression (AUC ≈ 0.70)</a:t>
            </a:r>
          </a:p>
          <a:p>
            <a:pPr marL="171450" indent="-171450">
              <a:buFontTx/>
              <a:buChar char="-"/>
            </a:pPr>
            <a:r>
              <a:rPr lang="en-US" sz="1200" dirty="0">
                <a:solidFill>
                  <a:prstClr val="white">
                    <a:alpha val="90000"/>
                  </a:prstClr>
                </a:solidFill>
              </a:rPr>
              <a:t>The paper published by Shafiei conducted a remission prediction study</a:t>
            </a:r>
          </a:p>
          <a:p>
            <a:pPr marL="171450" indent="-171450">
              <a:buFontTx/>
              <a:buChar char="-"/>
            </a:pPr>
            <a:r>
              <a:rPr lang="en-US" sz="1200" dirty="0">
                <a:solidFill>
                  <a:prstClr val="white">
                    <a:alpha val="90000"/>
                  </a:prstClr>
                </a:solidFill>
              </a:rPr>
              <a:t>Log Reg performed well on real clinical data and was externally validated in Canada</a:t>
            </a:r>
          </a:p>
          <a:p>
            <a:pPr marL="171450" indent="-171450">
              <a:buFontTx/>
              <a:buChar char="-"/>
            </a:pPr>
            <a:r>
              <a:rPr lang="en-US" sz="1200" dirty="0">
                <a:solidFill>
                  <a:prstClr val="white">
                    <a:alpha val="90000"/>
                  </a:prstClr>
                </a:solidFill>
              </a:rPr>
              <a:t>Gave us confidence that this was a good model for our project</a:t>
            </a:r>
          </a:p>
          <a:p>
            <a:pPr marL="171450" indent="-171450">
              <a:buFontTx/>
              <a:buChar char="-"/>
            </a:pPr>
            <a:r>
              <a:rPr lang="en-US" sz="1200" dirty="0">
                <a:solidFill>
                  <a:prstClr val="white">
                    <a:alpha val="90000"/>
                  </a:prstClr>
                </a:solidFill>
              </a:rPr>
              <a:t>Our team can doesn’t need to possess more advanced skills and equipment to build more advanced models</a:t>
            </a:r>
          </a:p>
          <a:p>
            <a:pPr marL="171450" indent="-171450">
              <a:buFontTx/>
              <a:buChar char="-"/>
            </a:pPr>
            <a:r>
              <a:rPr lang="en-US" sz="1200" dirty="0">
                <a:solidFill>
                  <a:prstClr val="white">
                    <a:alpha val="90000"/>
                  </a:prstClr>
                </a:solidFill>
              </a:rPr>
              <a:t>It avoids overfitting (memorizing the data too much)</a:t>
            </a:r>
            <a:endParaRPr lang="LID4096" dirty="0"/>
          </a:p>
        </p:txBody>
      </p:sp>
      <p:sp>
        <p:nvSpPr>
          <p:cNvPr id="4" name="Slide Number Placeholder 3"/>
          <p:cNvSpPr>
            <a:spLocks noGrp="1"/>
          </p:cNvSpPr>
          <p:nvPr>
            <p:ph type="sldNum" sz="quarter" idx="5"/>
          </p:nvPr>
        </p:nvSpPr>
        <p:spPr/>
        <p:txBody>
          <a:bodyPr/>
          <a:lstStyle/>
          <a:p>
            <a:fld id="{80727244-25DA-4FDD-ADED-482C09915D8A}" type="slidenum">
              <a:rPr lang="en-GB" smtClean="0"/>
              <a:t>11</a:t>
            </a:fld>
            <a:endParaRPr lang="en-GB"/>
          </a:p>
        </p:txBody>
      </p:sp>
    </p:spTree>
    <p:extLst>
      <p:ext uri="{BB962C8B-B14F-4D97-AF65-F5344CB8AC3E}">
        <p14:creationId xmlns:p14="http://schemas.microsoft.com/office/powerpoint/2010/main" val="2009618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usiness Understanding:</a:t>
            </a:r>
            <a:r>
              <a:rPr lang="en-US" dirty="0"/>
              <a:t> “We started by clearly defining our goal—to develop an interpretable machine learning model that predicts schizophrenia risk and supports early intervention.</a:t>
            </a:r>
          </a:p>
          <a:p>
            <a:endParaRPr lang="en-US" dirty="0"/>
          </a:p>
          <a:p>
            <a:r>
              <a:rPr lang="en-US" b="1" dirty="0"/>
              <a:t>Data Understanding:</a:t>
            </a:r>
            <a:r>
              <a:rPr lang="en-US" dirty="0"/>
              <a:t> “We examined our Kaggle dataset of 10,000 anonymized patient records, identifying key features like age, gender, family history, and medication adherence. This deep dive into the data’s characteristics allowed us to pinpoint potential challenges, such as class imbalances and missing values</a:t>
            </a:r>
          </a:p>
          <a:p>
            <a:endParaRPr lang="en-US" dirty="0"/>
          </a:p>
          <a:p>
            <a:r>
              <a:rPr lang="en-US" b="1" dirty="0"/>
              <a:t>Data Preparation:</a:t>
            </a:r>
            <a:r>
              <a:rPr lang="en-US" dirty="0"/>
              <a:t> “In this step, we cleaned and transformed the raw data by handling missing values, translating text, and applying one-hot encoding to categorical variables. Ensured our dataset was ready to derive accurate interpretations. </a:t>
            </a:r>
          </a:p>
        </p:txBody>
      </p:sp>
      <p:sp>
        <p:nvSpPr>
          <p:cNvPr id="4" name="Slide Number Placeholder 3"/>
          <p:cNvSpPr>
            <a:spLocks noGrp="1"/>
          </p:cNvSpPr>
          <p:nvPr>
            <p:ph type="sldNum" sz="quarter" idx="5"/>
          </p:nvPr>
        </p:nvSpPr>
        <p:spPr/>
        <p:txBody>
          <a:bodyPr/>
          <a:lstStyle/>
          <a:p>
            <a:fld id="{80727244-25DA-4FDD-ADED-482C09915D8A}" type="slidenum">
              <a:rPr lang="en-GB" smtClean="0"/>
              <a:t>13</a:t>
            </a:fld>
            <a:endParaRPr lang="en-GB"/>
          </a:p>
        </p:txBody>
      </p:sp>
    </p:spTree>
    <p:extLst>
      <p:ext uri="{BB962C8B-B14F-4D97-AF65-F5344CB8AC3E}">
        <p14:creationId xmlns:p14="http://schemas.microsoft.com/office/powerpoint/2010/main" val="792721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valuation:</a:t>
            </a:r>
            <a:r>
              <a:rPr lang="en-US" dirty="0"/>
              <a:t> “Our model was rigorously tested using five-fold cross-validation and evaluated on several metrics (accuracy, precision, recall, AUC) to ensure performance consistency. </a:t>
            </a:r>
          </a:p>
          <a:p>
            <a:endParaRPr lang="en-US" dirty="0"/>
          </a:p>
          <a:p>
            <a:r>
              <a:rPr lang="en-US" b="1" dirty="0"/>
              <a:t>Deployment: </a:t>
            </a:r>
            <a:r>
              <a:rPr lang="en-US" b="0" dirty="0"/>
              <a:t>This is when our model is deployed to be used by clinicians in real-world settings</a:t>
            </a:r>
            <a:endParaRPr lang="LID4096" b="1" dirty="0"/>
          </a:p>
        </p:txBody>
      </p:sp>
      <p:sp>
        <p:nvSpPr>
          <p:cNvPr id="4" name="Slide Number Placeholder 3"/>
          <p:cNvSpPr>
            <a:spLocks noGrp="1"/>
          </p:cNvSpPr>
          <p:nvPr>
            <p:ph type="sldNum" sz="quarter" idx="5"/>
          </p:nvPr>
        </p:nvSpPr>
        <p:spPr/>
        <p:txBody>
          <a:bodyPr/>
          <a:lstStyle/>
          <a:p>
            <a:fld id="{80727244-25DA-4FDD-ADED-482C09915D8A}" type="slidenum">
              <a:rPr lang="en-GB" smtClean="0"/>
              <a:t>14</a:t>
            </a:fld>
            <a:endParaRPr lang="en-GB"/>
          </a:p>
        </p:txBody>
      </p:sp>
    </p:spTree>
    <p:extLst>
      <p:ext uri="{BB962C8B-B14F-4D97-AF65-F5344CB8AC3E}">
        <p14:creationId xmlns:p14="http://schemas.microsoft.com/office/powerpoint/2010/main" val="11547909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EBC4C-A618-39DD-A004-6F099E7521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A76177B-D510-70F6-1D00-4FCAE62283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3648EFF-9FC7-4F9C-94A3-EA5AC7C69724}"/>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5" name="Footer Placeholder 4">
            <a:extLst>
              <a:ext uri="{FF2B5EF4-FFF2-40B4-BE49-F238E27FC236}">
                <a16:creationId xmlns:a16="http://schemas.microsoft.com/office/drawing/2014/main" id="{1589C630-0B09-53E1-31C9-BABEB07096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651915-DC9A-8D6C-F485-926681312B58}"/>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4626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77BD0-2508-909C-716B-4E68C7E4E62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A178145-3E79-6BD3-70F0-F691CA1290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34619B2-6441-48C8-7E6B-4ABE242E6A4A}"/>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5" name="Footer Placeholder 4">
            <a:extLst>
              <a:ext uri="{FF2B5EF4-FFF2-40B4-BE49-F238E27FC236}">
                <a16:creationId xmlns:a16="http://schemas.microsoft.com/office/drawing/2014/main" id="{62FC68C0-EDE2-C1FD-F7FD-BD969B56B2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0FA48DB-4380-CE54-ACD9-5559F8133184}"/>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467430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506D35-54B1-A678-851B-FCA645D284C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BC2D8D1-8933-43E3-68F5-4D65C467A23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1BDD04-642A-2CEF-ACD9-5D419188C95C}"/>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5" name="Footer Placeholder 4">
            <a:extLst>
              <a:ext uri="{FF2B5EF4-FFF2-40B4-BE49-F238E27FC236}">
                <a16:creationId xmlns:a16="http://schemas.microsoft.com/office/drawing/2014/main" id="{B5E33EDA-94B8-5637-5166-9F58C6948B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1870ABD-3C03-215E-3BA0-CF733B94545A}"/>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498803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927CA-EC04-FDCE-9CFC-53FBF80B2A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75C4E92-D8AF-45DE-4432-E800693780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4036554-42D0-0742-A750-B703AEFCBAB7}"/>
              </a:ext>
            </a:extLst>
          </p:cNvPr>
          <p:cNvSpPr>
            <a:spLocks noGrp="1"/>
          </p:cNvSpPr>
          <p:nvPr>
            <p:ph type="dt" sz="half" idx="10"/>
          </p:nvPr>
        </p:nvSpPr>
        <p:spPr/>
        <p:txBody>
          <a:bodyPr/>
          <a:lstStyle/>
          <a:p>
            <a:fld id="{68F5C24A-9409-42F1-AFD4-D88E5171A316}" type="datetime1">
              <a:rPr lang="en-GB" smtClean="0"/>
              <a:t>02/06/2025</a:t>
            </a:fld>
            <a:endParaRPr lang="en-GB"/>
          </a:p>
        </p:txBody>
      </p:sp>
      <p:sp>
        <p:nvSpPr>
          <p:cNvPr id="5" name="Footer Placeholder 4">
            <a:extLst>
              <a:ext uri="{FF2B5EF4-FFF2-40B4-BE49-F238E27FC236}">
                <a16:creationId xmlns:a16="http://schemas.microsoft.com/office/drawing/2014/main" id="{DC1C2A28-BEAA-D28B-8F6D-360C7F6E4AF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3E760C1-75AB-344F-27D3-2137BB8EE398}"/>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535287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53387-52C0-5B6A-6F6C-67FD472CA73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A2E3C19-97F7-B057-C5A8-E5CE271F7D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12C0E83-50A0-F62F-EE08-250DAE07F8F1}"/>
              </a:ext>
            </a:extLst>
          </p:cNvPr>
          <p:cNvSpPr>
            <a:spLocks noGrp="1"/>
          </p:cNvSpPr>
          <p:nvPr>
            <p:ph type="dt" sz="half" idx="10"/>
          </p:nvPr>
        </p:nvSpPr>
        <p:spPr/>
        <p:txBody>
          <a:bodyPr/>
          <a:lstStyle/>
          <a:p>
            <a:fld id="{3EA54FF3-9659-441D-886C-9DA4B7C21964}" type="datetime1">
              <a:rPr lang="en-GB" smtClean="0"/>
              <a:t>02/06/2025</a:t>
            </a:fld>
            <a:endParaRPr lang="en-GB"/>
          </a:p>
        </p:txBody>
      </p:sp>
      <p:sp>
        <p:nvSpPr>
          <p:cNvPr id="5" name="Footer Placeholder 4">
            <a:extLst>
              <a:ext uri="{FF2B5EF4-FFF2-40B4-BE49-F238E27FC236}">
                <a16:creationId xmlns:a16="http://schemas.microsoft.com/office/drawing/2014/main" id="{2BAA5126-015E-26C8-9777-AD4E0B1FC6DE}"/>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3D80E731-D4E3-1F29-4105-4BC1839D0BED}"/>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8064946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293CE-DC18-7EBB-FD8E-814F3522CD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0EB9178-C934-2288-EC5A-DAC080A9F62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207F36-ABE2-B599-3B45-FB385749FB92}"/>
              </a:ext>
            </a:extLst>
          </p:cNvPr>
          <p:cNvSpPr>
            <a:spLocks noGrp="1"/>
          </p:cNvSpPr>
          <p:nvPr>
            <p:ph type="dt" sz="half" idx="10"/>
          </p:nvPr>
        </p:nvSpPr>
        <p:spPr/>
        <p:txBody>
          <a:bodyPr/>
          <a:lstStyle/>
          <a:p>
            <a:fld id="{1CBE0393-4DC3-4B15-8652-4766F50BDB94}" type="datetime1">
              <a:rPr lang="en-GB" smtClean="0"/>
              <a:t>02/06/2025</a:t>
            </a:fld>
            <a:endParaRPr lang="en-GB"/>
          </a:p>
        </p:txBody>
      </p:sp>
      <p:sp>
        <p:nvSpPr>
          <p:cNvPr id="5" name="Footer Placeholder 4">
            <a:extLst>
              <a:ext uri="{FF2B5EF4-FFF2-40B4-BE49-F238E27FC236}">
                <a16:creationId xmlns:a16="http://schemas.microsoft.com/office/drawing/2014/main" id="{ED77A94B-EA40-561F-0E00-4D71ABE10DC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A8203142-0649-0702-E644-F78C75B0A2A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5688642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7EBE7-5725-2027-6C19-02A8472DD1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E3EC399-F347-D0FB-AAC5-BB452DA45B0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8FE23FA-119D-D03B-8CDB-C0B784E3D46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79C3B32-C36F-CC0E-645F-04EE564CCBCC}"/>
              </a:ext>
            </a:extLst>
          </p:cNvPr>
          <p:cNvSpPr>
            <a:spLocks noGrp="1"/>
          </p:cNvSpPr>
          <p:nvPr>
            <p:ph type="dt" sz="half" idx="10"/>
          </p:nvPr>
        </p:nvSpPr>
        <p:spPr/>
        <p:txBody>
          <a:bodyPr/>
          <a:lstStyle/>
          <a:p>
            <a:fld id="{8DB746B6-5631-4AC1-900D-706E9B0D7B63}" type="datetime1">
              <a:rPr lang="en-GB" smtClean="0"/>
              <a:t>02/06/2025</a:t>
            </a:fld>
            <a:endParaRPr lang="en-GB"/>
          </a:p>
        </p:txBody>
      </p:sp>
      <p:sp>
        <p:nvSpPr>
          <p:cNvPr id="6" name="Footer Placeholder 5">
            <a:extLst>
              <a:ext uri="{FF2B5EF4-FFF2-40B4-BE49-F238E27FC236}">
                <a16:creationId xmlns:a16="http://schemas.microsoft.com/office/drawing/2014/main" id="{8E9CFCF0-556C-BF46-05B1-FB1F17591F83}"/>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866B6493-3CBF-FD4E-EE7C-088CCE434C7B}"/>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5002292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C480C-5F0C-EF6B-69FE-88938DD6486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0FF698D-F9DC-8256-2772-5DCD8EA9D5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7DD954-1E5D-1CA5-AF1E-089B371029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152888-0209-873C-C8AB-6DD83628DD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C10F12-C3AA-5409-24D5-7973DB32AB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F828A34-700E-CCCC-89A1-489F8837E36F}"/>
              </a:ext>
            </a:extLst>
          </p:cNvPr>
          <p:cNvSpPr>
            <a:spLocks noGrp="1"/>
          </p:cNvSpPr>
          <p:nvPr>
            <p:ph type="dt" sz="half" idx="10"/>
          </p:nvPr>
        </p:nvSpPr>
        <p:spPr/>
        <p:txBody>
          <a:bodyPr/>
          <a:lstStyle/>
          <a:p>
            <a:fld id="{3613351D-D414-4628-B6BA-F3CF23231103}" type="datetime1">
              <a:rPr lang="en-GB" smtClean="0"/>
              <a:t>02/06/2025</a:t>
            </a:fld>
            <a:endParaRPr lang="en-GB"/>
          </a:p>
        </p:txBody>
      </p:sp>
      <p:sp>
        <p:nvSpPr>
          <p:cNvPr id="8" name="Footer Placeholder 7">
            <a:extLst>
              <a:ext uri="{FF2B5EF4-FFF2-40B4-BE49-F238E27FC236}">
                <a16:creationId xmlns:a16="http://schemas.microsoft.com/office/drawing/2014/main" id="{6EAB6FA3-DBB1-94C6-4D07-2B495FB8D6AB}"/>
              </a:ext>
            </a:extLst>
          </p:cNvPr>
          <p:cNvSpPr>
            <a:spLocks noGrp="1"/>
          </p:cNvSpPr>
          <p:nvPr>
            <p:ph type="ftr" sz="quarter" idx="11"/>
          </p:nvPr>
        </p:nvSpPr>
        <p:spPr/>
        <p:txBody>
          <a:bodyPr/>
          <a:lstStyle/>
          <a:p>
            <a:r>
              <a:rPr lang="en-GB"/>
              <a:t>Designed by One Skill</a:t>
            </a:r>
          </a:p>
        </p:txBody>
      </p:sp>
      <p:sp>
        <p:nvSpPr>
          <p:cNvPr id="9" name="Slide Number Placeholder 8">
            <a:extLst>
              <a:ext uri="{FF2B5EF4-FFF2-40B4-BE49-F238E27FC236}">
                <a16:creationId xmlns:a16="http://schemas.microsoft.com/office/drawing/2014/main" id="{1C7E0359-950B-0308-A77D-C230EF31A0D0}"/>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3371512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E1CE1-03DC-4BC7-6D82-7D0A611FDA1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DCEC0E2-AA2B-3889-9554-96F303DAF6DC}"/>
              </a:ext>
            </a:extLst>
          </p:cNvPr>
          <p:cNvSpPr>
            <a:spLocks noGrp="1"/>
          </p:cNvSpPr>
          <p:nvPr>
            <p:ph type="dt" sz="half" idx="10"/>
          </p:nvPr>
        </p:nvSpPr>
        <p:spPr/>
        <p:txBody>
          <a:bodyPr/>
          <a:lstStyle/>
          <a:p>
            <a:fld id="{11CD3F00-CE47-4FAC-9296-264952B2AD7B}" type="datetime1">
              <a:rPr lang="en-GB" smtClean="0"/>
              <a:t>02/06/2025</a:t>
            </a:fld>
            <a:endParaRPr lang="en-GB"/>
          </a:p>
        </p:txBody>
      </p:sp>
      <p:sp>
        <p:nvSpPr>
          <p:cNvPr id="4" name="Footer Placeholder 3">
            <a:extLst>
              <a:ext uri="{FF2B5EF4-FFF2-40B4-BE49-F238E27FC236}">
                <a16:creationId xmlns:a16="http://schemas.microsoft.com/office/drawing/2014/main" id="{A73E8A7B-5406-5D43-99E7-8F06BC6637D2}"/>
              </a:ext>
            </a:extLst>
          </p:cNvPr>
          <p:cNvSpPr>
            <a:spLocks noGrp="1"/>
          </p:cNvSpPr>
          <p:nvPr>
            <p:ph type="ftr" sz="quarter" idx="11"/>
          </p:nvPr>
        </p:nvSpPr>
        <p:spPr/>
        <p:txBody>
          <a:bodyPr/>
          <a:lstStyle/>
          <a:p>
            <a:r>
              <a:rPr lang="en-GB"/>
              <a:t>Designed by One Skill</a:t>
            </a:r>
          </a:p>
        </p:txBody>
      </p:sp>
      <p:sp>
        <p:nvSpPr>
          <p:cNvPr id="5" name="Slide Number Placeholder 4">
            <a:extLst>
              <a:ext uri="{FF2B5EF4-FFF2-40B4-BE49-F238E27FC236}">
                <a16:creationId xmlns:a16="http://schemas.microsoft.com/office/drawing/2014/main" id="{5363C191-0DC0-D851-8C87-75F3406F350F}"/>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228224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83E5B6-DA1D-5638-C9A6-3CB7531BF5F6}"/>
              </a:ext>
            </a:extLst>
          </p:cNvPr>
          <p:cNvSpPr>
            <a:spLocks noGrp="1"/>
          </p:cNvSpPr>
          <p:nvPr>
            <p:ph type="dt" sz="half" idx="10"/>
          </p:nvPr>
        </p:nvSpPr>
        <p:spPr/>
        <p:txBody>
          <a:bodyPr/>
          <a:lstStyle/>
          <a:p>
            <a:fld id="{05F8160D-F348-4767-A573-6056422869C1}" type="datetime1">
              <a:rPr lang="en-GB" smtClean="0"/>
              <a:t>02/06/2025</a:t>
            </a:fld>
            <a:endParaRPr lang="en-GB"/>
          </a:p>
        </p:txBody>
      </p:sp>
      <p:sp>
        <p:nvSpPr>
          <p:cNvPr id="3" name="Footer Placeholder 2">
            <a:extLst>
              <a:ext uri="{FF2B5EF4-FFF2-40B4-BE49-F238E27FC236}">
                <a16:creationId xmlns:a16="http://schemas.microsoft.com/office/drawing/2014/main" id="{AEB4E43F-1DF9-4A31-6750-A37A393C24A2}"/>
              </a:ext>
            </a:extLst>
          </p:cNvPr>
          <p:cNvSpPr>
            <a:spLocks noGrp="1"/>
          </p:cNvSpPr>
          <p:nvPr>
            <p:ph type="ftr" sz="quarter" idx="11"/>
          </p:nvPr>
        </p:nvSpPr>
        <p:spPr/>
        <p:txBody>
          <a:bodyPr vert="horz" lIns="91440" tIns="45720" rIns="91440" bIns="45720" rtlCol="0" anchor="ctr"/>
          <a:lstStyle>
            <a:lvl1pPr>
              <a:defRPr lang="en-GB" sz="1000">
                <a:latin typeface="Darker Grotesque" pitchFamily="2" charset="0"/>
              </a:defRPr>
            </a:lvl1pPr>
          </a:lstStyle>
          <a:p>
            <a:r>
              <a:rPr lang="en-GB"/>
              <a:t>Designed by One Skill</a:t>
            </a:r>
          </a:p>
        </p:txBody>
      </p:sp>
      <p:sp>
        <p:nvSpPr>
          <p:cNvPr id="4" name="Slide Number Placeholder 3">
            <a:extLst>
              <a:ext uri="{FF2B5EF4-FFF2-40B4-BE49-F238E27FC236}">
                <a16:creationId xmlns:a16="http://schemas.microsoft.com/office/drawing/2014/main" id="{20905FB5-9613-E806-4DED-5DBAED25C676}"/>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608334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800"/>
                                        <p:tgtEl>
                                          <p:spTgt spid="3"/>
                                        </p:tgtEl>
                                      </p:cBhvr>
                                    </p:animEffect>
                                  </p:childTnLst>
                                </p:cTn>
                              </p:par>
                              <p:par>
                                <p:cTn id="8" presetID="42" presetClass="path" presetSubtype="0" decel="100000" fill="hold" grpId="1" nodeType="withEffect">
                                  <p:stCondLst>
                                    <p:cond delay="0"/>
                                  </p:stCondLst>
                                  <p:childTnLst>
                                    <p:animMotion origin="layout" path="M 0 1.85185E-6 L 0 0.11389 " pathEditMode="relative" rAng="0" ptsTypes="AA">
                                      <p:cBhvr>
                                        <p:cTn id="9" dur="1250" spd="-100000" fill="hold"/>
                                        <p:tgtEl>
                                          <p:spTgt spid="3"/>
                                        </p:tgtEl>
                                        <p:attrNameLst>
                                          <p:attrName>ppt_x</p:attrName>
                                          <p:attrName>ppt_y</p:attrName>
                                        </p:attrNameLst>
                                      </p:cBhvr>
                                      <p:rCtr x="0" y="56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2160" userDrawn="1">
          <p15:clr>
            <a:srgbClr val="FBAE40"/>
          </p15:clr>
        </p15:guide>
        <p15:guide id="20" orient="horz" pos="414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ACE8C-4BC2-CAA2-7451-304FBEAA83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C379F71-05EB-853E-7E23-A6EAE831998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BD395FD-E4E0-6076-4D07-98E0B9418D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782851-6829-4144-8DAC-B8A74FD26763}"/>
              </a:ext>
            </a:extLst>
          </p:cNvPr>
          <p:cNvSpPr>
            <a:spLocks noGrp="1"/>
          </p:cNvSpPr>
          <p:nvPr>
            <p:ph type="dt" sz="half" idx="10"/>
          </p:nvPr>
        </p:nvSpPr>
        <p:spPr/>
        <p:txBody>
          <a:bodyPr/>
          <a:lstStyle/>
          <a:p>
            <a:fld id="{5442BB48-99BB-40C1-9AA6-5303F798AB6D}" type="datetime1">
              <a:rPr lang="en-GB" smtClean="0"/>
              <a:t>02/06/2025</a:t>
            </a:fld>
            <a:endParaRPr lang="en-GB"/>
          </a:p>
        </p:txBody>
      </p:sp>
      <p:sp>
        <p:nvSpPr>
          <p:cNvPr id="6" name="Footer Placeholder 5">
            <a:extLst>
              <a:ext uri="{FF2B5EF4-FFF2-40B4-BE49-F238E27FC236}">
                <a16:creationId xmlns:a16="http://schemas.microsoft.com/office/drawing/2014/main" id="{314CD30E-3C31-AA44-2A8B-87C605CD0134}"/>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48AB089B-89C5-5A31-F472-479A7604EB89}"/>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976637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45329-AAE3-3E58-F378-BAD4CB611D8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3EA91E4-A116-2E09-B4CB-D5DBA73A20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7879D2-C552-EF51-DACF-B6C7FB7544FE}"/>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5" name="Footer Placeholder 4">
            <a:extLst>
              <a:ext uri="{FF2B5EF4-FFF2-40B4-BE49-F238E27FC236}">
                <a16:creationId xmlns:a16="http://schemas.microsoft.com/office/drawing/2014/main" id="{F89E4186-D9C6-7254-A6CF-085AE5DAFD5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687F46-1A54-4E99-9F0F-02FD07BA3CDA}"/>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1181413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54B6F-B779-6114-01F8-FC909B9E0F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A0AF54E-2C93-3182-A338-652AD5607C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10EA83-91B8-2F8B-D6D6-701E75F9D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13E36D-ADA9-46F8-605E-3DB04A717223}"/>
              </a:ext>
            </a:extLst>
          </p:cNvPr>
          <p:cNvSpPr>
            <a:spLocks noGrp="1"/>
          </p:cNvSpPr>
          <p:nvPr>
            <p:ph type="dt" sz="half" idx="10"/>
          </p:nvPr>
        </p:nvSpPr>
        <p:spPr/>
        <p:txBody>
          <a:bodyPr/>
          <a:lstStyle/>
          <a:p>
            <a:fld id="{1302C429-8E84-42A2-8E8C-AC5D38A08E5A}" type="datetime1">
              <a:rPr lang="en-GB" smtClean="0"/>
              <a:t>02/06/2025</a:t>
            </a:fld>
            <a:endParaRPr lang="en-GB"/>
          </a:p>
        </p:txBody>
      </p:sp>
      <p:sp>
        <p:nvSpPr>
          <p:cNvPr id="6" name="Footer Placeholder 5">
            <a:extLst>
              <a:ext uri="{FF2B5EF4-FFF2-40B4-BE49-F238E27FC236}">
                <a16:creationId xmlns:a16="http://schemas.microsoft.com/office/drawing/2014/main" id="{782E5099-E6D2-CF7B-6B64-FB3B7E6BEBFB}"/>
              </a:ext>
            </a:extLst>
          </p:cNvPr>
          <p:cNvSpPr>
            <a:spLocks noGrp="1"/>
          </p:cNvSpPr>
          <p:nvPr>
            <p:ph type="ftr" sz="quarter" idx="11"/>
          </p:nvPr>
        </p:nvSpPr>
        <p:spPr/>
        <p:txBody>
          <a:bodyPr/>
          <a:lstStyle/>
          <a:p>
            <a:r>
              <a:rPr lang="en-GB"/>
              <a:t>Designed by One Skill</a:t>
            </a:r>
          </a:p>
        </p:txBody>
      </p:sp>
      <p:sp>
        <p:nvSpPr>
          <p:cNvPr id="7" name="Slide Number Placeholder 6">
            <a:extLst>
              <a:ext uri="{FF2B5EF4-FFF2-40B4-BE49-F238E27FC236}">
                <a16:creationId xmlns:a16="http://schemas.microsoft.com/office/drawing/2014/main" id="{94B92FE7-A8B1-05B3-0C64-06952BBA890A}"/>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14363700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514CF-52E1-BE45-744A-368CA91C06E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076A353-9914-8982-0C84-9A5695B1A4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1C1416-2554-CE90-5596-7D9ED8625829}"/>
              </a:ext>
            </a:extLst>
          </p:cNvPr>
          <p:cNvSpPr>
            <a:spLocks noGrp="1"/>
          </p:cNvSpPr>
          <p:nvPr>
            <p:ph type="dt" sz="half" idx="10"/>
          </p:nvPr>
        </p:nvSpPr>
        <p:spPr/>
        <p:txBody>
          <a:bodyPr/>
          <a:lstStyle/>
          <a:p>
            <a:fld id="{4E964B02-EE58-467E-B191-C850F2619705}" type="datetime1">
              <a:rPr lang="en-GB" smtClean="0"/>
              <a:t>02/06/2025</a:t>
            </a:fld>
            <a:endParaRPr lang="en-GB"/>
          </a:p>
        </p:txBody>
      </p:sp>
      <p:sp>
        <p:nvSpPr>
          <p:cNvPr id="5" name="Footer Placeholder 4">
            <a:extLst>
              <a:ext uri="{FF2B5EF4-FFF2-40B4-BE49-F238E27FC236}">
                <a16:creationId xmlns:a16="http://schemas.microsoft.com/office/drawing/2014/main" id="{30C9D2BE-7059-389A-E2C3-EAE35D11C539}"/>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132B6406-B2CF-C5A0-55AD-808836148754}"/>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31425916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EBDED2-2230-DDDB-24CA-10C580DD64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1BF548C-B125-301D-91A0-E0236E25FF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88B4E0-1400-9F08-4390-6E5ADEC28D41}"/>
              </a:ext>
            </a:extLst>
          </p:cNvPr>
          <p:cNvSpPr>
            <a:spLocks noGrp="1"/>
          </p:cNvSpPr>
          <p:nvPr>
            <p:ph type="dt" sz="half" idx="10"/>
          </p:nvPr>
        </p:nvSpPr>
        <p:spPr/>
        <p:txBody>
          <a:bodyPr/>
          <a:lstStyle/>
          <a:p>
            <a:fld id="{550B8236-A10F-4128-9405-4158C4F29211}" type="datetime1">
              <a:rPr lang="en-GB" smtClean="0"/>
              <a:t>02/06/2025</a:t>
            </a:fld>
            <a:endParaRPr lang="en-GB"/>
          </a:p>
        </p:txBody>
      </p:sp>
      <p:sp>
        <p:nvSpPr>
          <p:cNvPr id="5" name="Footer Placeholder 4">
            <a:extLst>
              <a:ext uri="{FF2B5EF4-FFF2-40B4-BE49-F238E27FC236}">
                <a16:creationId xmlns:a16="http://schemas.microsoft.com/office/drawing/2014/main" id="{3B8B47D6-33E1-13E1-1F4C-E66E6C56FA87}"/>
              </a:ext>
            </a:extLst>
          </p:cNvPr>
          <p:cNvSpPr>
            <a:spLocks noGrp="1"/>
          </p:cNvSpPr>
          <p:nvPr>
            <p:ph type="ftr" sz="quarter" idx="11"/>
          </p:nvPr>
        </p:nvSpPr>
        <p:spPr/>
        <p:txBody>
          <a:bodyPr/>
          <a:lstStyle/>
          <a:p>
            <a:r>
              <a:rPr lang="en-GB"/>
              <a:t>Designed by One Skill</a:t>
            </a:r>
          </a:p>
        </p:txBody>
      </p:sp>
      <p:sp>
        <p:nvSpPr>
          <p:cNvPr id="6" name="Slide Number Placeholder 5">
            <a:extLst>
              <a:ext uri="{FF2B5EF4-FFF2-40B4-BE49-F238E27FC236}">
                <a16:creationId xmlns:a16="http://schemas.microsoft.com/office/drawing/2014/main" id="{EEE8F5D8-AA94-610F-1E85-D90E01FB6AB1}"/>
              </a:ext>
            </a:extLst>
          </p:cNvPr>
          <p:cNvSpPr>
            <a:spLocks noGrp="1"/>
          </p:cNvSpPr>
          <p:nvPr>
            <p:ph type="sldNum" sz="quarter" idx="12"/>
          </p:nvPr>
        </p:nvSpPr>
        <p:spPr/>
        <p:txBody>
          <a:bodyPr/>
          <a:lstStyle/>
          <a:p>
            <a:fld id="{41EB0B11-EF5C-41FA-A23E-99E3908ED535}" type="slidenum">
              <a:rPr lang="en-GB" smtClean="0"/>
              <a:t>‹#›</a:t>
            </a:fld>
            <a:endParaRPr lang="en-GB"/>
          </a:p>
        </p:txBody>
      </p:sp>
    </p:spTree>
    <p:extLst>
      <p:ext uri="{BB962C8B-B14F-4D97-AF65-F5344CB8AC3E}">
        <p14:creationId xmlns:p14="http://schemas.microsoft.com/office/powerpoint/2010/main" val="2809746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82D31-7C3E-9B21-11F3-04D042B2C45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70517DC-0E3B-090C-D59E-CF4189BB41F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89B8AB-AECE-460D-ECF1-F71B5A9CB3EB}"/>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5" name="Footer Placeholder 4">
            <a:extLst>
              <a:ext uri="{FF2B5EF4-FFF2-40B4-BE49-F238E27FC236}">
                <a16:creationId xmlns:a16="http://schemas.microsoft.com/office/drawing/2014/main" id="{657B0EE6-6B9F-C899-8CB2-BFC4C22F30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DB339F-44CD-99B1-E8A1-DB352F647225}"/>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0575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DAB0E-B469-C409-AFFA-2E7D54D738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69159B5-6998-F676-C099-A3B516B9204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A2BB8FA-7C7D-AAC3-03E6-C37C8DBCBD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559741E-FA99-DDFE-22EC-ED37E8EFED2F}"/>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6" name="Footer Placeholder 5">
            <a:extLst>
              <a:ext uri="{FF2B5EF4-FFF2-40B4-BE49-F238E27FC236}">
                <a16:creationId xmlns:a16="http://schemas.microsoft.com/office/drawing/2014/main" id="{699B26E2-8080-3035-BA21-383ACED9E2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9C850BC-FE52-B1FF-6350-3E751999EFA8}"/>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3308325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B7F57-39D5-C614-4045-8C236549A5C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21B197E-557E-4427-9EBC-537882EF5A6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A809BE-7F98-0816-D773-19E230279A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63C4FD4-A360-787F-3521-F4F1240684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910C97-2AF6-44DB-A7CA-9349559F721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AEE5B7E-BF9D-4409-F287-34E5C844F22B}"/>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8" name="Footer Placeholder 7">
            <a:extLst>
              <a:ext uri="{FF2B5EF4-FFF2-40B4-BE49-F238E27FC236}">
                <a16:creationId xmlns:a16="http://schemas.microsoft.com/office/drawing/2014/main" id="{F2F544D2-2FFC-E60C-6746-D35B7B40D45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CC603DE-1205-4F8E-BC80-C26DD5412929}"/>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770636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4CD14-B560-5502-8FA7-7C5ED24758A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83E143C-9D80-7B20-53F1-F62F1622C8A2}"/>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4" name="Footer Placeholder 3">
            <a:extLst>
              <a:ext uri="{FF2B5EF4-FFF2-40B4-BE49-F238E27FC236}">
                <a16:creationId xmlns:a16="http://schemas.microsoft.com/office/drawing/2014/main" id="{423224EA-D8AD-8467-6FA2-551B21B89EA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28D5502-98CE-1730-CF44-A6E43451D70E}"/>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7167460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D3DF59-3DE8-1391-6796-F8628072A2C5}"/>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3" name="Footer Placeholder 2">
            <a:extLst>
              <a:ext uri="{FF2B5EF4-FFF2-40B4-BE49-F238E27FC236}">
                <a16:creationId xmlns:a16="http://schemas.microsoft.com/office/drawing/2014/main" id="{3E1741E8-5687-ABAE-BFDA-ABFB4E3F95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E1F92D4-5F01-F416-5AB8-5946FF38D62C}"/>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10591753"/>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170" userDrawn="1">
          <p15:clr>
            <a:srgbClr val="FBAE40"/>
          </p15:clr>
        </p15:guide>
        <p15:guide id="4" pos="781" userDrawn="1">
          <p15:clr>
            <a:srgbClr val="FBAE40"/>
          </p15:clr>
        </p15:guide>
        <p15:guide id="5" pos="1393" userDrawn="1">
          <p15:clr>
            <a:srgbClr val="FBAE40"/>
          </p15:clr>
        </p15:guide>
        <p15:guide id="6" pos="2005" userDrawn="1">
          <p15:clr>
            <a:srgbClr val="FBAE40"/>
          </p15:clr>
        </p15:guide>
        <p15:guide id="7" pos="2616" userDrawn="1">
          <p15:clr>
            <a:srgbClr val="FBAE40"/>
          </p15:clr>
        </p15:guide>
        <p15:guide id="8" pos="3228" userDrawn="1">
          <p15:clr>
            <a:srgbClr val="FBAE40"/>
          </p15:clr>
        </p15:guide>
        <p15:guide id="9" pos="3840" userDrawn="1">
          <p15:clr>
            <a:srgbClr val="FBAE40"/>
          </p15:clr>
        </p15:guide>
        <p15:guide id="10" pos="4451" userDrawn="1">
          <p15:clr>
            <a:srgbClr val="FBAE40"/>
          </p15:clr>
        </p15:guide>
        <p15:guide id="11" pos="5063" userDrawn="1">
          <p15:clr>
            <a:srgbClr val="FBAE40"/>
          </p15:clr>
        </p15:guide>
        <p15:guide id="12" pos="5674" userDrawn="1">
          <p15:clr>
            <a:srgbClr val="FBAE40"/>
          </p15:clr>
        </p15:guide>
        <p15:guide id="13" pos="6286" userDrawn="1">
          <p15:clr>
            <a:srgbClr val="FBAE40"/>
          </p15:clr>
        </p15:guide>
        <p15:guide id="14" pos="6898" userDrawn="1">
          <p15:clr>
            <a:srgbClr val="FBAE40"/>
          </p15:clr>
        </p15:guide>
        <p15:guide id="15" pos="7509" userDrawn="1">
          <p15:clr>
            <a:srgbClr val="FBAE40"/>
          </p15:clr>
        </p15:guide>
        <p15:guide id="16" orient="horz" userDrawn="1">
          <p15:clr>
            <a:srgbClr val="FBAE40"/>
          </p15:clr>
        </p15:guide>
        <p15:guide id="17" orient="horz" pos="4320" userDrawn="1">
          <p15:clr>
            <a:srgbClr val="FBAE40"/>
          </p15:clr>
        </p15:guide>
        <p15:guide id="18" orient="horz" pos="170" userDrawn="1">
          <p15:clr>
            <a:srgbClr val="FBAE40"/>
          </p15:clr>
        </p15:guide>
        <p15:guide id="19" orient="horz" pos="414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80FC-954B-3902-44DA-728C90F766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C7B6F3C-2639-35E1-B777-330AF3DBBD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163C5E-D09C-57C5-2EC2-70882C8667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DF375C-4470-09D6-15BE-9BF9331F0EC2}"/>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6" name="Footer Placeholder 5">
            <a:extLst>
              <a:ext uri="{FF2B5EF4-FFF2-40B4-BE49-F238E27FC236}">
                <a16:creationId xmlns:a16="http://schemas.microsoft.com/office/drawing/2014/main" id="{DE8796F1-3EE7-BE1C-93CC-2135E5BBDCC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9C2ACCB-8014-917F-BE76-14490BABA76E}"/>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2014191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65C55-DE59-AD45-2ED2-29A7911569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E21D154-BEFF-4042-8137-4CE2589046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2B5F2CF-5E0E-84D9-7794-1E1EC50C41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3EA2CF-FF4B-F037-DBB0-1AE8C8E06AA6}"/>
              </a:ext>
            </a:extLst>
          </p:cNvPr>
          <p:cNvSpPr>
            <a:spLocks noGrp="1"/>
          </p:cNvSpPr>
          <p:nvPr>
            <p:ph type="dt" sz="half" idx="10"/>
          </p:nvPr>
        </p:nvSpPr>
        <p:spPr/>
        <p:txBody>
          <a:bodyPr/>
          <a:lstStyle/>
          <a:p>
            <a:fld id="{9D50113B-307E-4BCC-B109-BBD51B521CA0}" type="datetimeFigureOut">
              <a:rPr lang="en-GB" smtClean="0"/>
              <a:t>02/06/2025</a:t>
            </a:fld>
            <a:endParaRPr lang="en-GB"/>
          </a:p>
        </p:txBody>
      </p:sp>
      <p:sp>
        <p:nvSpPr>
          <p:cNvPr id="6" name="Footer Placeholder 5">
            <a:extLst>
              <a:ext uri="{FF2B5EF4-FFF2-40B4-BE49-F238E27FC236}">
                <a16:creationId xmlns:a16="http://schemas.microsoft.com/office/drawing/2014/main" id="{0D4DDD2A-A5F6-F1C5-05E8-64CD9D51A7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B3BC7A3-B58F-13B7-9995-D27EF38245E9}"/>
              </a:ext>
            </a:extLst>
          </p:cNvPr>
          <p:cNvSpPr>
            <a:spLocks noGrp="1"/>
          </p:cNvSpPr>
          <p:nvPr>
            <p:ph type="sldNum" sz="quarter" idx="12"/>
          </p:nvPr>
        </p:nvSpPr>
        <p:spPr/>
        <p:txBody>
          <a:bodyPr/>
          <a:lstStyle/>
          <a:p>
            <a:fld id="{B314E427-6CF7-43B6-97E6-2AF54BA7AF6B}" type="slidenum">
              <a:rPr lang="en-GB" smtClean="0"/>
              <a:t>‹#›</a:t>
            </a:fld>
            <a:endParaRPr lang="en-GB"/>
          </a:p>
        </p:txBody>
      </p:sp>
    </p:spTree>
    <p:extLst>
      <p:ext uri="{BB962C8B-B14F-4D97-AF65-F5344CB8AC3E}">
        <p14:creationId xmlns:p14="http://schemas.microsoft.com/office/powerpoint/2010/main" val="3712217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50F0E9-14D8-C13A-164C-5578C2FADF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BF6759-8623-0D18-E856-4DECD53A00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B6CE54-4744-A76E-1786-3567DF9AFE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50113B-307E-4BCC-B109-BBD51B521CA0}" type="datetimeFigureOut">
              <a:rPr lang="en-GB" smtClean="0"/>
              <a:t>02/06/2025</a:t>
            </a:fld>
            <a:endParaRPr lang="en-GB"/>
          </a:p>
        </p:txBody>
      </p:sp>
      <p:sp>
        <p:nvSpPr>
          <p:cNvPr id="5" name="Footer Placeholder 4">
            <a:extLst>
              <a:ext uri="{FF2B5EF4-FFF2-40B4-BE49-F238E27FC236}">
                <a16:creationId xmlns:a16="http://schemas.microsoft.com/office/drawing/2014/main" id="{B98C2A40-3DF3-1B62-CB90-5CF5DDD2B2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CCF77C0B-632A-3E36-411B-34F99CAAF3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314E427-6CF7-43B6-97E6-2AF54BA7AF6B}" type="slidenum">
              <a:rPr lang="en-GB" smtClean="0"/>
              <a:t>‹#›</a:t>
            </a:fld>
            <a:endParaRPr lang="en-GB"/>
          </a:p>
        </p:txBody>
      </p:sp>
    </p:spTree>
    <p:extLst>
      <p:ext uri="{BB962C8B-B14F-4D97-AF65-F5344CB8AC3E}">
        <p14:creationId xmlns:p14="http://schemas.microsoft.com/office/powerpoint/2010/main" val="37868012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4081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770F58-8B7D-F427-3309-C3D961FD39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E1B47EA-74DB-F782-1229-A7D50D55DC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FC7489F-CA03-DF0D-936B-836DF9494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95E39B9-08EC-4F45-925B-8D107A3A0A96}" type="datetime1">
              <a:rPr lang="en-GB" smtClean="0"/>
              <a:t>02/06/2025</a:t>
            </a:fld>
            <a:endParaRPr lang="en-GB"/>
          </a:p>
        </p:txBody>
      </p:sp>
      <p:sp>
        <p:nvSpPr>
          <p:cNvPr id="5" name="Footer Placeholder 4">
            <a:extLst>
              <a:ext uri="{FF2B5EF4-FFF2-40B4-BE49-F238E27FC236}">
                <a16:creationId xmlns:a16="http://schemas.microsoft.com/office/drawing/2014/main" id="{6A0FD0F0-FA20-6934-DED2-4CCC6121D3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GB"/>
              <a:t>Designed by One Skill</a:t>
            </a:r>
          </a:p>
        </p:txBody>
      </p:sp>
      <p:sp>
        <p:nvSpPr>
          <p:cNvPr id="6" name="Slide Number Placeholder 5">
            <a:extLst>
              <a:ext uri="{FF2B5EF4-FFF2-40B4-BE49-F238E27FC236}">
                <a16:creationId xmlns:a16="http://schemas.microsoft.com/office/drawing/2014/main" id="{71C108D4-B6A7-9A0C-D98B-E13304A17E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1EB0B11-EF5C-41FA-A23E-99E3908ED535}" type="slidenum">
              <a:rPr lang="en-GB" smtClean="0"/>
              <a:t>‹#›</a:t>
            </a:fld>
            <a:endParaRPr lang="en-GB"/>
          </a:p>
        </p:txBody>
      </p:sp>
    </p:spTree>
    <p:extLst>
      <p:ext uri="{BB962C8B-B14F-4D97-AF65-F5344CB8AC3E}">
        <p14:creationId xmlns:p14="http://schemas.microsoft.com/office/powerpoint/2010/main" val="3110437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svg"/><Relationship Id="rId18" Type="http://schemas.openxmlformats.org/officeDocument/2006/relationships/image" Target="../media/image15.png"/><Relationship Id="rId3" Type="http://schemas.openxmlformats.org/officeDocument/2006/relationships/image" Target="../media/image1.png"/><Relationship Id="rId7" Type="http://schemas.openxmlformats.org/officeDocument/2006/relationships/image" Target="../media/image4.svg"/><Relationship Id="rId12" Type="http://schemas.openxmlformats.org/officeDocument/2006/relationships/image" Target="../media/image9.png"/><Relationship Id="rId17" Type="http://schemas.openxmlformats.org/officeDocument/2006/relationships/image" Target="../media/image14.svg"/><Relationship Id="rId2" Type="http://schemas.openxmlformats.org/officeDocument/2006/relationships/notesSlide" Target="../notesSlides/notesSlide1.xml"/><Relationship Id="rId16"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2.jpg"/><Relationship Id="rId15" Type="http://schemas.openxmlformats.org/officeDocument/2006/relationships/image" Target="../media/image12.svg"/><Relationship Id="rId10" Type="http://schemas.openxmlformats.org/officeDocument/2006/relationships/image" Target="../media/image7.png"/><Relationship Id="rId19" Type="http://schemas.openxmlformats.org/officeDocument/2006/relationships/image" Target="../media/image16.svg"/><Relationship Id="rId4" Type="http://schemas.microsoft.com/office/2007/relationships/hdphoto" Target="../media/hdphoto1.wdp"/><Relationship Id="rId9" Type="http://schemas.openxmlformats.org/officeDocument/2006/relationships/image" Target="../media/image6.svg"/><Relationship Id="rId1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image" Target="../media/image14.sv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14.svg"/></Relationships>
</file>

<file path=ppt/slides/_rels/slide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8.sv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8.svg"/></Relationships>
</file>

<file path=ppt/slides/_rels/slide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36.png"/><Relationship Id="rId2" Type="http://schemas.openxmlformats.org/officeDocument/2006/relationships/image" Target="../media/image9.png"/><Relationship Id="rId1" Type="http://schemas.openxmlformats.org/officeDocument/2006/relationships/slideLayout" Target="../slideLayouts/slideLayout1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0.svg"/></Relationships>
</file>

<file path=ppt/slides/_rels/slide2.xml.rels><?xml version="1.0" encoding="UTF-8" standalone="yes"?>
<Relationships xmlns="http://schemas.openxmlformats.org/package/2006/relationships"><Relationship Id="rId18" Type="http://schemas.openxmlformats.org/officeDocument/2006/relationships/slide" Target="slide7.xml"/><Relationship Id="rId26" Type="http://schemas.openxmlformats.org/officeDocument/2006/relationships/image" Target="../media/image22.png"/><Relationship Id="rId21" Type="http://schemas.openxmlformats.org/officeDocument/2006/relationships/slide" Target="slide12.xml"/><Relationship Id="rId50" Type="http://schemas.openxmlformats.org/officeDocument/2006/relationships/image" Target="../media/image25.png"/><Relationship Id="rId55" Type="http://schemas.openxmlformats.org/officeDocument/2006/relationships/image" Target="../media/image28.png"/><Relationship Id="rId63" Type="http://schemas.openxmlformats.org/officeDocument/2006/relationships/image" Target="../media/image13.png"/><Relationship Id="rId68" Type="http://schemas.openxmlformats.org/officeDocument/2006/relationships/image" Target="../media/image16.svg"/><Relationship Id="rId7" Type="http://schemas.openxmlformats.org/officeDocument/2006/relationships/image" Target="../media/image150.png"/><Relationship Id="rId2" Type="http://schemas.openxmlformats.org/officeDocument/2006/relationships/notesSlide" Target="../notesSlides/notesSlide2.xml"/><Relationship Id="rId16" Type="http://schemas.openxmlformats.org/officeDocument/2006/relationships/image" Target="../media/image160.png"/><Relationship Id="rId29" Type="http://schemas.openxmlformats.org/officeDocument/2006/relationships/image" Target="../media/image23.png"/><Relationship Id="rId24" Type="http://schemas.openxmlformats.org/officeDocument/2006/relationships/slide" Target="slide15.xml"/><Relationship Id="rId32" Type="http://schemas.openxmlformats.org/officeDocument/2006/relationships/image" Target="../media/image24.png"/><Relationship Id="rId53" Type="http://schemas.openxmlformats.org/officeDocument/2006/relationships/image" Target="../media/image26.png"/><Relationship Id="rId58" Type="http://schemas.openxmlformats.org/officeDocument/2006/relationships/image" Target="../media/image31.svg"/><Relationship Id="rId66" Type="http://schemas.openxmlformats.org/officeDocument/2006/relationships/image" Target="../media/image6.svg"/><Relationship Id="rId5" Type="http://schemas.openxmlformats.org/officeDocument/2006/relationships/image" Target="../media/image17.png"/><Relationship Id="rId15" Type="http://schemas.openxmlformats.org/officeDocument/2006/relationships/slide" Target="slide5.xml"/><Relationship Id="rId23" Type="http://schemas.openxmlformats.org/officeDocument/2006/relationships/image" Target="../media/image21.png"/><Relationship Id="rId28" Type="http://schemas.openxmlformats.org/officeDocument/2006/relationships/image" Target="../media/image200.png"/><Relationship Id="rId49" Type="http://schemas.openxmlformats.org/officeDocument/2006/relationships/image" Target="../media/image32.png"/><Relationship Id="rId57" Type="http://schemas.openxmlformats.org/officeDocument/2006/relationships/image" Target="../media/image30.png"/><Relationship Id="rId61" Type="http://schemas.openxmlformats.org/officeDocument/2006/relationships/image" Target="../media/image11.png"/><Relationship Id="rId10" Type="http://schemas.openxmlformats.org/officeDocument/2006/relationships/image" Target="../media/image18.png"/><Relationship Id="rId19" Type="http://schemas.openxmlformats.org/officeDocument/2006/relationships/image" Target="../media/image170.png"/><Relationship Id="rId31" Type="http://schemas.openxmlformats.org/officeDocument/2006/relationships/image" Target="../media/image23.png"/><Relationship Id="rId52" Type="http://schemas.openxmlformats.org/officeDocument/2006/relationships/image" Target="../media/image25.png"/><Relationship Id="rId60" Type="http://schemas.openxmlformats.org/officeDocument/2006/relationships/image" Target="../media/image10.svg"/><Relationship Id="rId65" Type="http://schemas.openxmlformats.org/officeDocument/2006/relationships/image" Target="../media/image5.png"/><Relationship Id="rId4" Type="http://schemas.microsoft.com/office/2007/relationships/hdphoto" Target="../media/hdphoto1.wdp"/><Relationship Id="rId9" Type="http://schemas.openxmlformats.org/officeDocument/2006/relationships/image" Target="../media/image8.svg"/><Relationship Id="rId22" Type="http://schemas.openxmlformats.org/officeDocument/2006/relationships/image" Target="../media/image20.png"/><Relationship Id="rId27" Type="http://schemas.openxmlformats.org/officeDocument/2006/relationships/slide" Target="slide26.xml"/><Relationship Id="rId30" Type="http://schemas.openxmlformats.org/officeDocument/2006/relationships/slide" Target="slide23.xml"/><Relationship Id="rId48" Type="http://schemas.openxmlformats.org/officeDocument/2006/relationships/slide" Target="slide29.xml"/><Relationship Id="rId56" Type="http://schemas.openxmlformats.org/officeDocument/2006/relationships/image" Target="../media/image29.svg"/><Relationship Id="rId64" Type="http://schemas.openxmlformats.org/officeDocument/2006/relationships/image" Target="../media/image14.svg"/><Relationship Id="rId8" Type="http://schemas.openxmlformats.org/officeDocument/2006/relationships/image" Target="../media/image7.png"/><Relationship Id="rId51" Type="http://schemas.openxmlformats.org/officeDocument/2006/relationships/slide" Target="slide32.xml"/><Relationship Id="rId3" Type="http://schemas.openxmlformats.org/officeDocument/2006/relationships/image" Target="../media/image1.png"/><Relationship Id="rId17" Type="http://schemas.openxmlformats.org/officeDocument/2006/relationships/image" Target="../media/image19.png"/><Relationship Id="rId25" Type="http://schemas.openxmlformats.org/officeDocument/2006/relationships/image" Target="../media/image21.png"/><Relationship Id="rId59" Type="http://schemas.openxmlformats.org/officeDocument/2006/relationships/image" Target="../media/image9.png"/><Relationship Id="rId67" Type="http://schemas.openxmlformats.org/officeDocument/2006/relationships/image" Target="../media/image15.png"/><Relationship Id="rId20" Type="http://schemas.openxmlformats.org/officeDocument/2006/relationships/image" Target="../media/image20.png"/><Relationship Id="rId54" Type="http://schemas.openxmlformats.org/officeDocument/2006/relationships/image" Target="../media/image27.svg"/><Relationship Id="rId62" Type="http://schemas.openxmlformats.org/officeDocument/2006/relationships/image" Target="../media/image12.svg"/><Relationship Id="rId1" Type="http://schemas.openxmlformats.org/officeDocument/2006/relationships/slideLayout" Target="../slideLayouts/slideLayout7.xml"/><Relationship Id="rId6" Type="http://schemas.openxmlformats.org/officeDocument/2006/relationships/slide" Target="slide3.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37.png"/><Relationship Id="rId4" Type="http://schemas.openxmlformats.org/officeDocument/2006/relationships/image" Target="../media/image10.sv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38.png"/><Relationship Id="rId4" Type="http://schemas.openxmlformats.org/officeDocument/2006/relationships/image" Target="../media/image10.sv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38.png"/><Relationship Id="rId4" Type="http://schemas.openxmlformats.org/officeDocument/2006/relationships/image" Target="../media/image10.svg"/></Relationships>
</file>

<file path=ppt/slides/_rels/slide2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16.svg"/></Relationships>
</file>

<file path=ppt/slides/_rels/slide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6.svg"/></Relationships>
</file>

<file path=ppt/slides/_rels/slide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Layout" Target="../slideLayouts/slideLayout18.xml"/><Relationship Id="rId5" Type="http://schemas.openxmlformats.org/officeDocument/2006/relationships/hyperlink" Target="https://doi.org/10.1016/j.cmpb.2019.105020" TargetMode="External"/><Relationship Id="rId4" Type="http://schemas.openxmlformats.org/officeDocument/2006/relationships/hyperlink" Target="https://doi.org/10.1016/j.schres.2022.06.006"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8.xml"/><Relationship Id="rId1" Type="http://schemas.openxmlformats.org/officeDocument/2006/relationships/tags" Target="../tags/tag1.xml"/><Relationship Id="rId4" Type="http://schemas.openxmlformats.org/officeDocument/2006/relationships/image" Target="../media/image12.svg"/></Relationships>
</file>

<file path=ppt/slides/_rels/slide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Layout" Target="../slideLayouts/slideLayout18.xml"/><Relationship Id="rId5" Type="http://schemas.openxmlformats.org/officeDocument/2006/relationships/hyperlink" Target="https://doi.org/10.1016/j.cmpb.2019.105020" TargetMode="External"/><Relationship Id="rId4" Type="http://schemas.openxmlformats.org/officeDocument/2006/relationships/hyperlink" Target="https://doi.org/10.1016/j.schres.2022.06.006" TargetMode="External"/></Relationships>
</file>

<file path=ppt/slides/_rels/slide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9.png"/><Relationship Id="rId1" Type="http://schemas.openxmlformats.org/officeDocument/2006/relationships/slideLayout" Target="../slideLayouts/slideLayout18.xml"/><Relationship Id="rId4" Type="http://schemas.openxmlformats.org/officeDocument/2006/relationships/hyperlink" Target="https://mineracaodedados.files.wordpress.com/2012/12/crisp-dm-1-0.pdf"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18.xml"/><Relationship Id="rId4" Type="http://schemas.openxmlformats.org/officeDocument/2006/relationships/image" Target="../media/image40.jp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18.xml"/><Relationship Id="rId5" Type="http://schemas.openxmlformats.org/officeDocument/2006/relationships/image" Target="../media/image40.jpg"/><Relationship Id="rId4" Type="http://schemas.openxmlformats.org/officeDocument/2006/relationships/image" Target="../media/image4.sv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14.sv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BEBA8EAE-BF5A-486C-A8C5-ECC9F3942E4B}">
                <a14:imgProps xmlns:a14="http://schemas.microsoft.com/office/drawing/2010/main">
                  <a14:imgLayer r:embed="rId4">
                    <a14:imgEffect>
                      <a14:artisticBlur/>
                    </a14:imgEffect>
                  </a14:imgLayer>
                </a14:imgProps>
              </a:ext>
            </a:extLst>
          </a:blip>
          <a:srcRect/>
          <a:stretch>
            <a:fillRect l="-6000" r="-6000"/>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F48D5-EE9C-9633-579B-11E830EA1CE4}"/>
              </a:ext>
            </a:extLst>
          </p:cNvPr>
          <p:cNvPicPr>
            <a:picLocks noChangeAspect="1"/>
          </p:cNvPicPr>
          <p:nvPr/>
        </p:nvPicPr>
        <p:blipFill>
          <a:blip r:embed="rId5">
            <a:extLst>
              <a:ext uri="{28A0092B-C50C-407E-A947-70E740481C1C}">
                <a14:useLocalDpi xmlns:a14="http://schemas.microsoft.com/office/drawing/2010/main" val="0"/>
              </a:ext>
            </a:extLst>
          </a:blip>
          <a:srcRect l="5479" r="5479"/>
          <a:stretch/>
        </p:blipFill>
        <p:spPr>
          <a:xfrm>
            <a:off x="-21113" y="2"/>
            <a:ext cx="12213113" cy="6857998"/>
          </a:xfrm>
          <a:prstGeom prst="rect">
            <a:avLst/>
          </a:prstGeom>
        </p:spPr>
      </p:pic>
      <p:sp useBgFill="1">
        <p:nvSpPr>
          <p:cNvPr id="84" name="!!mission_big">
            <a:extLst>
              <a:ext uri="{FF2B5EF4-FFF2-40B4-BE49-F238E27FC236}">
                <a16:creationId xmlns:a16="http://schemas.microsoft.com/office/drawing/2014/main" id="{6CFBC3F3-FDB5-FD3D-1481-3059D5AE927C}"/>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5" name="!!problem_big">
            <a:extLst>
              <a:ext uri="{FF2B5EF4-FFF2-40B4-BE49-F238E27FC236}">
                <a16:creationId xmlns:a16="http://schemas.microsoft.com/office/drawing/2014/main" id="{70765587-F598-D543-0EBF-D55B36CEEE1A}"/>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6" name="!!solution_big">
            <a:extLst>
              <a:ext uri="{FF2B5EF4-FFF2-40B4-BE49-F238E27FC236}">
                <a16:creationId xmlns:a16="http://schemas.microsoft.com/office/drawing/2014/main" id="{C7467CC4-78EB-06D5-5CC2-826B8F952ABA}"/>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7" name="!!potential_big">
            <a:extLst>
              <a:ext uri="{FF2B5EF4-FFF2-40B4-BE49-F238E27FC236}">
                <a16:creationId xmlns:a16="http://schemas.microsoft.com/office/drawing/2014/main" id="{0DD63B05-8199-0461-6984-B6F7AE7441D2}"/>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8" name="!!model_big">
            <a:extLst>
              <a:ext uri="{FF2B5EF4-FFF2-40B4-BE49-F238E27FC236}">
                <a16:creationId xmlns:a16="http://schemas.microsoft.com/office/drawing/2014/main" id="{91323A8D-2FBA-BE9B-F312-A3CBEBBE7784}"/>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89" name="!!growth_big">
            <a:extLst>
              <a:ext uri="{FF2B5EF4-FFF2-40B4-BE49-F238E27FC236}">
                <a16:creationId xmlns:a16="http://schemas.microsoft.com/office/drawing/2014/main" id="{1D2DDA0C-34D1-ECC6-DC5C-7CAFDFDA342F}"/>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0" name="!!competition_big">
            <a:extLst>
              <a:ext uri="{FF2B5EF4-FFF2-40B4-BE49-F238E27FC236}">
                <a16:creationId xmlns:a16="http://schemas.microsoft.com/office/drawing/2014/main" id="{21154ADD-2272-0B48-19E1-DEF64F150958}"/>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1" name="!!finanvials_big">
            <a:extLst>
              <a:ext uri="{FF2B5EF4-FFF2-40B4-BE49-F238E27FC236}">
                <a16:creationId xmlns:a16="http://schemas.microsoft.com/office/drawing/2014/main" id="{8411AC72-885D-0B03-2EFB-F3B3BF963E02}"/>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92" name="!!team_big">
            <a:extLst>
              <a:ext uri="{FF2B5EF4-FFF2-40B4-BE49-F238E27FC236}">
                <a16:creationId xmlns:a16="http://schemas.microsoft.com/office/drawing/2014/main" id="{1658FEF9-E6D9-F422-5CE4-804A8426C251}"/>
              </a:ext>
            </a:extLst>
          </p:cNvPr>
          <p:cNvSpPr/>
          <p:nvPr/>
        </p:nvSpPr>
        <p:spPr>
          <a:xfrm>
            <a:off x="6893377" y="1817941"/>
            <a:ext cx="2515696" cy="251569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grpSp>
        <p:nvGrpSpPr>
          <p:cNvPr id="13" name="Group 12">
            <a:extLst>
              <a:ext uri="{FF2B5EF4-FFF2-40B4-BE49-F238E27FC236}">
                <a16:creationId xmlns:a16="http://schemas.microsoft.com/office/drawing/2014/main" id="{8FDD7CA6-E03D-7B46-E1AF-C3C567C19536}"/>
              </a:ext>
            </a:extLst>
          </p:cNvPr>
          <p:cNvGrpSpPr/>
          <p:nvPr/>
        </p:nvGrpSpPr>
        <p:grpSpPr>
          <a:xfrm>
            <a:off x="6953680" y="2018817"/>
            <a:ext cx="507586" cy="507586"/>
            <a:chOff x="6702859" y="2190514"/>
            <a:chExt cx="507586" cy="507586"/>
          </a:xfrm>
        </p:grpSpPr>
        <p:sp useBgFill="1">
          <p:nvSpPr>
            <p:cNvPr id="94" name="Oval 93">
              <a:extLst>
                <a:ext uri="{FF2B5EF4-FFF2-40B4-BE49-F238E27FC236}">
                  <a16:creationId xmlns:a16="http://schemas.microsoft.com/office/drawing/2014/main" id="{F2FE31D7-9CA3-8B92-8DAC-2622D9EA35A8}"/>
                </a:ext>
              </a:extLst>
            </p:cNvPr>
            <p:cNvSpPr/>
            <p:nvPr/>
          </p:nvSpPr>
          <p:spPr>
            <a:xfrm>
              <a:off x="6702859" y="219051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5" name="Graphic 94">
              <a:extLst>
                <a:ext uri="{FF2B5EF4-FFF2-40B4-BE49-F238E27FC236}">
                  <a16:creationId xmlns:a16="http://schemas.microsoft.com/office/drawing/2014/main" id="{F11E90DF-2951-D0AA-5249-88F7AFDCAB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29280" y="2300921"/>
              <a:ext cx="252000" cy="252000"/>
            </a:xfrm>
            <a:prstGeom prst="rect">
              <a:avLst/>
            </a:prstGeom>
          </p:spPr>
        </p:pic>
      </p:grpSp>
      <p:grpSp>
        <p:nvGrpSpPr>
          <p:cNvPr id="7" name="Group 6">
            <a:extLst>
              <a:ext uri="{FF2B5EF4-FFF2-40B4-BE49-F238E27FC236}">
                <a16:creationId xmlns:a16="http://schemas.microsoft.com/office/drawing/2014/main" id="{01392251-8F63-D3EC-AD5D-2ED3E827AD1A}"/>
              </a:ext>
            </a:extLst>
          </p:cNvPr>
          <p:cNvGrpSpPr/>
          <p:nvPr/>
        </p:nvGrpSpPr>
        <p:grpSpPr>
          <a:xfrm>
            <a:off x="7898943" y="2869187"/>
            <a:ext cx="507586" cy="507586"/>
            <a:chOff x="7857048" y="2824131"/>
            <a:chExt cx="507586" cy="507586"/>
          </a:xfrm>
        </p:grpSpPr>
        <p:sp useBgFill="1">
          <p:nvSpPr>
            <p:cNvPr id="100" name="Oval 99">
              <a:extLst>
                <a:ext uri="{FF2B5EF4-FFF2-40B4-BE49-F238E27FC236}">
                  <a16:creationId xmlns:a16="http://schemas.microsoft.com/office/drawing/2014/main" id="{466739ED-CC90-C839-AE9F-21A11220F695}"/>
                </a:ext>
              </a:extLst>
            </p:cNvPr>
            <p:cNvSpPr/>
            <p:nvPr/>
          </p:nvSpPr>
          <p:spPr>
            <a:xfrm>
              <a:off x="7857048" y="282413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1" name="Graphic 100">
              <a:extLst>
                <a:ext uri="{FF2B5EF4-FFF2-40B4-BE49-F238E27FC236}">
                  <a16:creationId xmlns:a16="http://schemas.microsoft.com/office/drawing/2014/main" id="{010F1219-9830-8E0D-73D1-3886EF6C35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72228" y="2940468"/>
              <a:ext cx="252000" cy="252000"/>
            </a:xfrm>
            <a:prstGeom prst="rect">
              <a:avLst/>
            </a:prstGeom>
          </p:spPr>
        </p:pic>
      </p:grpSp>
      <p:grpSp>
        <p:nvGrpSpPr>
          <p:cNvPr id="10" name="Group 9">
            <a:extLst>
              <a:ext uri="{FF2B5EF4-FFF2-40B4-BE49-F238E27FC236}">
                <a16:creationId xmlns:a16="http://schemas.microsoft.com/office/drawing/2014/main" id="{E3EE6CE4-1B8C-3422-58C9-3DA1992FCF2A}"/>
              </a:ext>
            </a:extLst>
          </p:cNvPr>
          <p:cNvGrpSpPr/>
          <p:nvPr/>
        </p:nvGrpSpPr>
        <p:grpSpPr>
          <a:xfrm>
            <a:off x="7004986" y="3734751"/>
            <a:ext cx="507586" cy="507586"/>
            <a:chOff x="7897432" y="4113359"/>
            <a:chExt cx="507586" cy="507586"/>
          </a:xfrm>
        </p:grpSpPr>
        <p:sp useBgFill="1">
          <p:nvSpPr>
            <p:cNvPr id="106" name="Oval 105">
              <a:extLst>
                <a:ext uri="{FF2B5EF4-FFF2-40B4-BE49-F238E27FC236}">
                  <a16:creationId xmlns:a16="http://schemas.microsoft.com/office/drawing/2014/main" id="{750DC086-A827-EEA1-F118-DF41BE1504A7}"/>
                </a:ext>
              </a:extLst>
            </p:cNvPr>
            <p:cNvSpPr/>
            <p:nvPr/>
          </p:nvSpPr>
          <p:spPr>
            <a:xfrm>
              <a:off x="7897432" y="411335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07" name="Graphic 106">
              <a:extLst>
                <a:ext uri="{FF2B5EF4-FFF2-40B4-BE49-F238E27FC236}">
                  <a16:creationId xmlns:a16="http://schemas.microsoft.com/office/drawing/2014/main" id="{53BC1E00-DC2C-70CA-AD01-38FA56F5D2D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25225" y="4241152"/>
              <a:ext cx="252000" cy="252000"/>
            </a:xfrm>
            <a:prstGeom prst="rect">
              <a:avLst/>
            </a:prstGeom>
          </p:spPr>
        </p:pic>
      </p:grpSp>
      <p:sp useBgFill="1">
        <p:nvSpPr>
          <p:cNvPr id="33" name="Rectangle: Rounded Corners 32">
            <a:extLst>
              <a:ext uri="{FF2B5EF4-FFF2-40B4-BE49-F238E27FC236}">
                <a16:creationId xmlns:a16="http://schemas.microsoft.com/office/drawing/2014/main" id="{7A420111-AE35-BCBA-8E61-F7CE753B5A29}"/>
              </a:ext>
            </a:extLst>
          </p:cNvPr>
          <p:cNvSpPr/>
          <p:nvPr/>
        </p:nvSpPr>
        <p:spPr>
          <a:xfrm>
            <a:off x="9425073" y="5627986"/>
            <a:ext cx="2615565" cy="1058303"/>
          </a:xfrm>
          <a:prstGeom prst="roundRect">
            <a:avLst>
              <a:gd name="adj" fmla="val 50000"/>
            </a:avLst>
          </a:prstGeom>
          <a:ln w="6350">
            <a:solidFill>
              <a:schemeClr val="bg1">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effectLst>
                  <a:outerShdw blurRad="38100" dist="38100" dir="2700000" algn="tl">
                    <a:srgbClr val="000000">
                      <a:alpha val="43137"/>
                    </a:srgbClr>
                  </a:outerShdw>
                </a:effectLst>
                <a:latin typeface="Aptos Display" panose="020B0004020202020204" pitchFamily="34" charset="0"/>
              </a:rPr>
              <a:t>Presented by: </a:t>
            </a:r>
          </a:p>
          <a:p>
            <a:pPr algn="ctr"/>
            <a:r>
              <a:rPr lang="en-US" sz="1600">
                <a:solidFill>
                  <a:prstClr val="white"/>
                </a:solidFill>
                <a:effectLst>
                  <a:outerShdw blurRad="38100" dist="38100" dir="2700000" algn="tl">
                    <a:srgbClr val="000000">
                      <a:alpha val="43137"/>
                    </a:srgbClr>
                  </a:outerShdw>
                </a:effectLst>
                <a:latin typeface="Aptos Display" panose="020B0004020202020204" pitchFamily="34" charset="0"/>
              </a:rPr>
              <a:t>Group 7B </a:t>
            </a:r>
            <a:endParaRPr lang="en-US" sz="1600" dirty="0">
              <a:solidFill>
                <a:prstClr val="white"/>
              </a:solidFill>
              <a:effectLst>
                <a:outerShdw blurRad="38100" dist="38100" dir="2700000" algn="tl">
                  <a:srgbClr val="000000">
                    <a:alpha val="43137"/>
                  </a:srgbClr>
                </a:outerShdw>
              </a:effectLst>
              <a:latin typeface="Aptos Display" panose="020B0004020202020204" pitchFamily="34" charset="0"/>
            </a:endParaRPr>
          </a:p>
        </p:txBody>
      </p:sp>
      <p:sp>
        <p:nvSpPr>
          <p:cNvPr id="20" name="TextBox 19">
            <a:extLst>
              <a:ext uri="{FF2B5EF4-FFF2-40B4-BE49-F238E27FC236}">
                <a16:creationId xmlns:a16="http://schemas.microsoft.com/office/drawing/2014/main" id="{E015CEDA-CEE1-503D-CE16-022E8505F8B5}"/>
              </a:ext>
            </a:extLst>
          </p:cNvPr>
          <p:cNvSpPr txBox="1"/>
          <p:nvPr/>
        </p:nvSpPr>
        <p:spPr>
          <a:xfrm>
            <a:off x="1290083" y="4202915"/>
            <a:ext cx="6822702" cy="1058303"/>
          </a:xfrm>
          <a:prstGeom prst="rect">
            <a:avLst/>
          </a:prstGeom>
          <a:noFill/>
        </p:spPr>
        <p:txBody>
          <a:bodyPr wrap="none">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880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rPr>
              <a:t>Schizophrenia</a:t>
            </a:r>
          </a:p>
        </p:txBody>
      </p:sp>
      <p:sp>
        <p:nvSpPr>
          <p:cNvPr id="21" name="Slide Title">
            <a:extLst>
              <a:ext uri="{FF2B5EF4-FFF2-40B4-BE49-F238E27FC236}">
                <a16:creationId xmlns:a16="http://schemas.microsoft.com/office/drawing/2014/main" id="{9FD71554-2375-576F-209C-05192E70BC3C}"/>
              </a:ext>
            </a:extLst>
          </p:cNvPr>
          <p:cNvSpPr txBox="1"/>
          <p:nvPr/>
        </p:nvSpPr>
        <p:spPr>
          <a:xfrm>
            <a:off x="714020" y="2812675"/>
            <a:ext cx="6241260" cy="1199687"/>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algn="l" defTabSz="914400" rtl="0" eaLnBrk="1" fontAlgn="auto" latinLnBrk="0" hangingPunct="1">
              <a:lnSpc>
                <a:spcPct val="55357"/>
              </a:lnSpc>
              <a:spcBef>
                <a:spcPts val="0"/>
              </a:spcBef>
              <a:spcAft>
                <a:spcPts val="0"/>
              </a:spcAft>
              <a:buClrTx/>
              <a:buSzTx/>
              <a:buFontTx/>
              <a:buNone/>
              <a:tabLst/>
              <a:defRPr/>
            </a:pPr>
            <a:r>
              <a:rPr kumimoji="0" lang="en-US" sz="115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Predicting </a:t>
            </a:r>
            <a:endParaRPr kumimoji="0" lang="en-US" sz="115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sp useBgFill="1">
        <p:nvSpPr>
          <p:cNvPr id="2" name="Oval 1">
            <a:extLst>
              <a:ext uri="{FF2B5EF4-FFF2-40B4-BE49-F238E27FC236}">
                <a16:creationId xmlns:a16="http://schemas.microsoft.com/office/drawing/2014/main" id="{FF5A31A3-BF28-2433-3BBF-115CE72C0109}"/>
              </a:ext>
            </a:extLst>
          </p:cNvPr>
          <p:cNvSpPr/>
          <p:nvPr/>
        </p:nvSpPr>
        <p:spPr>
          <a:xfrm>
            <a:off x="2243756" y="1131244"/>
            <a:ext cx="865705" cy="865703"/>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3" name="Oval 2">
            <a:extLst>
              <a:ext uri="{FF2B5EF4-FFF2-40B4-BE49-F238E27FC236}">
                <a16:creationId xmlns:a16="http://schemas.microsoft.com/office/drawing/2014/main" id="{A232ADF8-5A6D-1920-3C3D-D66020BEAB3E}"/>
              </a:ext>
            </a:extLst>
          </p:cNvPr>
          <p:cNvSpPr/>
          <p:nvPr/>
        </p:nvSpPr>
        <p:spPr>
          <a:xfrm>
            <a:off x="2267043" y="1985832"/>
            <a:ext cx="416014" cy="416013"/>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 name="Oval 3">
            <a:extLst>
              <a:ext uri="{FF2B5EF4-FFF2-40B4-BE49-F238E27FC236}">
                <a16:creationId xmlns:a16="http://schemas.microsoft.com/office/drawing/2014/main" id="{AB3CD34B-7123-36FB-E248-42347FE8B355}"/>
              </a:ext>
            </a:extLst>
          </p:cNvPr>
          <p:cNvSpPr/>
          <p:nvPr/>
        </p:nvSpPr>
        <p:spPr>
          <a:xfrm>
            <a:off x="2115398" y="1814348"/>
            <a:ext cx="244030" cy="244029"/>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5" name="Slide Title">
            <a:extLst>
              <a:ext uri="{FF2B5EF4-FFF2-40B4-BE49-F238E27FC236}">
                <a16:creationId xmlns:a16="http://schemas.microsoft.com/office/drawing/2014/main" id="{80E8DA2C-5834-5AA3-E38E-832B009BE6B1}"/>
              </a:ext>
            </a:extLst>
          </p:cNvPr>
          <p:cNvSpPr txBox="1"/>
          <p:nvPr/>
        </p:nvSpPr>
        <p:spPr>
          <a:xfrm>
            <a:off x="5408633" y="-790389"/>
            <a:ext cx="1374735" cy="670633"/>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defTabSz="914400" rtl="0" eaLnBrk="1" fontAlgn="auto" latinLnBrk="0" hangingPunct="1">
              <a:lnSpc>
                <a:spcPct val="55357"/>
              </a:lnSpc>
              <a:spcBef>
                <a:spcPts val="0"/>
              </a:spcBef>
              <a:spcAft>
                <a:spcPts val="0"/>
              </a:spcAft>
              <a:buClrTx/>
              <a:buSzTx/>
              <a:buFontTx/>
              <a:buNone/>
              <a:tabLst/>
              <a:defRPr/>
            </a:pP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Table of</a:t>
            </a:r>
          </a:p>
          <a:p>
            <a:pPr marL="0" marR="0" lvl="0" indent="0" defTabSz="914400" rtl="0" eaLnBrk="1" fontAlgn="auto" latinLnBrk="0" hangingPunct="1">
              <a:lnSpc>
                <a:spcPct val="55357"/>
              </a:lnSpc>
              <a:spcBef>
                <a:spcPts val="0"/>
              </a:spcBef>
              <a:spcAft>
                <a:spcPts val="0"/>
              </a:spcAft>
              <a:buClrTx/>
              <a:buSzTx/>
              <a:buFontTx/>
              <a:buNone/>
              <a:tabLst/>
              <a:defRPr/>
            </a:pPr>
            <a:r>
              <a:rPr kumimoji="0" lang="en-US" sz="28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rPr>
              <a:t>Contents</a:t>
            </a: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32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grpSp>
        <p:nvGrpSpPr>
          <p:cNvPr id="24" name="Group 23">
            <a:extLst>
              <a:ext uri="{FF2B5EF4-FFF2-40B4-BE49-F238E27FC236}">
                <a16:creationId xmlns:a16="http://schemas.microsoft.com/office/drawing/2014/main" id="{4002443D-30E6-08B1-F447-C0D2B14C20D1}"/>
              </a:ext>
            </a:extLst>
          </p:cNvPr>
          <p:cNvGrpSpPr/>
          <p:nvPr/>
        </p:nvGrpSpPr>
        <p:grpSpPr>
          <a:xfrm>
            <a:off x="9171280" y="2852595"/>
            <a:ext cx="507586" cy="507586"/>
            <a:chOff x="9014514" y="3391708"/>
            <a:chExt cx="507586" cy="507586"/>
          </a:xfrm>
        </p:grpSpPr>
        <p:sp useBgFill="1">
          <p:nvSpPr>
            <p:cNvPr id="109" name="Oval 108">
              <a:extLst>
                <a:ext uri="{FF2B5EF4-FFF2-40B4-BE49-F238E27FC236}">
                  <a16:creationId xmlns:a16="http://schemas.microsoft.com/office/drawing/2014/main" id="{D1A935B9-16B8-4EA4-ECB5-F93E26ED1468}"/>
                </a:ext>
              </a:extLst>
            </p:cNvPr>
            <p:cNvSpPr/>
            <p:nvPr/>
          </p:nvSpPr>
          <p:spPr>
            <a:xfrm>
              <a:off x="9014514" y="3391708"/>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22" name="Graphic 22">
              <a:extLst>
                <a:ext uri="{FF2B5EF4-FFF2-40B4-BE49-F238E27FC236}">
                  <a16:creationId xmlns:a16="http://schemas.microsoft.com/office/drawing/2014/main" id="{F08B082C-B74B-B6DA-D5D5-BD19793A8D49}"/>
                </a:ext>
              </a:extLst>
            </p:cNvPr>
            <p:cNvSpPr/>
            <p:nvPr/>
          </p:nvSpPr>
          <p:spPr>
            <a:xfrm>
              <a:off x="9172290" y="3557485"/>
              <a:ext cx="192028" cy="176032"/>
            </a:xfrm>
            <a:custGeom>
              <a:avLst/>
              <a:gdLst>
                <a:gd name="connsiteX0" fmla="*/ 192028 w 192028"/>
                <a:gd name="connsiteY0" fmla="*/ 88015 h 176032"/>
                <a:gd name="connsiteX1" fmla="*/ 184027 w 192028"/>
                <a:gd name="connsiteY1" fmla="*/ 96016 h 176032"/>
                <a:gd name="connsiteX2" fmla="*/ 96016 w 192028"/>
                <a:gd name="connsiteY2" fmla="*/ 96016 h 176032"/>
                <a:gd name="connsiteX3" fmla="*/ 88015 w 192028"/>
                <a:gd name="connsiteY3" fmla="*/ 88015 h 176032"/>
                <a:gd name="connsiteX4" fmla="*/ 96016 w 192028"/>
                <a:gd name="connsiteY4" fmla="*/ 80014 h 176032"/>
                <a:gd name="connsiteX5" fmla="*/ 184027 w 192028"/>
                <a:gd name="connsiteY5" fmla="*/ 80014 h 176032"/>
                <a:gd name="connsiteX6" fmla="*/ 192028 w 192028"/>
                <a:gd name="connsiteY6" fmla="*/ 88015 h 176032"/>
                <a:gd name="connsiteX7" fmla="*/ 96016 w 192028"/>
                <a:gd name="connsiteY7" fmla="*/ 32008 h 176032"/>
                <a:gd name="connsiteX8" fmla="*/ 184027 w 192028"/>
                <a:gd name="connsiteY8" fmla="*/ 32008 h 176032"/>
                <a:gd name="connsiteX9" fmla="*/ 192028 w 192028"/>
                <a:gd name="connsiteY9" fmla="*/ 24007 h 176032"/>
                <a:gd name="connsiteX10" fmla="*/ 184027 w 192028"/>
                <a:gd name="connsiteY10" fmla="*/ 16006 h 176032"/>
                <a:gd name="connsiteX11" fmla="*/ 96016 w 192028"/>
                <a:gd name="connsiteY11" fmla="*/ 16006 h 176032"/>
                <a:gd name="connsiteX12" fmla="*/ 88015 w 192028"/>
                <a:gd name="connsiteY12" fmla="*/ 24007 h 176032"/>
                <a:gd name="connsiteX13" fmla="*/ 96016 w 192028"/>
                <a:gd name="connsiteY13" fmla="*/ 32008 h 176032"/>
                <a:gd name="connsiteX14" fmla="*/ 184027 w 192028"/>
                <a:gd name="connsiteY14" fmla="*/ 144022 h 176032"/>
                <a:gd name="connsiteX15" fmla="*/ 96016 w 192028"/>
                <a:gd name="connsiteY15" fmla="*/ 144022 h 176032"/>
                <a:gd name="connsiteX16" fmla="*/ 88015 w 192028"/>
                <a:gd name="connsiteY16" fmla="*/ 152023 h 176032"/>
                <a:gd name="connsiteX17" fmla="*/ 96016 w 192028"/>
                <a:gd name="connsiteY17" fmla="*/ 160024 h 176032"/>
                <a:gd name="connsiteX18" fmla="*/ 184027 w 192028"/>
                <a:gd name="connsiteY18" fmla="*/ 160024 h 176032"/>
                <a:gd name="connsiteX19" fmla="*/ 192028 w 192028"/>
                <a:gd name="connsiteY19" fmla="*/ 152023 h 176032"/>
                <a:gd name="connsiteX20" fmla="*/ 184027 w 192028"/>
                <a:gd name="connsiteY20" fmla="*/ 144022 h 176032"/>
                <a:gd name="connsiteX21" fmla="*/ 50351 w 192028"/>
                <a:gd name="connsiteY21" fmla="*/ 2345 h 176032"/>
                <a:gd name="connsiteX22" fmla="*/ 24007 w 192028"/>
                <a:gd name="connsiteY22" fmla="*/ 28698 h 176032"/>
                <a:gd name="connsiteX23" fmla="*/ 13666 w 192028"/>
                <a:gd name="connsiteY23" fmla="*/ 18347 h 176032"/>
                <a:gd name="connsiteX24" fmla="*/ 2345 w 192028"/>
                <a:gd name="connsiteY24" fmla="*/ 18347 h 176032"/>
                <a:gd name="connsiteX25" fmla="*/ 2345 w 192028"/>
                <a:gd name="connsiteY25" fmla="*/ 29668 h 176032"/>
                <a:gd name="connsiteX26" fmla="*/ 18347 w 192028"/>
                <a:gd name="connsiteY26" fmla="*/ 45670 h 176032"/>
                <a:gd name="connsiteX27" fmla="*/ 29662 w 192028"/>
                <a:gd name="connsiteY27" fmla="*/ 45676 h 176032"/>
                <a:gd name="connsiteX28" fmla="*/ 29668 w 192028"/>
                <a:gd name="connsiteY28" fmla="*/ 45670 h 176032"/>
                <a:gd name="connsiteX29" fmla="*/ 61672 w 192028"/>
                <a:gd name="connsiteY29" fmla="*/ 13666 h 176032"/>
                <a:gd name="connsiteX30" fmla="*/ 61672 w 192028"/>
                <a:gd name="connsiteY30" fmla="*/ 2345 h 176032"/>
                <a:gd name="connsiteX31" fmla="*/ 50351 w 192028"/>
                <a:gd name="connsiteY31" fmla="*/ 2345 h 176032"/>
                <a:gd name="connsiteX32" fmla="*/ 50351 w 192028"/>
                <a:gd name="connsiteY32" fmla="*/ 66353 h 176032"/>
                <a:gd name="connsiteX33" fmla="*/ 24007 w 192028"/>
                <a:gd name="connsiteY33" fmla="*/ 92706 h 176032"/>
                <a:gd name="connsiteX34" fmla="*/ 13666 w 192028"/>
                <a:gd name="connsiteY34" fmla="*/ 82355 h 176032"/>
                <a:gd name="connsiteX35" fmla="*/ 2345 w 192028"/>
                <a:gd name="connsiteY35" fmla="*/ 82355 h 176032"/>
                <a:gd name="connsiteX36" fmla="*/ 2345 w 192028"/>
                <a:gd name="connsiteY36" fmla="*/ 93676 h 176032"/>
                <a:gd name="connsiteX37" fmla="*/ 18347 w 192028"/>
                <a:gd name="connsiteY37" fmla="*/ 109678 h 176032"/>
                <a:gd name="connsiteX38" fmla="*/ 29662 w 192028"/>
                <a:gd name="connsiteY38" fmla="*/ 109684 h 176032"/>
                <a:gd name="connsiteX39" fmla="*/ 29668 w 192028"/>
                <a:gd name="connsiteY39" fmla="*/ 109678 h 176032"/>
                <a:gd name="connsiteX40" fmla="*/ 61672 w 192028"/>
                <a:gd name="connsiteY40" fmla="*/ 77674 h 176032"/>
                <a:gd name="connsiteX41" fmla="*/ 61672 w 192028"/>
                <a:gd name="connsiteY41" fmla="*/ 66353 h 176032"/>
                <a:gd name="connsiteX42" fmla="*/ 50351 w 192028"/>
                <a:gd name="connsiteY42" fmla="*/ 66353 h 176032"/>
                <a:gd name="connsiteX43" fmla="*/ 50351 w 192028"/>
                <a:gd name="connsiteY43" fmla="*/ 130361 h 176032"/>
                <a:gd name="connsiteX44" fmla="*/ 24007 w 192028"/>
                <a:gd name="connsiteY44" fmla="*/ 156714 h 176032"/>
                <a:gd name="connsiteX45" fmla="*/ 13666 w 192028"/>
                <a:gd name="connsiteY45" fmla="*/ 146363 h 176032"/>
                <a:gd name="connsiteX46" fmla="*/ 2345 w 192028"/>
                <a:gd name="connsiteY46" fmla="*/ 146363 h 176032"/>
                <a:gd name="connsiteX47" fmla="*/ 2345 w 192028"/>
                <a:gd name="connsiteY47" fmla="*/ 157684 h 176032"/>
                <a:gd name="connsiteX48" fmla="*/ 18347 w 192028"/>
                <a:gd name="connsiteY48" fmla="*/ 173686 h 176032"/>
                <a:gd name="connsiteX49" fmla="*/ 29662 w 192028"/>
                <a:gd name="connsiteY49" fmla="*/ 173692 h 176032"/>
                <a:gd name="connsiteX50" fmla="*/ 29668 w 192028"/>
                <a:gd name="connsiteY50" fmla="*/ 173686 h 176032"/>
                <a:gd name="connsiteX51" fmla="*/ 61672 w 192028"/>
                <a:gd name="connsiteY51" fmla="*/ 141682 h 176032"/>
                <a:gd name="connsiteX52" fmla="*/ 61672 w 192028"/>
                <a:gd name="connsiteY52" fmla="*/ 130361 h 176032"/>
                <a:gd name="connsiteX53" fmla="*/ 50351 w 192028"/>
                <a:gd name="connsiteY53" fmla="*/ 130361 h 17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2028" h="176032">
                  <a:moveTo>
                    <a:pt x="192028" y="88015"/>
                  </a:moveTo>
                  <a:cubicBezTo>
                    <a:pt x="192028" y="92434"/>
                    <a:pt x="188446" y="96016"/>
                    <a:pt x="184027" y="96016"/>
                  </a:cubicBezTo>
                  <a:lnTo>
                    <a:pt x="96016" y="96016"/>
                  </a:lnTo>
                  <a:cubicBezTo>
                    <a:pt x="91598" y="96016"/>
                    <a:pt x="88015" y="92434"/>
                    <a:pt x="88015" y="88015"/>
                  </a:cubicBezTo>
                  <a:cubicBezTo>
                    <a:pt x="88015" y="83597"/>
                    <a:pt x="91598" y="80014"/>
                    <a:pt x="96016" y="80014"/>
                  </a:cubicBezTo>
                  <a:lnTo>
                    <a:pt x="184027" y="80014"/>
                  </a:lnTo>
                  <a:cubicBezTo>
                    <a:pt x="188446" y="80014"/>
                    <a:pt x="192028" y="83597"/>
                    <a:pt x="192028" y="88015"/>
                  </a:cubicBezTo>
                  <a:close/>
                  <a:moveTo>
                    <a:pt x="96016" y="32008"/>
                  </a:moveTo>
                  <a:lnTo>
                    <a:pt x="184027" y="32008"/>
                  </a:lnTo>
                  <a:cubicBezTo>
                    <a:pt x="188446" y="32008"/>
                    <a:pt x="192028" y="28426"/>
                    <a:pt x="192028" y="24007"/>
                  </a:cubicBezTo>
                  <a:cubicBezTo>
                    <a:pt x="192028" y="19589"/>
                    <a:pt x="188446" y="16006"/>
                    <a:pt x="184027" y="16006"/>
                  </a:cubicBezTo>
                  <a:lnTo>
                    <a:pt x="96016" y="16006"/>
                  </a:lnTo>
                  <a:cubicBezTo>
                    <a:pt x="91598" y="16006"/>
                    <a:pt x="88015" y="19589"/>
                    <a:pt x="88015" y="24007"/>
                  </a:cubicBezTo>
                  <a:cubicBezTo>
                    <a:pt x="88015" y="28426"/>
                    <a:pt x="91598" y="32008"/>
                    <a:pt x="96016" y="32008"/>
                  </a:cubicBezTo>
                  <a:close/>
                  <a:moveTo>
                    <a:pt x="184027" y="144022"/>
                  </a:moveTo>
                  <a:lnTo>
                    <a:pt x="96016" y="144022"/>
                  </a:lnTo>
                  <a:cubicBezTo>
                    <a:pt x="91598" y="144022"/>
                    <a:pt x="88015" y="147605"/>
                    <a:pt x="88015" y="152023"/>
                  </a:cubicBezTo>
                  <a:cubicBezTo>
                    <a:pt x="88015" y="156442"/>
                    <a:pt x="91598" y="160024"/>
                    <a:pt x="96016" y="160024"/>
                  </a:cubicBezTo>
                  <a:lnTo>
                    <a:pt x="184027" y="160024"/>
                  </a:lnTo>
                  <a:cubicBezTo>
                    <a:pt x="188446" y="160024"/>
                    <a:pt x="192028" y="156442"/>
                    <a:pt x="192028" y="152023"/>
                  </a:cubicBezTo>
                  <a:cubicBezTo>
                    <a:pt x="192028" y="147605"/>
                    <a:pt x="188446" y="144022"/>
                    <a:pt x="184027" y="144022"/>
                  </a:cubicBezTo>
                  <a:close/>
                  <a:moveTo>
                    <a:pt x="50351" y="2345"/>
                  </a:moveTo>
                  <a:lnTo>
                    <a:pt x="24007" y="28698"/>
                  </a:lnTo>
                  <a:lnTo>
                    <a:pt x="13666" y="18347"/>
                  </a:lnTo>
                  <a:cubicBezTo>
                    <a:pt x="10540" y="15220"/>
                    <a:pt x="5471" y="15220"/>
                    <a:pt x="2345" y="18347"/>
                  </a:cubicBezTo>
                  <a:cubicBezTo>
                    <a:pt x="-782" y="21473"/>
                    <a:pt x="-782" y="26542"/>
                    <a:pt x="2345" y="29668"/>
                  </a:cubicBezTo>
                  <a:lnTo>
                    <a:pt x="18347" y="45670"/>
                  </a:lnTo>
                  <a:cubicBezTo>
                    <a:pt x="21470" y="48796"/>
                    <a:pt x="26536" y="48799"/>
                    <a:pt x="29662" y="45676"/>
                  </a:cubicBezTo>
                  <a:cubicBezTo>
                    <a:pt x="29664" y="45674"/>
                    <a:pt x="29666" y="45672"/>
                    <a:pt x="29668" y="45670"/>
                  </a:cubicBezTo>
                  <a:lnTo>
                    <a:pt x="61672" y="13666"/>
                  </a:lnTo>
                  <a:cubicBezTo>
                    <a:pt x="64798" y="10540"/>
                    <a:pt x="64798" y="5471"/>
                    <a:pt x="61672" y="2345"/>
                  </a:cubicBezTo>
                  <a:cubicBezTo>
                    <a:pt x="58546" y="-782"/>
                    <a:pt x="53477" y="-782"/>
                    <a:pt x="50351" y="2345"/>
                  </a:cubicBezTo>
                  <a:close/>
                  <a:moveTo>
                    <a:pt x="50351" y="66353"/>
                  </a:moveTo>
                  <a:lnTo>
                    <a:pt x="24007" y="92706"/>
                  </a:lnTo>
                  <a:lnTo>
                    <a:pt x="13666" y="82355"/>
                  </a:lnTo>
                  <a:cubicBezTo>
                    <a:pt x="10540" y="79228"/>
                    <a:pt x="5471" y="79228"/>
                    <a:pt x="2345" y="82355"/>
                  </a:cubicBezTo>
                  <a:cubicBezTo>
                    <a:pt x="-782" y="85481"/>
                    <a:pt x="-782" y="90550"/>
                    <a:pt x="2345" y="93676"/>
                  </a:cubicBezTo>
                  <a:lnTo>
                    <a:pt x="18347" y="109678"/>
                  </a:lnTo>
                  <a:cubicBezTo>
                    <a:pt x="21470" y="112805"/>
                    <a:pt x="26536" y="112808"/>
                    <a:pt x="29662" y="109684"/>
                  </a:cubicBezTo>
                  <a:cubicBezTo>
                    <a:pt x="29664" y="109682"/>
                    <a:pt x="29666" y="109680"/>
                    <a:pt x="29668" y="109678"/>
                  </a:cubicBezTo>
                  <a:lnTo>
                    <a:pt x="61672" y="77674"/>
                  </a:lnTo>
                  <a:cubicBezTo>
                    <a:pt x="64798" y="74548"/>
                    <a:pt x="64798" y="69479"/>
                    <a:pt x="61672" y="66353"/>
                  </a:cubicBezTo>
                  <a:cubicBezTo>
                    <a:pt x="58546" y="63226"/>
                    <a:pt x="53477" y="63226"/>
                    <a:pt x="50351" y="66353"/>
                  </a:cubicBezTo>
                  <a:close/>
                  <a:moveTo>
                    <a:pt x="50351" y="130361"/>
                  </a:moveTo>
                  <a:lnTo>
                    <a:pt x="24007" y="156714"/>
                  </a:lnTo>
                  <a:lnTo>
                    <a:pt x="13666" y="146363"/>
                  </a:lnTo>
                  <a:cubicBezTo>
                    <a:pt x="10540" y="143236"/>
                    <a:pt x="5471" y="143236"/>
                    <a:pt x="2345" y="146363"/>
                  </a:cubicBezTo>
                  <a:cubicBezTo>
                    <a:pt x="-782" y="149489"/>
                    <a:pt x="-782" y="154558"/>
                    <a:pt x="2345" y="157684"/>
                  </a:cubicBezTo>
                  <a:lnTo>
                    <a:pt x="18347" y="173686"/>
                  </a:lnTo>
                  <a:cubicBezTo>
                    <a:pt x="21470" y="176813"/>
                    <a:pt x="26536" y="176816"/>
                    <a:pt x="29662" y="173692"/>
                  </a:cubicBezTo>
                  <a:cubicBezTo>
                    <a:pt x="29664" y="173690"/>
                    <a:pt x="29666" y="173688"/>
                    <a:pt x="29668" y="173686"/>
                  </a:cubicBezTo>
                  <a:lnTo>
                    <a:pt x="61672" y="141682"/>
                  </a:lnTo>
                  <a:cubicBezTo>
                    <a:pt x="64798" y="138556"/>
                    <a:pt x="64798" y="133487"/>
                    <a:pt x="61672" y="130361"/>
                  </a:cubicBezTo>
                  <a:cubicBezTo>
                    <a:pt x="58546" y="127234"/>
                    <a:pt x="53477" y="127234"/>
                    <a:pt x="50351" y="130361"/>
                  </a:cubicBezTo>
                  <a:close/>
                </a:path>
              </a:pathLst>
            </a:custGeom>
            <a:solidFill>
              <a:schemeClr val="bg1">
                <a:lumMod val="85000"/>
              </a:schemeClr>
            </a:solidFill>
            <a:ln w="967" cap="flat">
              <a:noFill/>
              <a:prstDash val="solid"/>
              <a:miter/>
            </a:ln>
          </p:spPr>
          <p:txBody>
            <a:bodyPr rtlCol="0" anchor="ctr"/>
            <a:lstStyle/>
            <a:p>
              <a:endParaRPr lang="en-IN"/>
            </a:p>
          </p:txBody>
        </p:sp>
      </p:grpSp>
      <p:grpSp>
        <p:nvGrpSpPr>
          <p:cNvPr id="14" name="Group 13">
            <a:extLst>
              <a:ext uri="{FF2B5EF4-FFF2-40B4-BE49-F238E27FC236}">
                <a16:creationId xmlns:a16="http://schemas.microsoft.com/office/drawing/2014/main" id="{90C8ACE3-1291-4D29-D7CC-9587B271D912}"/>
              </a:ext>
            </a:extLst>
          </p:cNvPr>
          <p:cNvGrpSpPr/>
          <p:nvPr/>
        </p:nvGrpSpPr>
        <p:grpSpPr>
          <a:xfrm>
            <a:off x="7928755" y="1576387"/>
            <a:ext cx="507586" cy="507586"/>
            <a:chOff x="7858113" y="1596782"/>
            <a:chExt cx="507586" cy="507586"/>
          </a:xfrm>
        </p:grpSpPr>
        <p:sp useBgFill="1">
          <p:nvSpPr>
            <p:cNvPr id="15" name="Oval 14">
              <a:extLst>
                <a:ext uri="{FF2B5EF4-FFF2-40B4-BE49-F238E27FC236}">
                  <a16:creationId xmlns:a16="http://schemas.microsoft.com/office/drawing/2014/main" id="{CBAE922C-16CC-0E63-B08A-71C0A7A09621}"/>
                </a:ext>
              </a:extLst>
            </p:cNvPr>
            <p:cNvSpPr/>
            <p:nvPr/>
          </p:nvSpPr>
          <p:spPr>
            <a:xfrm>
              <a:off x="7858113" y="1596782"/>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11" name="Graphic 17">
              <a:extLst>
                <a:ext uri="{FF2B5EF4-FFF2-40B4-BE49-F238E27FC236}">
                  <a16:creationId xmlns:a16="http://schemas.microsoft.com/office/drawing/2014/main" id="{F838E9C7-7EDC-8CD6-CA83-D5F8D2224454}"/>
                </a:ext>
              </a:extLst>
            </p:cNvPr>
            <p:cNvSpPr/>
            <p:nvPr/>
          </p:nvSpPr>
          <p:spPr>
            <a:xfrm>
              <a:off x="8020233" y="1760715"/>
              <a:ext cx="160020" cy="208026"/>
            </a:xfrm>
            <a:custGeom>
              <a:avLst/>
              <a:gdLst>
                <a:gd name="connsiteX0" fmla="*/ 144018 w 160020"/>
                <a:gd name="connsiteY0" fmla="*/ 0 h 208026"/>
                <a:gd name="connsiteX1" fmla="*/ 48006 w 160020"/>
                <a:gd name="connsiteY1" fmla="*/ 0 h 208026"/>
                <a:gd name="connsiteX2" fmla="*/ 32004 w 160020"/>
                <a:gd name="connsiteY2" fmla="*/ 16002 h 208026"/>
                <a:gd name="connsiteX3" fmla="*/ 32004 w 160020"/>
                <a:gd name="connsiteY3" fmla="*/ 32004 h 208026"/>
                <a:gd name="connsiteX4" fmla="*/ 16002 w 160020"/>
                <a:gd name="connsiteY4" fmla="*/ 32004 h 208026"/>
                <a:gd name="connsiteX5" fmla="*/ 0 w 160020"/>
                <a:gd name="connsiteY5" fmla="*/ 48006 h 208026"/>
                <a:gd name="connsiteX6" fmla="*/ 0 w 160020"/>
                <a:gd name="connsiteY6" fmla="*/ 200025 h 208026"/>
                <a:gd name="connsiteX7" fmla="*/ 8001 w 160020"/>
                <a:gd name="connsiteY7" fmla="*/ 208026 h 208026"/>
                <a:gd name="connsiteX8" fmla="*/ 12652 w 160020"/>
                <a:gd name="connsiteY8" fmla="*/ 206536 h 208026"/>
                <a:gd name="connsiteX9" fmla="*/ 64008 w 160020"/>
                <a:gd name="connsiteY9" fmla="*/ 169851 h 208026"/>
                <a:gd name="connsiteX10" fmla="*/ 115374 w 160020"/>
                <a:gd name="connsiteY10" fmla="*/ 206536 h 208026"/>
                <a:gd name="connsiteX11" fmla="*/ 126533 w 160020"/>
                <a:gd name="connsiteY11" fmla="*/ 204659 h 208026"/>
                <a:gd name="connsiteX12" fmla="*/ 128016 w 160020"/>
                <a:gd name="connsiteY12" fmla="*/ 200025 h 208026"/>
                <a:gd name="connsiteX13" fmla="*/ 128016 w 160020"/>
                <a:gd name="connsiteY13" fmla="*/ 160710 h 208026"/>
                <a:gd name="connsiteX14" fmla="*/ 147368 w 160020"/>
                <a:gd name="connsiteY14" fmla="*/ 174532 h 208026"/>
                <a:gd name="connsiteX15" fmla="*/ 158530 w 160020"/>
                <a:gd name="connsiteY15" fmla="*/ 172672 h 208026"/>
                <a:gd name="connsiteX16" fmla="*/ 160020 w 160020"/>
                <a:gd name="connsiteY16" fmla="*/ 168021 h 208026"/>
                <a:gd name="connsiteX17" fmla="*/ 160020 w 160020"/>
                <a:gd name="connsiteY17" fmla="*/ 16002 h 208026"/>
                <a:gd name="connsiteX18" fmla="*/ 144018 w 160020"/>
                <a:gd name="connsiteY18" fmla="*/ 0 h 208026"/>
                <a:gd name="connsiteX19" fmla="*/ 112014 w 160020"/>
                <a:gd name="connsiteY19" fmla="*/ 184483 h 208026"/>
                <a:gd name="connsiteX20" fmla="*/ 68649 w 160020"/>
                <a:gd name="connsiteY20" fmla="*/ 153479 h 208026"/>
                <a:gd name="connsiteX21" fmla="*/ 59347 w 160020"/>
                <a:gd name="connsiteY21" fmla="*/ 153479 h 208026"/>
                <a:gd name="connsiteX22" fmla="*/ 16002 w 160020"/>
                <a:gd name="connsiteY22" fmla="*/ 184473 h 208026"/>
                <a:gd name="connsiteX23" fmla="*/ 16002 w 160020"/>
                <a:gd name="connsiteY23" fmla="*/ 48006 h 208026"/>
                <a:gd name="connsiteX24" fmla="*/ 112014 w 160020"/>
                <a:gd name="connsiteY24" fmla="*/ 48006 h 208026"/>
                <a:gd name="connsiteX25" fmla="*/ 144018 w 160020"/>
                <a:gd name="connsiteY25" fmla="*/ 152479 h 208026"/>
                <a:gd name="connsiteX26" fmla="*/ 128016 w 160020"/>
                <a:gd name="connsiteY26" fmla="*/ 141018 h 208026"/>
                <a:gd name="connsiteX27" fmla="*/ 128016 w 160020"/>
                <a:gd name="connsiteY27" fmla="*/ 48006 h 208026"/>
                <a:gd name="connsiteX28" fmla="*/ 112014 w 160020"/>
                <a:gd name="connsiteY28" fmla="*/ 32004 h 208026"/>
                <a:gd name="connsiteX29" fmla="*/ 48006 w 160020"/>
                <a:gd name="connsiteY29" fmla="*/ 32004 h 208026"/>
                <a:gd name="connsiteX30" fmla="*/ 48006 w 160020"/>
                <a:gd name="connsiteY30" fmla="*/ 16002 h 208026"/>
                <a:gd name="connsiteX31" fmla="*/ 144018 w 160020"/>
                <a:gd name="connsiteY31" fmla="*/ 16002 h 20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0020" h="208026">
                  <a:moveTo>
                    <a:pt x="144018" y="0"/>
                  </a:moveTo>
                  <a:lnTo>
                    <a:pt x="48006" y="0"/>
                  </a:lnTo>
                  <a:cubicBezTo>
                    <a:pt x="39168" y="0"/>
                    <a:pt x="32004" y="7164"/>
                    <a:pt x="32004" y="16002"/>
                  </a:cubicBezTo>
                  <a:lnTo>
                    <a:pt x="32004" y="32004"/>
                  </a:lnTo>
                  <a:lnTo>
                    <a:pt x="16002" y="32004"/>
                  </a:lnTo>
                  <a:cubicBezTo>
                    <a:pt x="7164" y="32004"/>
                    <a:pt x="0" y="39168"/>
                    <a:pt x="0" y="48006"/>
                  </a:cubicBezTo>
                  <a:lnTo>
                    <a:pt x="0" y="200025"/>
                  </a:lnTo>
                  <a:cubicBezTo>
                    <a:pt x="0" y="204444"/>
                    <a:pt x="3582" y="208026"/>
                    <a:pt x="8001" y="208026"/>
                  </a:cubicBezTo>
                  <a:cubicBezTo>
                    <a:pt x="9669" y="208026"/>
                    <a:pt x="11295" y="207505"/>
                    <a:pt x="12652" y="206536"/>
                  </a:cubicBezTo>
                  <a:lnTo>
                    <a:pt x="64008" y="169851"/>
                  </a:lnTo>
                  <a:lnTo>
                    <a:pt x="115374" y="206536"/>
                  </a:lnTo>
                  <a:cubicBezTo>
                    <a:pt x="118974" y="209099"/>
                    <a:pt x="123969" y="208258"/>
                    <a:pt x="126533" y="204659"/>
                  </a:cubicBezTo>
                  <a:cubicBezTo>
                    <a:pt x="127496" y="203305"/>
                    <a:pt x="128015" y="201686"/>
                    <a:pt x="128016" y="200025"/>
                  </a:cubicBezTo>
                  <a:lnTo>
                    <a:pt x="128016" y="160710"/>
                  </a:lnTo>
                  <a:lnTo>
                    <a:pt x="147368" y="174532"/>
                  </a:lnTo>
                  <a:cubicBezTo>
                    <a:pt x="150964" y="177100"/>
                    <a:pt x="155962" y="176267"/>
                    <a:pt x="158530" y="172672"/>
                  </a:cubicBezTo>
                  <a:cubicBezTo>
                    <a:pt x="159499" y="171314"/>
                    <a:pt x="160020" y="169688"/>
                    <a:pt x="160020" y="168021"/>
                  </a:cubicBezTo>
                  <a:lnTo>
                    <a:pt x="160020" y="16002"/>
                  </a:lnTo>
                  <a:cubicBezTo>
                    <a:pt x="160020" y="7164"/>
                    <a:pt x="152856" y="0"/>
                    <a:pt x="144018" y="0"/>
                  </a:cubicBezTo>
                  <a:close/>
                  <a:moveTo>
                    <a:pt x="112014" y="184483"/>
                  </a:moveTo>
                  <a:lnTo>
                    <a:pt x="68649" y="153479"/>
                  </a:lnTo>
                  <a:cubicBezTo>
                    <a:pt x="65866" y="151492"/>
                    <a:pt x="62130" y="151492"/>
                    <a:pt x="59347" y="153479"/>
                  </a:cubicBezTo>
                  <a:lnTo>
                    <a:pt x="16002" y="184473"/>
                  </a:lnTo>
                  <a:lnTo>
                    <a:pt x="16002" y="48006"/>
                  </a:lnTo>
                  <a:lnTo>
                    <a:pt x="112014" y="48006"/>
                  </a:lnTo>
                  <a:close/>
                  <a:moveTo>
                    <a:pt x="144018" y="152479"/>
                  </a:moveTo>
                  <a:lnTo>
                    <a:pt x="128016" y="141018"/>
                  </a:lnTo>
                  <a:lnTo>
                    <a:pt x="128016" y="48006"/>
                  </a:lnTo>
                  <a:cubicBezTo>
                    <a:pt x="128016" y="39168"/>
                    <a:pt x="120852" y="32004"/>
                    <a:pt x="112014" y="32004"/>
                  </a:cubicBezTo>
                  <a:lnTo>
                    <a:pt x="48006" y="32004"/>
                  </a:lnTo>
                  <a:lnTo>
                    <a:pt x="48006" y="16002"/>
                  </a:lnTo>
                  <a:lnTo>
                    <a:pt x="144018" y="16002"/>
                  </a:lnTo>
                  <a:close/>
                </a:path>
              </a:pathLst>
            </a:custGeom>
            <a:solidFill>
              <a:schemeClr val="bg1">
                <a:lumMod val="85000"/>
              </a:schemeClr>
            </a:solidFill>
            <a:ln w="967" cap="flat">
              <a:noFill/>
              <a:prstDash val="solid"/>
              <a:miter/>
            </a:ln>
          </p:spPr>
          <p:txBody>
            <a:bodyPr rtlCol="0" anchor="ctr"/>
            <a:lstStyle/>
            <a:p>
              <a:endParaRPr lang="en-IN"/>
            </a:p>
          </p:txBody>
        </p:sp>
      </p:grpSp>
      <p:grpSp>
        <p:nvGrpSpPr>
          <p:cNvPr id="35" name="Group 34">
            <a:extLst>
              <a:ext uri="{FF2B5EF4-FFF2-40B4-BE49-F238E27FC236}">
                <a16:creationId xmlns:a16="http://schemas.microsoft.com/office/drawing/2014/main" id="{575E6510-4537-DEB2-0435-D26800AC101A}"/>
              </a:ext>
            </a:extLst>
          </p:cNvPr>
          <p:cNvGrpSpPr/>
          <p:nvPr/>
        </p:nvGrpSpPr>
        <p:grpSpPr>
          <a:xfrm>
            <a:off x="8888691" y="3734751"/>
            <a:ext cx="507586" cy="507586"/>
            <a:chOff x="8805470" y="3758569"/>
            <a:chExt cx="507586" cy="507586"/>
          </a:xfrm>
        </p:grpSpPr>
        <p:sp useBgFill="1">
          <p:nvSpPr>
            <p:cNvPr id="27" name="Oval 26">
              <a:extLst>
                <a:ext uri="{FF2B5EF4-FFF2-40B4-BE49-F238E27FC236}">
                  <a16:creationId xmlns:a16="http://schemas.microsoft.com/office/drawing/2014/main" id="{C95012BE-D079-A6D2-02F3-E3F74E1F4FE4}"/>
                </a:ext>
              </a:extLst>
            </p:cNvPr>
            <p:cNvSpPr/>
            <p:nvPr/>
          </p:nvSpPr>
          <p:spPr>
            <a:xfrm>
              <a:off x="8805470" y="375856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0" name="Graphic 29">
              <a:extLst>
                <a:ext uri="{FF2B5EF4-FFF2-40B4-BE49-F238E27FC236}">
                  <a16:creationId xmlns:a16="http://schemas.microsoft.com/office/drawing/2014/main" id="{ABCE21F6-614D-16B0-F38D-FD99F79E17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937697" y="3905096"/>
              <a:ext cx="256032" cy="256032"/>
            </a:xfrm>
            <a:prstGeom prst="rect">
              <a:avLst/>
            </a:prstGeom>
          </p:spPr>
        </p:pic>
      </p:grpSp>
      <p:grpSp>
        <p:nvGrpSpPr>
          <p:cNvPr id="43" name="Group 42">
            <a:extLst>
              <a:ext uri="{FF2B5EF4-FFF2-40B4-BE49-F238E27FC236}">
                <a16:creationId xmlns:a16="http://schemas.microsoft.com/office/drawing/2014/main" id="{206DE181-93B3-B036-0585-8A22ECB5B29E}"/>
              </a:ext>
            </a:extLst>
          </p:cNvPr>
          <p:cNvGrpSpPr/>
          <p:nvPr/>
        </p:nvGrpSpPr>
        <p:grpSpPr>
          <a:xfrm>
            <a:off x="6623584" y="2878096"/>
            <a:ext cx="507586" cy="507586"/>
            <a:chOff x="1985951" y="1841307"/>
            <a:chExt cx="507586" cy="507586"/>
          </a:xfrm>
        </p:grpSpPr>
        <p:sp useBgFill="1">
          <p:nvSpPr>
            <p:cNvPr id="44" name="Oval 43">
              <a:extLst>
                <a:ext uri="{FF2B5EF4-FFF2-40B4-BE49-F238E27FC236}">
                  <a16:creationId xmlns:a16="http://schemas.microsoft.com/office/drawing/2014/main" id="{34EACD44-6D45-C1DE-BF30-275C49EC801B}"/>
                </a:ext>
              </a:extLst>
            </p:cNvPr>
            <p:cNvSpPr/>
            <p:nvPr/>
          </p:nvSpPr>
          <p:spPr>
            <a:xfrm>
              <a:off x="1985951" y="184130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5" name="Graphic 44">
              <a:extLst>
                <a:ext uri="{FF2B5EF4-FFF2-40B4-BE49-F238E27FC236}">
                  <a16:creationId xmlns:a16="http://schemas.microsoft.com/office/drawing/2014/main" id="{5364F4D8-5132-B646-CDFB-BD4C64BE827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111728" y="1967084"/>
              <a:ext cx="256032" cy="256032"/>
            </a:xfrm>
            <a:prstGeom prst="rect">
              <a:avLst/>
            </a:prstGeom>
          </p:spPr>
        </p:pic>
      </p:grpSp>
      <p:grpSp>
        <p:nvGrpSpPr>
          <p:cNvPr id="46" name="Group 45">
            <a:extLst>
              <a:ext uri="{FF2B5EF4-FFF2-40B4-BE49-F238E27FC236}">
                <a16:creationId xmlns:a16="http://schemas.microsoft.com/office/drawing/2014/main" id="{24102F90-C447-422A-4B71-68DCE511D0DE}"/>
              </a:ext>
            </a:extLst>
          </p:cNvPr>
          <p:cNvGrpSpPr/>
          <p:nvPr/>
        </p:nvGrpSpPr>
        <p:grpSpPr>
          <a:xfrm>
            <a:off x="8781232" y="1966467"/>
            <a:ext cx="507586" cy="507586"/>
            <a:chOff x="3886094" y="1867721"/>
            <a:chExt cx="507586" cy="507586"/>
          </a:xfrm>
        </p:grpSpPr>
        <p:sp useBgFill="1">
          <p:nvSpPr>
            <p:cNvPr id="47" name="Oval 46">
              <a:extLst>
                <a:ext uri="{FF2B5EF4-FFF2-40B4-BE49-F238E27FC236}">
                  <a16:creationId xmlns:a16="http://schemas.microsoft.com/office/drawing/2014/main" id="{1D5B397E-6BF0-2F1D-9CFD-62B166BB3F90}"/>
                </a:ext>
              </a:extLst>
            </p:cNvPr>
            <p:cNvSpPr/>
            <p:nvPr/>
          </p:nvSpPr>
          <p:spPr>
            <a:xfrm>
              <a:off x="3886094" y="1867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8" name="Graphic 47">
              <a:extLst>
                <a:ext uri="{FF2B5EF4-FFF2-40B4-BE49-F238E27FC236}">
                  <a16:creationId xmlns:a16="http://schemas.microsoft.com/office/drawing/2014/main" id="{FDB6EB8E-E85E-62F8-3930-D70A41BDBD1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011871" y="1969676"/>
              <a:ext cx="256032" cy="256032"/>
            </a:xfrm>
            <a:prstGeom prst="rect">
              <a:avLst/>
            </a:prstGeom>
          </p:spPr>
        </p:pic>
      </p:grpSp>
      <p:grpSp>
        <p:nvGrpSpPr>
          <p:cNvPr id="49" name="Group 48">
            <a:extLst>
              <a:ext uri="{FF2B5EF4-FFF2-40B4-BE49-F238E27FC236}">
                <a16:creationId xmlns:a16="http://schemas.microsoft.com/office/drawing/2014/main" id="{873B7D12-C01B-AD9C-C2C5-5454514A3A17}"/>
              </a:ext>
            </a:extLst>
          </p:cNvPr>
          <p:cNvGrpSpPr/>
          <p:nvPr/>
        </p:nvGrpSpPr>
        <p:grpSpPr>
          <a:xfrm>
            <a:off x="7917092" y="4079527"/>
            <a:ext cx="507586" cy="507586"/>
            <a:chOff x="6835197" y="4535801"/>
            <a:chExt cx="507586" cy="507586"/>
          </a:xfrm>
        </p:grpSpPr>
        <p:sp useBgFill="1">
          <p:nvSpPr>
            <p:cNvPr id="50" name="Oval 49">
              <a:extLst>
                <a:ext uri="{FF2B5EF4-FFF2-40B4-BE49-F238E27FC236}">
                  <a16:creationId xmlns:a16="http://schemas.microsoft.com/office/drawing/2014/main" id="{118C8637-54CD-5010-62EC-47FF1A75C565}"/>
                </a:ext>
              </a:extLst>
            </p:cNvPr>
            <p:cNvSpPr/>
            <p:nvPr/>
          </p:nvSpPr>
          <p:spPr>
            <a:xfrm>
              <a:off x="6835197" y="453580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3" name="Graphic 52">
              <a:extLst>
                <a:ext uri="{FF2B5EF4-FFF2-40B4-BE49-F238E27FC236}">
                  <a16:creationId xmlns:a16="http://schemas.microsoft.com/office/drawing/2014/main" id="{9EF7AEC4-B4D2-1C6A-20FF-72CD63D77DB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964217" y="4667369"/>
              <a:ext cx="256032" cy="256032"/>
            </a:xfrm>
            <a:prstGeom prst="rect">
              <a:avLst/>
            </a:prstGeom>
          </p:spPr>
        </p:pic>
      </p:grpSp>
    </p:spTree>
    <p:extLst>
      <p:ext uri="{BB962C8B-B14F-4D97-AF65-F5344CB8AC3E}">
        <p14:creationId xmlns:p14="http://schemas.microsoft.com/office/powerpoint/2010/main" val="41175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25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800"/>
                                        <p:tgtEl>
                                          <p:spTgt spid="21"/>
                                        </p:tgtEl>
                                      </p:cBhvr>
                                    </p:animEffect>
                                  </p:childTnLst>
                                </p:cTn>
                              </p:par>
                              <p:par>
                                <p:cTn id="8" presetID="42" presetClass="path" presetSubtype="0" decel="100000" fill="hold" grpId="1" nodeType="withEffect">
                                  <p:stCondLst>
                                    <p:cond delay="250"/>
                                  </p:stCondLst>
                                  <p:childTnLst>
                                    <p:animMotion origin="layout" path="M -3.125E-6 -3.7037E-6 L -3.125E-6 0.11389 " pathEditMode="relative" rAng="0" ptsTypes="AA">
                                      <p:cBhvr>
                                        <p:cTn id="9" dur="1250" spd="-100000" fill="hold"/>
                                        <p:tgtEl>
                                          <p:spTgt spid="21"/>
                                        </p:tgtEl>
                                        <p:attrNameLst>
                                          <p:attrName>ppt_x</p:attrName>
                                          <p:attrName>ppt_y</p:attrName>
                                        </p:attrNameLst>
                                      </p:cBhvr>
                                      <p:rCtr x="0" y="5694"/>
                                    </p:animMotion>
                                  </p:childTnLst>
                                </p:cTn>
                              </p:par>
                              <p:par>
                                <p:cTn id="10" presetID="22" presetClass="entr" presetSubtype="1" fill="hold" grpId="0" nodeType="withEffect">
                                  <p:stCondLst>
                                    <p:cond delay="500"/>
                                  </p:stCondLst>
                                  <p:childTnLst>
                                    <p:set>
                                      <p:cBhvr>
                                        <p:cTn id="11" dur="1" fill="hold">
                                          <p:stCondLst>
                                            <p:cond delay="0"/>
                                          </p:stCondLst>
                                        </p:cTn>
                                        <p:tgtEl>
                                          <p:spTgt spid="20"/>
                                        </p:tgtEl>
                                        <p:attrNameLst>
                                          <p:attrName>style.visibility</p:attrName>
                                        </p:attrNameLst>
                                      </p:cBhvr>
                                      <p:to>
                                        <p:strVal val="visible"/>
                                      </p:to>
                                    </p:set>
                                    <p:animEffect transition="in" filter="wipe(up)">
                                      <p:cBhvr>
                                        <p:cTn id="12" dur="800"/>
                                        <p:tgtEl>
                                          <p:spTgt spid="20"/>
                                        </p:tgtEl>
                                      </p:cBhvr>
                                    </p:animEffect>
                                  </p:childTnLst>
                                </p:cTn>
                              </p:par>
                              <p:par>
                                <p:cTn id="13" presetID="42" presetClass="path" presetSubtype="0" decel="100000" fill="hold" grpId="1" nodeType="withEffect">
                                  <p:stCondLst>
                                    <p:cond delay="500"/>
                                  </p:stCondLst>
                                  <p:childTnLst>
                                    <p:animMotion origin="layout" path="M 3.125E-6 3.7037E-6 L 3.125E-6 0.11389 " pathEditMode="relative" rAng="0" ptsTypes="AA">
                                      <p:cBhvr>
                                        <p:cTn id="14" dur="1250" spd="-100000" fill="hold"/>
                                        <p:tgtEl>
                                          <p:spTgt spid="20"/>
                                        </p:tgtEl>
                                        <p:attrNameLst>
                                          <p:attrName>ppt_x</p:attrName>
                                          <p:attrName>ppt_y</p:attrName>
                                        </p:attrNameLst>
                                      </p:cBhvr>
                                      <p:rCtr x="0" y="5694"/>
                                    </p:animMotion>
                                  </p:childTnLst>
                                </p:cTn>
                              </p:par>
                              <p:par>
                                <p:cTn id="15" presetID="22" presetClass="entr" presetSubtype="1" fill="hold" grpId="0" nodeType="withEffect">
                                  <p:stCondLst>
                                    <p:cond delay="500"/>
                                  </p:stCondLst>
                                  <p:childTnLst>
                                    <p:set>
                                      <p:cBhvr>
                                        <p:cTn id="16" dur="1" fill="hold">
                                          <p:stCondLst>
                                            <p:cond delay="0"/>
                                          </p:stCondLst>
                                        </p:cTn>
                                        <p:tgtEl>
                                          <p:spTgt spid="33"/>
                                        </p:tgtEl>
                                        <p:attrNameLst>
                                          <p:attrName>style.visibility</p:attrName>
                                        </p:attrNameLst>
                                      </p:cBhvr>
                                      <p:to>
                                        <p:strVal val="visible"/>
                                      </p:to>
                                    </p:set>
                                    <p:animEffect transition="in" filter="wipe(up)">
                                      <p:cBhvr>
                                        <p:cTn id="17" dur="800"/>
                                        <p:tgtEl>
                                          <p:spTgt spid="33"/>
                                        </p:tgtEl>
                                      </p:cBhvr>
                                    </p:animEffect>
                                  </p:childTnLst>
                                </p:cTn>
                              </p:par>
                              <p:par>
                                <p:cTn id="18" presetID="42" presetClass="path" presetSubtype="0" decel="100000" fill="hold" grpId="1" nodeType="withEffect">
                                  <p:stCondLst>
                                    <p:cond delay="500"/>
                                  </p:stCondLst>
                                  <p:childTnLst>
                                    <p:animMotion origin="layout" path="M 1.45833E-6 4.81481E-6 L 1.45833E-6 0.11388 " pathEditMode="relative" rAng="0" ptsTypes="AA">
                                      <p:cBhvr>
                                        <p:cTn id="19" dur="1250" spd="-100000" fill="hold"/>
                                        <p:tgtEl>
                                          <p:spTgt spid="33"/>
                                        </p:tgtEl>
                                        <p:attrNameLst>
                                          <p:attrName>ppt_x</p:attrName>
                                          <p:attrName>ppt_y</p:attrName>
                                        </p:attrNameLst>
                                      </p:cBhvr>
                                      <p:rCtr x="0" y="5694"/>
                                    </p:animMotion>
                                  </p:childTnLst>
                                </p:cTn>
                              </p:par>
                              <p:par>
                                <p:cTn id="20" presetID="53" presetClass="entr" presetSubtype="16" fill="hold" grpId="0" nodeType="withEffect">
                                  <p:stCondLst>
                                    <p:cond delay="800"/>
                                  </p:stCondLst>
                                  <p:childTnLst>
                                    <p:set>
                                      <p:cBhvr>
                                        <p:cTn id="21" dur="1" fill="hold">
                                          <p:stCondLst>
                                            <p:cond delay="0"/>
                                          </p:stCondLst>
                                        </p:cTn>
                                        <p:tgtEl>
                                          <p:spTgt spid="92"/>
                                        </p:tgtEl>
                                        <p:attrNameLst>
                                          <p:attrName>style.visibility</p:attrName>
                                        </p:attrNameLst>
                                      </p:cBhvr>
                                      <p:to>
                                        <p:strVal val="visible"/>
                                      </p:to>
                                    </p:set>
                                    <p:anim calcmode="lin" valueType="num">
                                      <p:cBhvr>
                                        <p:cTn id="22" dur="750" fill="hold"/>
                                        <p:tgtEl>
                                          <p:spTgt spid="92"/>
                                        </p:tgtEl>
                                        <p:attrNameLst>
                                          <p:attrName>ppt_w</p:attrName>
                                        </p:attrNameLst>
                                      </p:cBhvr>
                                      <p:tavLst>
                                        <p:tav tm="0">
                                          <p:val>
                                            <p:fltVal val="0"/>
                                          </p:val>
                                        </p:tav>
                                        <p:tav tm="100000">
                                          <p:val>
                                            <p:strVal val="#ppt_w"/>
                                          </p:val>
                                        </p:tav>
                                      </p:tavLst>
                                    </p:anim>
                                    <p:anim calcmode="lin" valueType="num">
                                      <p:cBhvr>
                                        <p:cTn id="23" dur="750" fill="hold"/>
                                        <p:tgtEl>
                                          <p:spTgt spid="92"/>
                                        </p:tgtEl>
                                        <p:attrNameLst>
                                          <p:attrName>ppt_h</p:attrName>
                                        </p:attrNameLst>
                                      </p:cBhvr>
                                      <p:tavLst>
                                        <p:tav tm="0">
                                          <p:val>
                                            <p:fltVal val="0"/>
                                          </p:val>
                                        </p:tav>
                                        <p:tav tm="100000">
                                          <p:val>
                                            <p:strVal val="#ppt_h"/>
                                          </p:val>
                                        </p:tav>
                                      </p:tavLst>
                                    </p:anim>
                                    <p:animEffect transition="in" filter="fade">
                                      <p:cBhvr>
                                        <p:cTn id="24" dur="750"/>
                                        <p:tgtEl>
                                          <p:spTgt spid="92"/>
                                        </p:tgtEl>
                                      </p:cBhvr>
                                    </p:animEffect>
                                  </p:childTnLst>
                                </p:cTn>
                              </p:par>
                              <p:par>
                                <p:cTn id="25" presetID="53" presetClass="entr" presetSubtype="16" fill="hold" grpId="0" nodeType="withEffect">
                                  <p:stCondLst>
                                    <p:cond delay="800"/>
                                  </p:stCondLst>
                                  <p:childTnLst>
                                    <p:set>
                                      <p:cBhvr>
                                        <p:cTn id="26" dur="1" fill="hold">
                                          <p:stCondLst>
                                            <p:cond delay="0"/>
                                          </p:stCondLst>
                                        </p:cTn>
                                        <p:tgtEl>
                                          <p:spTgt spid="2"/>
                                        </p:tgtEl>
                                        <p:attrNameLst>
                                          <p:attrName>style.visibility</p:attrName>
                                        </p:attrNameLst>
                                      </p:cBhvr>
                                      <p:to>
                                        <p:strVal val="visible"/>
                                      </p:to>
                                    </p:set>
                                    <p:anim calcmode="lin" valueType="num">
                                      <p:cBhvr>
                                        <p:cTn id="27" dur="750" fill="hold"/>
                                        <p:tgtEl>
                                          <p:spTgt spid="2"/>
                                        </p:tgtEl>
                                        <p:attrNameLst>
                                          <p:attrName>ppt_w</p:attrName>
                                        </p:attrNameLst>
                                      </p:cBhvr>
                                      <p:tavLst>
                                        <p:tav tm="0">
                                          <p:val>
                                            <p:fltVal val="0"/>
                                          </p:val>
                                        </p:tav>
                                        <p:tav tm="100000">
                                          <p:val>
                                            <p:strVal val="#ppt_w"/>
                                          </p:val>
                                        </p:tav>
                                      </p:tavLst>
                                    </p:anim>
                                    <p:anim calcmode="lin" valueType="num">
                                      <p:cBhvr>
                                        <p:cTn id="28" dur="750" fill="hold"/>
                                        <p:tgtEl>
                                          <p:spTgt spid="2"/>
                                        </p:tgtEl>
                                        <p:attrNameLst>
                                          <p:attrName>ppt_h</p:attrName>
                                        </p:attrNameLst>
                                      </p:cBhvr>
                                      <p:tavLst>
                                        <p:tav tm="0">
                                          <p:val>
                                            <p:fltVal val="0"/>
                                          </p:val>
                                        </p:tav>
                                        <p:tav tm="100000">
                                          <p:val>
                                            <p:strVal val="#ppt_h"/>
                                          </p:val>
                                        </p:tav>
                                      </p:tavLst>
                                    </p:anim>
                                    <p:animEffect transition="in" filter="fade">
                                      <p:cBhvr>
                                        <p:cTn id="29" dur="750"/>
                                        <p:tgtEl>
                                          <p:spTgt spid="2"/>
                                        </p:tgtEl>
                                      </p:cBhvr>
                                    </p:animEffect>
                                  </p:childTnLst>
                                </p:cTn>
                              </p:par>
                              <p:par>
                                <p:cTn id="30" presetID="53" presetClass="entr" presetSubtype="16" fill="hold" grpId="0" nodeType="withEffect">
                                  <p:stCondLst>
                                    <p:cond delay="800"/>
                                  </p:stCondLst>
                                  <p:childTnLst>
                                    <p:set>
                                      <p:cBhvr>
                                        <p:cTn id="31" dur="1" fill="hold">
                                          <p:stCondLst>
                                            <p:cond delay="0"/>
                                          </p:stCondLst>
                                        </p:cTn>
                                        <p:tgtEl>
                                          <p:spTgt spid="4"/>
                                        </p:tgtEl>
                                        <p:attrNameLst>
                                          <p:attrName>style.visibility</p:attrName>
                                        </p:attrNameLst>
                                      </p:cBhvr>
                                      <p:to>
                                        <p:strVal val="visible"/>
                                      </p:to>
                                    </p:set>
                                    <p:anim calcmode="lin" valueType="num">
                                      <p:cBhvr>
                                        <p:cTn id="32" dur="750" fill="hold"/>
                                        <p:tgtEl>
                                          <p:spTgt spid="4"/>
                                        </p:tgtEl>
                                        <p:attrNameLst>
                                          <p:attrName>ppt_w</p:attrName>
                                        </p:attrNameLst>
                                      </p:cBhvr>
                                      <p:tavLst>
                                        <p:tav tm="0">
                                          <p:val>
                                            <p:fltVal val="0"/>
                                          </p:val>
                                        </p:tav>
                                        <p:tav tm="100000">
                                          <p:val>
                                            <p:strVal val="#ppt_w"/>
                                          </p:val>
                                        </p:tav>
                                      </p:tavLst>
                                    </p:anim>
                                    <p:anim calcmode="lin" valueType="num">
                                      <p:cBhvr>
                                        <p:cTn id="33" dur="750" fill="hold"/>
                                        <p:tgtEl>
                                          <p:spTgt spid="4"/>
                                        </p:tgtEl>
                                        <p:attrNameLst>
                                          <p:attrName>ppt_h</p:attrName>
                                        </p:attrNameLst>
                                      </p:cBhvr>
                                      <p:tavLst>
                                        <p:tav tm="0">
                                          <p:val>
                                            <p:fltVal val="0"/>
                                          </p:val>
                                        </p:tav>
                                        <p:tav tm="100000">
                                          <p:val>
                                            <p:strVal val="#ppt_h"/>
                                          </p:val>
                                        </p:tav>
                                      </p:tavLst>
                                    </p:anim>
                                    <p:animEffect transition="in" filter="fade">
                                      <p:cBhvr>
                                        <p:cTn id="34" dur="750"/>
                                        <p:tgtEl>
                                          <p:spTgt spid="4"/>
                                        </p:tgtEl>
                                      </p:cBhvr>
                                    </p:animEffect>
                                  </p:childTnLst>
                                </p:cTn>
                              </p:par>
                              <p:par>
                                <p:cTn id="35" presetID="53" presetClass="entr" presetSubtype="16" fill="hold" grpId="0" nodeType="withEffect">
                                  <p:stCondLst>
                                    <p:cond delay="800"/>
                                  </p:stCondLst>
                                  <p:childTnLst>
                                    <p:set>
                                      <p:cBhvr>
                                        <p:cTn id="36" dur="1" fill="hold">
                                          <p:stCondLst>
                                            <p:cond delay="0"/>
                                          </p:stCondLst>
                                        </p:cTn>
                                        <p:tgtEl>
                                          <p:spTgt spid="3"/>
                                        </p:tgtEl>
                                        <p:attrNameLst>
                                          <p:attrName>style.visibility</p:attrName>
                                        </p:attrNameLst>
                                      </p:cBhvr>
                                      <p:to>
                                        <p:strVal val="visible"/>
                                      </p:to>
                                    </p:set>
                                    <p:anim calcmode="lin" valueType="num">
                                      <p:cBhvr>
                                        <p:cTn id="37" dur="750" fill="hold"/>
                                        <p:tgtEl>
                                          <p:spTgt spid="3"/>
                                        </p:tgtEl>
                                        <p:attrNameLst>
                                          <p:attrName>ppt_w</p:attrName>
                                        </p:attrNameLst>
                                      </p:cBhvr>
                                      <p:tavLst>
                                        <p:tav tm="0">
                                          <p:val>
                                            <p:fltVal val="0"/>
                                          </p:val>
                                        </p:tav>
                                        <p:tav tm="100000">
                                          <p:val>
                                            <p:strVal val="#ppt_w"/>
                                          </p:val>
                                        </p:tav>
                                      </p:tavLst>
                                    </p:anim>
                                    <p:anim calcmode="lin" valueType="num">
                                      <p:cBhvr>
                                        <p:cTn id="38" dur="750" fill="hold"/>
                                        <p:tgtEl>
                                          <p:spTgt spid="3"/>
                                        </p:tgtEl>
                                        <p:attrNameLst>
                                          <p:attrName>ppt_h</p:attrName>
                                        </p:attrNameLst>
                                      </p:cBhvr>
                                      <p:tavLst>
                                        <p:tav tm="0">
                                          <p:val>
                                            <p:fltVal val="0"/>
                                          </p:val>
                                        </p:tav>
                                        <p:tav tm="100000">
                                          <p:val>
                                            <p:strVal val="#ppt_h"/>
                                          </p:val>
                                        </p:tav>
                                      </p:tavLst>
                                    </p:anim>
                                    <p:animEffect transition="in" filter="fade">
                                      <p:cBhvr>
                                        <p:cTn id="39" dur="750"/>
                                        <p:tgtEl>
                                          <p:spTgt spid="3"/>
                                        </p:tgtEl>
                                      </p:cBhvr>
                                    </p:animEffect>
                                  </p:childTnLst>
                                </p:cTn>
                              </p:par>
                              <p:par>
                                <p:cTn id="40" presetID="8" presetClass="emph" presetSubtype="0" decel="100000" fill="hold" grpId="1" nodeType="withEffect">
                                  <p:stCondLst>
                                    <p:cond delay="800"/>
                                  </p:stCondLst>
                                  <p:childTnLst>
                                    <p:animRot by="21600000">
                                      <p:cBhvr>
                                        <p:cTn id="41" dur="750" fill="hold"/>
                                        <p:tgtEl>
                                          <p:spTgt spid="92"/>
                                        </p:tgtEl>
                                        <p:attrNameLst>
                                          <p:attrName>r</p:attrName>
                                        </p:attrNameLst>
                                      </p:cBhvr>
                                    </p:animRot>
                                  </p:childTnLst>
                                </p:cTn>
                              </p:par>
                              <p:par>
                                <p:cTn id="42" presetID="8" presetClass="emph" presetSubtype="0" decel="100000" fill="hold" grpId="1" nodeType="withEffect">
                                  <p:stCondLst>
                                    <p:cond delay="800"/>
                                  </p:stCondLst>
                                  <p:childTnLst>
                                    <p:animRot by="21600000">
                                      <p:cBhvr>
                                        <p:cTn id="43" dur="750" fill="hold"/>
                                        <p:tgtEl>
                                          <p:spTgt spid="2"/>
                                        </p:tgtEl>
                                        <p:attrNameLst>
                                          <p:attrName>r</p:attrName>
                                        </p:attrNameLst>
                                      </p:cBhvr>
                                    </p:animRot>
                                  </p:childTnLst>
                                </p:cTn>
                              </p:par>
                              <p:par>
                                <p:cTn id="44" presetID="8" presetClass="emph" presetSubtype="0" decel="100000" fill="hold" grpId="1" nodeType="withEffect">
                                  <p:stCondLst>
                                    <p:cond delay="800"/>
                                  </p:stCondLst>
                                  <p:childTnLst>
                                    <p:animRot by="21600000">
                                      <p:cBhvr>
                                        <p:cTn id="45" dur="750" fill="hold"/>
                                        <p:tgtEl>
                                          <p:spTgt spid="4"/>
                                        </p:tgtEl>
                                        <p:attrNameLst>
                                          <p:attrName>r</p:attrName>
                                        </p:attrNameLst>
                                      </p:cBhvr>
                                    </p:animRot>
                                  </p:childTnLst>
                                </p:cTn>
                              </p:par>
                              <p:par>
                                <p:cTn id="46" presetID="8" presetClass="emph" presetSubtype="0" decel="100000" fill="hold" grpId="1" nodeType="withEffect">
                                  <p:stCondLst>
                                    <p:cond delay="800"/>
                                  </p:stCondLst>
                                  <p:childTnLst>
                                    <p:animRot by="21600000">
                                      <p:cBhvr>
                                        <p:cTn id="47" dur="750" fill="hold"/>
                                        <p:tgtEl>
                                          <p:spTgt spid="3"/>
                                        </p:tgtEl>
                                        <p:attrNameLst>
                                          <p:attrName>r</p:attrName>
                                        </p:attrNameLst>
                                      </p:cBhvr>
                                    </p:animRot>
                                  </p:childTnLst>
                                </p:cTn>
                              </p:par>
                              <p:par>
                                <p:cTn id="48" presetID="1" presetClass="entr" presetSubtype="0" fill="hold" grpId="0" nodeType="withEffect">
                                  <p:stCondLst>
                                    <p:cond delay="800"/>
                                  </p:stCondLst>
                                  <p:childTnLst>
                                    <p:set>
                                      <p:cBhvr>
                                        <p:cTn id="49" dur="1" fill="hold">
                                          <p:stCondLst>
                                            <p:cond delay="749"/>
                                          </p:stCondLst>
                                        </p:cTn>
                                        <p:tgtEl>
                                          <p:spTgt spid="91"/>
                                        </p:tgtEl>
                                        <p:attrNameLst>
                                          <p:attrName>style.visibility</p:attrName>
                                        </p:attrNameLst>
                                      </p:cBhvr>
                                      <p:to>
                                        <p:strVal val="visible"/>
                                      </p:to>
                                    </p:set>
                                  </p:childTnLst>
                                </p:cTn>
                              </p:par>
                              <p:par>
                                <p:cTn id="50" presetID="1" presetClass="entr" presetSubtype="0" fill="hold" grpId="0" nodeType="withEffect">
                                  <p:stCondLst>
                                    <p:cond delay="800"/>
                                  </p:stCondLst>
                                  <p:childTnLst>
                                    <p:set>
                                      <p:cBhvr>
                                        <p:cTn id="51" dur="1" fill="hold">
                                          <p:stCondLst>
                                            <p:cond delay="749"/>
                                          </p:stCondLst>
                                        </p:cTn>
                                        <p:tgtEl>
                                          <p:spTgt spid="90"/>
                                        </p:tgtEl>
                                        <p:attrNameLst>
                                          <p:attrName>style.visibility</p:attrName>
                                        </p:attrNameLst>
                                      </p:cBhvr>
                                      <p:to>
                                        <p:strVal val="visible"/>
                                      </p:to>
                                    </p:set>
                                  </p:childTnLst>
                                </p:cTn>
                              </p:par>
                              <p:par>
                                <p:cTn id="52" presetID="1" presetClass="entr" presetSubtype="0" fill="hold" grpId="0" nodeType="withEffect">
                                  <p:stCondLst>
                                    <p:cond delay="2250"/>
                                  </p:stCondLst>
                                  <p:childTnLst>
                                    <p:set>
                                      <p:cBhvr>
                                        <p:cTn id="53" dur="1" fill="hold">
                                          <p:stCondLst>
                                            <p:cond delay="0"/>
                                          </p:stCondLst>
                                        </p:cTn>
                                        <p:tgtEl>
                                          <p:spTgt spid="89"/>
                                        </p:tgtEl>
                                        <p:attrNameLst>
                                          <p:attrName>style.visibility</p:attrName>
                                        </p:attrNameLst>
                                      </p:cBhvr>
                                      <p:to>
                                        <p:strVal val="visible"/>
                                      </p:to>
                                    </p:set>
                                  </p:childTnLst>
                                </p:cTn>
                              </p:par>
                              <p:par>
                                <p:cTn id="54" presetID="1" presetClass="entr" presetSubtype="0" fill="hold" grpId="0" nodeType="withEffect">
                                  <p:stCondLst>
                                    <p:cond delay="800"/>
                                  </p:stCondLst>
                                  <p:childTnLst>
                                    <p:set>
                                      <p:cBhvr>
                                        <p:cTn id="55" dur="1" fill="hold">
                                          <p:stCondLst>
                                            <p:cond delay="749"/>
                                          </p:stCondLst>
                                        </p:cTn>
                                        <p:tgtEl>
                                          <p:spTgt spid="88"/>
                                        </p:tgtEl>
                                        <p:attrNameLst>
                                          <p:attrName>style.visibility</p:attrName>
                                        </p:attrNameLst>
                                      </p:cBhvr>
                                      <p:to>
                                        <p:strVal val="visible"/>
                                      </p:to>
                                    </p:set>
                                  </p:childTnLst>
                                </p:cTn>
                              </p:par>
                              <p:par>
                                <p:cTn id="56" presetID="1" presetClass="entr" presetSubtype="0" fill="hold" grpId="0" nodeType="withEffect">
                                  <p:stCondLst>
                                    <p:cond delay="800"/>
                                  </p:stCondLst>
                                  <p:childTnLst>
                                    <p:set>
                                      <p:cBhvr>
                                        <p:cTn id="57" dur="1" fill="hold">
                                          <p:stCondLst>
                                            <p:cond delay="749"/>
                                          </p:stCondLst>
                                        </p:cTn>
                                        <p:tgtEl>
                                          <p:spTgt spid="87"/>
                                        </p:tgtEl>
                                        <p:attrNameLst>
                                          <p:attrName>style.visibility</p:attrName>
                                        </p:attrNameLst>
                                      </p:cBhvr>
                                      <p:to>
                                        <p:strVal val="visible"/>
                                      </p:to>
                                    </p:set>
                                  </p:childTnLst>
                                </p:cTn>
                              </p:par>
                              <p:par>
                                <p:cTn id="58" presetID="1" presetClass="entr" presetSubtype="0" fill="hold" grpId="0" nodeType="withEffect">
                                  <p:stCondLst>
                                    <p:cond delay="800"/>
                                  </p:stCondLst>
                                  <p:childTnLst>
                                    <p:set>
                                      <p:cBhvr>
                                        <p:cTn id="59" dur="1" fill="hold">
                                          <p:stCondLst>
                                            <p:cond delay="749"/>
                                          </p:stCondLst>
                                        </p:cTn>
                                        <p:tgtEl>
                                          <p:spTgt spid="86"/>
                                        </p:tgtEl>
                                        <p:attrNameLst>
                                          <p:attrName>style.visibility</p:attrName>
                                        </p:attrNameLst>
                                      </p:cBhvr>
                                      <p:to>
                                        <p:strVal val="visible"/>
                                      </p:to>
                                    </p:set>
                                  </p:childTnLst>
                                </p:cTn>
                              </p:par>
                              <p:par>
                                <p:cTn id="60" presetID="1" presetClass="entr" presetSubtype="0" fill="hold" grpId="0" nodeType="withEffect">
                                  <p:stCondLst>
                                    <p:cond delay="800"/>
                                  </p:stCondLst>
                                  <p:childTnLst>
                                    <p:set>
                                      <p:cBhvr>
                                        <p:cTn id="61" dur="1" fill="hold">
                                          <p:stCondLst>
                                            <p:cond delay="749"/>
                                          </p:stCondLst>
                                        </p:cTn>
                                        <p:tgtEl>
                                          <p:spTgt spid="85"/>
                                        </p:tgtEl>
                                        <p:attrNameLst>
                                          <p:attrName>style.visibility</p:attrName>
                                        </p:attrNameLst>
                                      </p:cBhvr>
                                      <p:to>
                                        <p:strVal val="visible"/>
                                      </p:to>
                                    </p:set>
                                  </p:childTnLst>
                                </p:cTn>
                              </p:par>
                              <p:par>
                                <p:cTn id="62" presetID="1" presetClass="entr" presetSubtype="0" fill="hold" grpId="0" nodeType="withEffect">
                                  <p:stCondLst>
                                    <p:cond delay="800"/>
                                  </p:stCondLst>
                                  <p:childTnLst>
                                    <p:set>
                                      <p:cBhvr>
                                        <p:cTn id="63" dur="1" fill="hold">
                                          <p:stCondLst>
                                            <p:cond delay="749"/>
                                          </p:stCondLst>
                                        </p:cTn>
                                        <p:tgtEl>
                                          <p:spTgt spid="84"/>
                                        </p:tgtEl>
                                        <p:attrNameLst>
                                          <p:attrName>style.visibility</p:attrName>
                                        </p:attrNameLst>
                                      </p:cBhvr>
                                      <p:to>
                                        <p:strVal val="visible"/>
                                      </p:to>
                                    </p:set>
                                  </p:childTnLst>
                                </p:cTn>
                              </p:par>
                              <p:par>
                                <p:cTn id="64" presetID="53" presetClass="entr" presetSubtype="16" fill="hold" nodeType="withEffect">
                                  <p:stCondLst>
                                    <p:cond delay="800"/>
                                  </p:stCondLst>
                                  <p:childTnLst>
                                    <p:set>
                                      <p:cBhvr>
                                        <p:cTn id="65" dur="1" fill="hold">
                                          <p:stCondLst>
                                            <p:cond delay="0"/>
                                          </p:stCondLst>
                                        </p:cTn>
                                        <p:tgtEl>
                                          <p:spTgt spid="10"/>
                                        </p:tgtEl>
                                        <p:attrNameLst>
                                          <p:attrName>style.visibility</p:attrName>
                                        </p:attrNameLst>
                                      </p:cBhvr>
                                      <p:to>
                                        <p:strVal val="visible"/>
                                      </p:to>
                                    </p:set>
                                    <p:anim calcmode="lin" valueType="num">
                                      <p:cBhvr>
                                        <p:cTn id="66" dur="750" fill="hold"/>
                                        <p:tgtEl>
                                          <p:spTgt spid="10"/>
                                        </p:tgtEl>
                                        <p:attrNameLst>
                                          <p:attrName>ppt_w</p:attrName>
                                        </p:attrNameLst>
                                      </p:cBhvr>
                                      <p:tavLst>
                                        <p:tav tm="0">
                                          <p:val>
                                            <p:fltVal val="0"/>
                                          </p:val>
                                        </p:tav>
                                        <p:tav tm="100000">
                                          <p:val>
                                            <p:strVal val="#ppt_w"/>
                                          </p:val>
                                        </p:tav>
                                      </p:tavLst>
                                    </p:anim>
                                    <p:anim calcmode="lin" valueType="num">
                                      <p:cBhvr>
                                        <p:cTn id="67" dur="750" fill="hold"/>
                                        <p:tgtEl>
                                          <p:spTgt spid="10"/>
                                        </p:tgtEl>
                                        <p:attrNameLst>
                                          <p:attrName>ppt_h</p:attrName>
                                        </p:attrNameLst>
                                      </p:cBhvr>
                                      <p:tavLst>
                                        <p:tav tm="0">
                                          <p:val>
                                            <p:fltVal val="0"/>
                                          </p:val>
                                        </p:tav>
                                        <p:tav tm="100000">
                                          <p:val>
                                            <p:strVal val="#ppt_h"/>
                                          </p:val>
                                        </p:tav>
                                      </p:tavLst>
                                    </p:anim>
                                    <p:animEffect transition="in" filter="fade">
                                      <p:cBhvr>
                                        <p:cTn id="68" dur="750"/>
                                        <p:tgtEl>
                                          <p:spTgt spid="10"/>
                                        </p:tgtEl>
                                      </p:cBhvr>
                                    </p:animEffect>
                                  </p:childTnLst>
                                </p:cTn>
                              </p:par>
                              <p:par>
                                <p:cTn id="69" presetID="8" presetClass="emph" presetSubtype="0" fill="hold" nodeType="withEffect">
                                  <p:stCondLst>
                                    <p:cond delay="800"/>
                                  </p:stCondLst>
                                  <p:childTnLst>
                                    <p:animRot by="21600000">
                                      <p:cBhvr>
                                        <p:cTn id="70" dur="750" fill="hold"/>
                                        <p:tgtEl>
                                          <p:spTgt spid="10"/>
                                        </p:tgtEl>
                                        <p:attrNameLst>
                                          <p:attrName>r</p:attrName>
                                        </p:attrNameLst>
                                      </p:cBhvr>
                                    </p:animRot>
                                  </p:childTnLst>
                                </p:cTn>
                              </p:par>
                              <p:par>
                                <p:cTn id="71" presetID="53" presetClass="entr" presetSubtype="16" fill="hold" nodeType="withEffect">
                                  <p:stCondLst>
                                    <p:cond delay="800"/>
                                  </p:stCondLst>
                                  <p:childTnLst>
                                    <p:set>
                                      <p:cBhvr>
                                        <p:cTn id="72" dur="1" fill="hold">
                                          <p:stCondLst>
                                            <p:cond delay="0"/>
                                          </p:stCondLst>
                                        </p:cTn>
                                        <p:tgtEl>
                                          <p:spTgt spid="13"/>
                                        </p:tgtEl>
                                        <p:attrNameLst>
                                          <p:attrName>style.visibility</p:attrName>
                                        </p:attrNameLst>
                                      </p:cBhvr>
                                      <p:to>
                                        <p:strVal val="visible"/>
                                      </p:to>
                                    </p:set>
                                    <p:anim calcmode="lin" valueType="num">
                                      <p:cBhvr>
                                        <p:cTn id="73" dur="750" fill="hold"/>
                                        <p:tgtEl>
                                          <p:spTgt spid="13"/>
                                        </p:tgtEl>
                                        <p:attrNameLst>
                                          <p:attrName>ppt_w</p:attrName>
                                        </p:attrNameLst>
                                      </p:cBhvr>
                                      <p:tavLst>
                                        <p:tav tm="0">
                                          <p:val>
                                            <p:fltVal val="0"/>
                                          </p:val>
                                        </p:tav>
                                        <p:tav tm="100000">
                                          <p:val>
                                            <p:strVal val="#ppt_w"/>
                                          </p:val>
                                        </p:tav>
                                      </p:tavLst>
                                    </p:anim>
                                    <p:anim calcmode="lin" valueType="num">
                                      <p:cBhvr>
                                        <p:cTn id="74" dur="750" fill="hold"/>
                                        <p:tgtEl>
                                          <p:spTgt spid="13"/>
                                        </p:tgtEl>
                                        <p:attrNameLst>
                                          <p:attrName>ppt_h</p:attrName>
                                        </p:attrNameLst>
                                      </p:cBhvr>
                                      <p:tavLst>
                                        <p:tav tm="0">
                                          <p:val>
                                            <p:fltVal val="0"/>
                                          </p:val>
                                        </p:tav>
                                        <p:tav tm="100000">
                                          <p:val>
                                            <p:strVal val="#ppt_h"/>
                                          </p:val>
                                        </p:tav>
                                      </p:tavLst>
                                    </p:anim>
                                    <p:animEffect transition="in" filter="fade">
                                      <p:cBhvr>
                                        <p:cTn id="75" dur="750"/>
                                        <p:tgtEl>
                                          <p:spTgt spid="13"/>
                                        </p:tgtEl>
                                      </p:cBhvr>
                                    </p:animEffect>
                                  </p:childTnLst>
                                </p:cTn>
                              </p:par>
                              <p:par>
                                <p:cTn id="76" presetID="8" presetClass="emph" presetSubtype="0" fill="hold" nodeType="withEffect">
                                  <p:stCondLst>
                                    <p:cond delay="800"/>
                                  </p:stCondLst>
                                  <p:childTnLst>
                                    <p:animRot by="21600000">
                                      <p:cBhvr>
                                        <p:cTn id="77" dur="750" fill="hold"/>
                                        <p:tgtEl>
                                          <p:spTgt spid="13"/>
                                        </p:tgtEl>
                                        <p:attrNameLst>
                                          <p:attrName>r</p:attrName>
                                        </p:attrNameLst>
                                      </p:cBhvr>
                                    </p:animRot>
                                  </p:childTnLst>
                                </p:cTn>
                              </p:par>
                              <p:par>
                                <p:cTn id="78" presetID="53" presetClass="entr" presetSubtype="16" fill="hold" nodeType="withEffect">
                                  <p:stCondLst>
                                    <p:cond delay="800"/>
                                  </p:stCondLst>
                                  <p:childTnLst>
                                    <p:set>
                                      <p:cBhvr>
                                        <p:cTn id="79" dur="1" fill="hold">
                                          <p:stCondLst>
                                            <p:cond delay="0"/>
                                          </p:stCondLst>
                                        </p:cTn>
                                        <p:tgtEl>
                                          <p:spTgt spid="14"/>
                                        </p:tgtEl>
                                        <p:attrNameLst>
                                          <p:attrName>style.visibility</p:attrName>
                                        </p:attrNameLst>
                                      </p:cBhvr>
                                      <p:to>
                                        <p:strVal val="visible"/>
                                      </p:to>
                                    </p:set>
                                    <p:anim calcmode="lin" valueType="num">
                                      <p:cBhvr>
                                        <p:cTn id="80" dur="750" fill="hold"/>
                                        <p:tgtEl>
                                          <p:spTgt spid="14"/>
                                        </p:tgtEl>
                                        <p:attrNameLst>
                                          <p:attrName>ppt_w</p:attrName>
                                        </p:attrNameLst>
                                      </p:cBhvr>
                                      <p:tavLst>
                                        <p:tav tm="0">
                                          <p:val>
                                            <p:fltVal val="0"/>
                                          </p:val>
                                        </p:tav>
                                        <p:tav tm="100000">
                                          <p:val>
                                            <p:strVal val="#ppt_w"/>
                                          </p:val>
                                        </p:tav>
                                      </p:tavLst>
                                    </p:anim>
                                    <p:anim calcmode="lin" valueType="num">
                                      <p:cBhvr>
                                        <p:cTn id="81" dur="750" fill="hold"/>
                                        <p:tgtEl>
                                          <p:spTgt spid="14"/>
                                        </p:tgtEl>
                                        <p:attrNameLst>
                                          <p:attrName>ppt_h</p:attrName>
                                        </p:attrNameLst>
                                      </p:cBhvr>
                                      <p:tavLst>
                                        <p:tav tm="0">
                                          <p:val>
                                            <p:fltVal val="0"/>
                                          </p:val>
                                        </p:tav>
                                        <p:tav tm="100000">
                                          <p:val>
                                            <p:strVal val="#ppt_h"/>
                                          </p:val>
                                        </p:tav>
                                      </p:tavLst>
                                    </p:anim>
                                    <p:animEffect transition="in" filter="fade">
                                      <p:cBhvr>
                                        <p:cTn id="82" dur="750"/>
                                        <p:tgtEl>
                                          <p:spTgt spid="14"/>
                                        </p:tgtEl>
                                      </p:cBhvr>
                                    </p:animEffect>
                                  </p:childTnLst>
                                </p:cTn>
                              </p:par>
                              <p:par>
                                <p:cTn id="83" presetID="8" presetClass="emph" presetSubtype="0" fill="hold" nodeType="withEffect">
                                  <p:stCondLst>
                                    <p:cond delay="800"/>
                                  </p:stCondLst>
                                  <p:childTnLst>
                                    <p:animRot by="21600000">
                                      <p:cBhvr>
                                        <p:cTn id="84" dur="750" fill="hold"/>
                                        <p:tgtEl>
                                          <p:spTgt spid="14"/>
                                        </p:tgtEl>
                                        <p:attrNameLst>
                                          <p:attrName>r</p:attrName>
                                        </p:attrNameLst>
                                      </p:cBhvr>
                                    </p:animRot>
                                  </p:childTnLst>
                                </p:cTn>
                              </p:par>
                              <p:par>
                                <p:cTn id="85" presetID="53" presetClass="entr" presetSubtype="16" fill="hold" nodeType="withEffect">
                                  <p:stCondLst>
                                    <p:cond delay="800"/>
                                  </p:stCondLst>
                                  <p:childTnLst>
                                    <p:set>
                                      <p:cBhvr>
                                        <p:cTn id="86" dur="1" fill="hold">
                                          <p:stCondLst>
                                            <p:cond delay="0"/>
                                          </p:stCondLst>
                                        </p:cTn>
                                        <p:tgtEl>
                                          <p:spTgt spid="7"/>
                                        </p:tgtEl>
                                        <p:attrNameLst>
                                          <p:attrName>style.visibility</p:attrName>
                                        </p:attrNameLst>
                                      </p:cBhvr>
                                      <p:to>
                                        <p:strVal val="visible"/>
                                      </p:to>
                                    </p:set>
                                    <p:anim calcmode="lin" valueType="num">
                                      <p:cBhvr>
                                        <p:cTn id="87" dur="750" fill="hold"/>
                                        <p:tgtEl>
                                          <p:spTgt spid="7"/>
                                        </p:tgtEl>
                                        <p:attrNameLst>
                                          <p:attrName>ppt_w</p:attrName>
                                        </p:attrNameLst>
                                      </p:cBhvr>
                                      <p:tavLst>
                                        <p:tav tm="0">
                                          <p:val>
                                            <p:fltVal val="0"/>
                                          </p:val>
                                        </p:tav>
                                        <p:tav tm="100000">
                                          <p:val>
                                            <p:strVal val="#ppt_w"/>
                                          </p:val>
                                        </p:tav>
                                      </p:tavLst>
                                    </p:anim>
                                    <p:anim calcmode="lin" valueType="num">
                                      <p:cBhvr>
                                        <p:cTn id="88" dur="750" fill="hold"/>
                                        <p:tgtEl>
                                          <p:spTgt spid="7"/>
                                        </p:tgtEl>
                                        <p:attrNameLst>
                                          <p:attrName>ppt_h</p:attrName>
                                        </p:attrNameLst>
                                      </p:cBhvr>
                                      <p:tavLst>
                                        <p:tav tm="0">
                                          <p:val>
                                            <p:fltVal val="0"/>
                                          </p:val>
                                        </p:tav>
                                        <p:tav tm="100000">
                                          <p:val>
                                            <p:strVal val="#ppt_h"/>
                                          </p:val>
                                        </p:tav>
                                      </p:tavLst>
                                    </p:anim>
                                    <p:animEffect transition="in" filter="fade">
                                      <p:cBhvr>
                                        <p:cTn id="89" dur="750"/>
                                        <p:tgtEl>
                                          <p:spTgt spid="7"/>
                                        </p:tgtEl>
                                      </p:cBhvr>
                                    </p:animEffect>
                                  </p:childTnLst>
                                </p:cTn>
                              </p:par>
                              <p:par>
                                <p:cTn id="90" presetID="8" presetClass="emph" presetSubtype="0" fill="hold" nodeType="withEffect">
                                  <p:stCondLst>
                                    <p:cond delay="800"/>
                                  </p:stCondLst>
                                  <p:childTnLst>
                                    <p:animRot by="21600000">
                                      <p:cBhvr>
                                        <p:cTn id="91" dur="750" fill="hold"/>
                                        <p:tgtEl>
                                          <p:spTgt spid="7"/>
                                        </p:tgtEl>
                                        <p:attrNameLst>
                                          <p:attrName>r</p:attrName>
                                        </p:attrNameLst>
                                      </p:cBhvr>
                                    </p:animRot>
                                  </p:childTnLst>
                                </p:cTn>
                              </p:par>
                              <p:par>
                                <p:cTn id="92" presetID="53" presetClass="entr" presetSubtype="16" fill="hold" nodeType="withEffect">
                                  <p:stCondLst>
                                    <p:cond delay="800"/>
                                  </p:stCondLst>
                                  <p:childTnLst>
                                    <p:set>
                                      <p:cBhvr>
                                        <p:cTn id="93" dur="1" fill="hold">
                                          <p:stCondLst>
                                            <p:cond delay="0"/>
                                          </p:stCondLst>
                                        </p:cTn>
                                        <p:tgtEl>
                                          <p:spTgt spid="24"/>
                                        </p:tgtEl>
                                        <p:attrNameLst>
                                          <p:attrName>style.visibility</p:attrName>
                                        </p:attrNameLst>
                                      </p:cBhvr>
                                      <p:to>
                                        <p:strVal val="visible"/>
                                      </p:to>
                                    </p:set>
                                    <p:anim calcmode="lin" valueType="num">
                                      <p:cBhvr>
                                        <p:cTn id="94" dur="750" fill="hold"/>
                                        <p:tgtEl>
                                          <p:spTgt spid="24"/>
                                        </p:tgtEl>
                                        <p:attrNameLst>
                                          <p:attrName>ppt_w</p:attrName>
                                        </p:attrNameLst>
                                      </p:cBhvr>
                                      <p:tavLst>
                                        <p:tav tm="0">
                                          <p:val>
                                            <p:fltVal val="0"/>
                                          </p:val>
                                        </p:tav>
                                        <p:tav tm="100000">
                                          <p:val>
                                            <p:strVal val="#ppt_w"/>
                                          </p:val>
                                        </p:tav>
                                      </p:tavLst>
                                    </p:anim>
                                    <p:anim calcmode="lin" valueType="num">
                                      <p:cBhvr>
                                        <p:cTn id="95" dur="750" fill="hold"/>
                                        <p:tgtEl>
                                          <p:spTgt spid="24"/>
                                        </p:tgtEl>
                                        <p:attrNameLst>
                                          <p:attrName>ppt_h</p:attrName>
                                        </p:attrNameLst>
                                      </p:cBhvr>
                                      <p:tavLst>
                                        <p:tav tm="0">
                                          <p:val>
                                            <p:fltVal val="0"/>
                                          </p:val>
                                        </p:tav>
                                        <p:tav tm="100000">
                                          <p:val>
                                            <p:strVal val="#ppt_h"/>
                                          </p:val>
                                        </p:tav>
                                      </p:tavLst>
                                    </p:anim>
                                    <p:animEffect transition="in" filter="fade">
                                      <p:cBhvr>
                                        <p:cTn id="96" dur="750"/>
                                        <p:tgtEl>
                                          <p:spTgt spid="24"/>
                                        </p:tgtEl>
                                      </p:cBhvr>
                                    </p:animEffect>
                                  </p:childTnLst>
                                </p:cTn>
                              </p:par>
                              <p:par>
                                <p:cTn id="97" presetID="8" presetClass="emph" presetSubtype="0" fill="hold" nodeType="withEffect">
                                  <p:stCondLst>
                                    <p:cond delay="800"/>
                                  </p:stCondLst>
                                  <p:childTnLst>
                                    <p:animRot by="21600000">
                                      <p:cBhvr>
                                        <p:cTn id="98" dur="750" fill="hold"/>
                                        <p:tgtEl>
                                          <p:spTgt spid="24"/>
                                        </p:tgtEl>
                                        <p:attrNameLst>
                                          <p:attrName>r</p:attrName>
                                        </p:attrNameLst>
                                      </p:cBhvr>
                                    </p:animRot>
                                  </p:childTnLst>
                                </p:cTn>
                              </p:par>
                              <p:par>
                                <p:cTn id="99" presetID="53" presetClass="entr" presetSubtype="16" fill="hold" nodeType="withEffect">
                                  <p:stCondLst>
                                    <p:cond delay="800"/>
                                  </p:stCondLst>
                                  <p:childTnLst>
                                    <p:set>
                                      <p:cBhvr>
                                        <p:cTn id="100" dur="1" fill="hold">
                                          <p:stCondLst>
                                            <p:cond delay="0"/>
                                          </p:stCondLst>
                                        </p:cTn>
                                        <p:tgtEl>
                                          <p:spTgt spid="35"/>
                                        </p:tgtEl>
                                        <p:attrNameLst>
                                          <p:attrName>style.visibility</p:attrName>
                                        </p:attrNameLst>
                                      </p:cBhvr>
                                      <p:to>
                                        <p:strVal val="visible"/>
                                      </p:to>
                                    </p:set>
                                    <p:anim calcmode="lin" valueType="num">
                                      <p:cBhvr>
                                        <p:cTn id="101" dur="750" fill="hold"/>
                                        <p:tgtEl>
                                          <p:spTgt spid="35"/>
                                        </p:tgtEl>
                                        <p:attrNameLst>
                                          <p:attrName>ppt_w</p:attrName>
                                        </p:attrNameLst>
                                      </p:cBhvr>
                                      <p:tavLst>
                                        <p:tav tm="0">
                                          <p:val>
                                            <p:fltVal val="0"/>
                                          </p:val>
                                        </p:tav>
                                        <p:tav tm="100000">
                                          <p:val>
                                            <p:strVal val="#ppt_w"/>
                                          </p:val>
                                        </p:tav>
                                      </p:tavLst>
                                    </p:anim>
                                    <p:anim calcmode="lin" valueType="num">
                                      <p:cBhvr>
                                        <p:cTn id="102" dur="750" fill="hold"/>
                                        <p:tgtEl>
                                          <p:spTgt spid="35"/>
                                        </p:tgtEl>
                                        <p:attrNameLst>
                                          <p:attrName>ppt_h</p:attrName>
                                        </p:attrNameLst>
                                      </p:cBhvr>
                                      <p:tavLst>
                                        <p:tav tm="0">
                                          <p:val>
                                            <p:fltVal val="0"/>
                                          </p:val>
                                        </p:tav>
                                        <p:tav tm="100000">
                                          <p:val>
                                            <p:strVal val="#ppt_h"/>
                                          </p:val>
                                        </p:tav>
                                      </p:tavLst>
                                    </p:anim>
                                    <p:animEffect transition="in" filter="fade">
                                      <p:cBhvr>
                                        <p:cTn id="103" dur="750"/>
                                        <p:tgtEl>
                                          <p:spTgt spid="35"/>
                                        </p:tgtEl>
                                      </p:cBhvr>
                                    </p:animEffect>
                                  </p:childTnLst>
                                </p:cTn>
                              </p:par>
                              <p:par>
                                <p:cTn id="104" presetID="8" presetClass="emph" presetSubtype="0" fill="hold" nodeType="withEffect">
                                  <p:stCondLst>
                                    <p:cond delay="800"/>
                                  </p:stCondLst>
                                  <p:childTnLst>
                                    <p:animRot by="21600000">
                                      <p:cBhvr>
                                        <p:cTn id="105" dur="750" fill="hold"/>
                                        <p:tgtEl>
                                          <p:spTgt spid="35"/>
                                        </p:tgtEl>
                                        <p:attrNameLst>
                                          <p:attrName>r</p:attrName>
                                        </p:attrNameLst>
                                      </p:cBhvr>
                                    </p:animRot>
                                  </p:childTnLst>
                                </p:cTn>
                              </p:par>
                              <p:par>
                                <p:cTn id="106" presetID="53" presetClass="entr" presetSubtype="16" fill="hold" nodeType="withEffect">
                                  <p:stCondLst>
                                    <p:cond delay="800"/>
                                  </p:stCondLst>
                                  <p:childTnLst>
                                    <p:set>
                                      <p:cBhvr>
                                        <p:cTn id="107" dur="1" fill="hold">
                                          <p:stCondLst>
                                            <p:cond delay="0"/>
                                          </p:stCondLst>
                                        </p:cTn>
                                        <p:tgtEl>
                                          <p:spTgt spid="43"/>
                                        </p:tgtEl>
                                        <p:attrNameLst>
                                          <p:attrName>style.visibility</p:attrName>
                                        </p:attrNameLst>
                                      </p:cBhvr>
                                      <p:to>
                                        <p:strVal val="visible"/>
                                      </p:to>
                                    </p:set>
                                    <p:anim calcmode="lin" valueType="num">
                                      <p:cBhvr>
                                        <p:cTn id="108" dur="750" fill="hold"/>
                                        <p:tgtEl>
                                          <p:spTgt spid="43"/>
                                        </p:tgtEl>
                                        <p:attrNameLst>
                                          <p:attrName>ppt_w</p:attrName>
                                        </p:attrNameLst>
                                      </p:cBhvr>
                                      <p:tavLst>
                                        <p:tav tm="0">
                                          <p:val>
                                            <p:fltVal val="0"/>
                                          </p:val>
                                        </p:tav>
                                        <p:tav tm="100000">
                                          <p:val>
                                            <p:strVal val="#ppt_w"/>
                                          </p:val>
                                        </p:tav>
                                      </p:tavLst>
                                    </p:anim>
                                    <p:anim calcmode="lin" valueType="num">
                                      <p:cBhvr>
                                        <p:cTn id="109" dur="750" fill="hold"/>
                                        <p:tgtEl>
                                          <p:spTgt spid="43"/>
                                        </p:tgtEl>
                                        <p:attrNameLst>
                                          <p:attrName>ppt_h</p:attrName>
                                        </p:attrNameLst>
                                      </p:cBhvr>
                                      <p:tavLst>
                                        <p:tav tm="0">
                                          <p:val>
                                            <p:fltVal val="0"/>
                                          </p:val>
                                        </p:tav>
                                        <p:tav tm="100000">
                                          <p:val>
                                            <p:strVal val="#ppt_h"/>
                                          </p:val>
                                        </p:tav>
                                      </p:tavLst>
                                    </p:anim>
                                    <p:animEffect transition="in" filter="fade">
                                      <p:cBhvr>
                                        <p:cTn id="110" dur="750"/>
                                        <p:tgtEl>
                                          <p:spTgt spid="43"/>
                                        </p:tgtEl>
                                      </p:cBhvr>
                                    </p:animEffect>
                                  </p:childTnLst>
                                </p:cTn>
                              </p:par>
                              <p:par>
                                <p:cTn id="111" presetID="8" presetClass="emph" presetSubtype="0" fill="hold" nodeType="withEffect">
                                  <p:stCondLst>
                                    <p:cond delay="800"/>
                                  </p:stCondLst>
                                  <p:childTnLst>
                                    <p:animRot by="21600000">
                                      <p:cBhvr>
                                        <p:cTn id="112" dur="750" fill="hold"/>
                                        <p:tgtEl>
                                          <p:spTgt spid="43"/>
                                        </p:tgtEl>
                                        <p:attrNameLst>
                                          <p:attrName>r</p:attrName>
                                        </p:attrNameLst>
                                      </p:cBhvr>
                                    </p:animRot>
                                  </p:childTnLst>
                                </p:cTn>
                              </p:par>
                              <p:par>
                                <p:cTn id="113" presetID="53" presetClass="entr" presetSubtype="16" fill="hold" nodeType="withEffect">
                                  <p:stCondLst>
                                    <p:cond delay="800"/>
                                  </p:stCondLst>
                                  <p:childTnLst>
                                    <p:set>
                                      <p:cBhvr>
                                        <p:cTn id="114" dur="1" fill="hold">
                                          <p:stCondLst>
                                            <p:cond delay="0"/>
                                          </p:stCondLst>
                                        </p:cTn>
                                        <p:tgtEl>
                                          <p:spTgt spid="49"/>
                                        </p:tgtEl>
                                        <p:attrNameLst>
                                          <p:attrName>style.visibility</p:attrName>
                                        </p:attrNameLst>
                                      </p:cBhvr>
                                      <p:to>
                                        <p:strVal val="visible"/>
                                      </p:to>
                                    </p:set>
                                    <p:anim calcmode="lin" valueType="num">
                                      <p:cBhvr>
                                        <p:cTn id="115" dur="750" fill="hold"/>
                                        <p:tgtEl>
                                          <p:spTgt spid="49"/>
                                        </p:tgtEl>
                                        <p:attrNameLst>
                                          <p:attrName>ppt_w</p:attrName>
                                        </p:attrNameLst>
                                      </p:cBhvr>
                                      <p:tavLst>
                                        <p:tav tm="0">
                                          <p:val>
                                            <p:fltVal val="0"/>
                                          </p:val>
                                        </p:tav>
                                        <p:tav tm="100000">
                                          <p:val>
                                            <p:strVal val="#ppt_w"/>
                                          </p:val>
                                        </p:tav>
                                      </p:tavLst>
                                    </p:anim>
                                    <p:anim calcmode="lin" valueType="num">
                                      <p:cBhvr>
                                        <p:cTn id="116" dur="750" fill="hold"/>
                                        <p:tgtEl>
                                          <p:spTgt spid="49"/>
                                        </p:tgtEl>
                                        <p:attrNameLst>
                                          <p:attrName>ppt_h</p:attrName>
                                        </p:attrNameLst>
                                      </p:cBhvr>
                                      <p:tavLst>
                                        <p:tav tm="0">
                                          <p:val>
                                            <p:fltVal val="0"/>
                                          </p:val>
                                        </p:tav>
                                        <p:tav tm="100000">
                                          <p:val>
                                            <p:strVal val="#ppt_h"/>
                                          </p:val>
                                        </p:tav>
                                      </p:tavLst>
                                    </p:anim>
                                    <p:animEffect transition="in" filter="fade">
                                      <p:cBhvr>
                                        <p:cTn id="117" dur="750"/>
                                        <p:tgtEl>
                                          <p:spTgt spid="49"/>
                                        </p:tgtEl>
                                      </p:cBhvr>
                                    </p:animEffect>
                                  </p:childTnLst>
                                </p:cTn>
                              </p:par>
                              <p:par>
                                <p:cTn id="118" presetID="8" presetClass="emph" presetSubtype="0" fill="hold" nodeType="withEffect">
                                  <p:stCondLst>
                                    <p:cond delay="800"/>
                                  </p:stCondLst>
                                  <p:childTnLst>
                                    <p:animRot by="21600000">
                                      <p:cBhvr>
                                        <p:cTn id="119" dur="750" fill="hold"/>
                                        <p:tgtEl>
                                          <p:spTgt spid="49"/>
                                        </p:tgtEl>
                                        <p:attrNameLst>
                                          <p:attrName>r</p:attrName>
                                        </p:attrNameLst>
                                      </p:cBhvr>
                                    </p:animRot>
                                  </p:childTnLst>
                                </p:cTn>
                              </p:par>
                              <p:par>
                                <p:cTn id="120" presetID="53" presetClass="entr" presetSubtype="16" fill="hold" nodeType="withEffect">
                                  <p:stCondLst>
                                    <p:cond delay="800"/>
                                  </p:stCondLst>
                                  <p:childTnLst>
                                    <p:set>
                                      <p:cBhvr>
                                        <p:cTn id="121" dur="1" fill="hold">
                                          <p:stCondLst>
                                            <p:cond delay="0"/>
                                          </p:stCondLst>
                                        </p:cTn>
                                        <p:tgtEl>
                                          <p:spTgt spid="46"/>
                                        </p:tgtEl>
                                        <p:attrNameLst>
                                          <p:attrName>style.visibility</p:attrName>
                                        </p:attrNameLst>
                                      </p:cBhvr>
                                      <p:to>
                                        <p:strVal val="visible"/>
                                      </p:to>
                                    </p:set>
                                    <p:anim calcmode="lin" valueType="num">
                                      <p:cBhvr>
                                        <p:cTn id="122" dur="750" fill="hold"/>
                                        <p:tgtEl>
                                          <p:spTgt spid="46"/>
                                        </p:tgtEl>
                                        <p:attrNameLst>
                                          <p:attrName>ppt_w</p:attrName>
                                        </p:attrNameLst>
                                      </p:cBhvr>
                                      <p:tavLst>
                                        <p:tav tm="0">
                                          <p:val>
                                            <p:fltVal val="0"/>
                                          </p:val>
                                        </p:tav>
                                        <p:tav tm="100000">
                                          <p:val>
                                            <p:strVal val="#ppt_w"/>
                                          </p:val>
                                        </p:tav>
                                      </p:tavLst>
                                    </p:anim>
                                    <p:anim calcmode="lin" valueType="num">
                                      <p:cBhvr>
                                        <p:cTn id="123" dur="750" fill="hold"/>
                                        <p:tgtEl>
                                          <p:spTgt spid="46"/>
                                        </p:tgtEl>
                                        <p:attrNameLst>
                                          <p:attrName>ppt_h</p:attrName>
                                        </p:attrNameLst>
                                      </p:cBhvr>
                                      <p:tavLst>
                                        <p:tav tm="0">
                                          <p:val>
                                            <p:fltVal val="0"/>
                                          </p:val>
                                        </p:tav>
                                        <p:tav tm="100000">
                                          <p:val>
                                            <p:strVal val="#ppt_h"/>
                                          </p:val>
                                        </p:tav>
                                      </p:tavLst>
                                    </p:anim>
                                    <p:animEffect transition="in" filter="fade">
                                      <p:cBhvr>
                                        <p:cTn id="124" dur="750"/>
                                        <p:tgtEl>
                                          <p:spTgt spid="46"/>
                                        </p:tgtEl>
                                      </p:cBhvr>
                                    </p:animEffect>
                                  </p:childTnLst>
                                </p:cTn>
                              </p:par>
                              <p:par>
                                <p:cTn id="125" presetID="8" presetClass="emph" presetSubtype="0" fill="hold" nodeType="withEffect">
                                  <p:stCondLst>
                                    <p:cond delay="800"/>
                                  </p:stCondLst>
                                  <p:childTnLst>
                                    <p:animRot by="21600000">
                                      <p:cBhvr>
                                        <p:cTn id="126" dur="750" fill="hold"/>
                                        <p:tgtEl>
                                          <p:spTgt spid="4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P spid="88" grpId="0" animBg="1"/>
      <p:bldP spid="89" grpId="0" animBg="1"/>
      <p:bldP spid="90" grpId="0" animBg="1"/>
      <p:bldP spid="91" grpId="0" animBg="1"/>
      <p:bldP spid="92" grpId="0" animBg="1"/>
      <p:bldP spid="92" grpId="1" animBg="1"/>
      <p:bldP spid="33" grpId="0" animBg="1"/>
      <p:bldP spid="33" grpId="1" animBg="1"/>
      <p:bldP spid="20" grpId="0"/>
      <p:bldP spid="20" grpId="1"/>
      <p:bldP spid="21" grpId="0"/>
      <p:bldP spid="21" grpId="1"/>
      <p:bldP spid="2" grpId="0" animBg="1"/>
      <p:bldP spid="2" grpId="1" animBg="1"/>
      <p:bldP spid="3" grpId="0" animBg="1"/>
      <p:bldP spid="3" grpId="1" animBg="1"/>
      <p:bldP spid="4" grpId="0" animBg="1"/>
      <p:bldP spid="4"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149047-FF20-D5FA-EE9E-5615CE57B18E}"/>
            </a:ext>
          </a:extLst>
        </p:cNvPr>
        <p:cNvGrpSpPr/>
        <p:nvPr/>
      </p:nvGrpSpPr>
      <p:grpSpPr>
        <a:xfrm>
          <a:off x="0" y="0"/>
          <a:ext cx="0" cy="0"/>
          <a:chOff x="0" y="0"/>
          <a:chExt cx="0" cy="0"/>
        </a:xfrm>
      </p:grpSpPr>
      <p:sp>
        <p:nvSpPr>
          <p:cNvPr id="29" name="TextBox 28">
            <a:extLst>
              <a:ext uri="{FF2B5EF4-FFF2-40B4-BE49-F238E27FC236}">
                <a16:creationId xmlns:a16="http://schemas.microsoft.com/office/drawing/2014/main" id="{3507E524-F8A7-3BCC-09B4-A2DC31EF17B9}"/>
              </a:ext>
            </a:extLst>
          </p:cNvPr>
          <p:cNvSpPr txBox="1"/>
          <p:nvPr/>
        </p:nvSpPr>
        <p:spPr>
          <a:xfrm>
            <a:off x="248093" y="304364"/>
            <a:ext cx="553956" cy="319415"/>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Lit.</a:t>
            </a:r>
          </a:p>
        </p:txBody>
      </p:sp>
      <p:sp>
        <p:nvSpPr>
          <p:cNvPr id="30" name="TextBox 29">
            <a:extLst>
              <a:ext uri="{FF2B5EF4-FFF2-40B4-BE49-F238E27FC236}">
                <a16:creationId xmlns:a16="http://schemas.microsoft.com/office/drawing/2014/main" id="{04768CAB-2021-A35A-7CFE-564995A427B3}"/>
              </a:ext>
            </a:extLst>
          </p:cNvPr>
          <p:cNvSpPr txBox="1"/>
          <p:nvPr/>
        </p:nvSpPr>
        <p:spPr>
          <a:xfrm>
            <a:off x="617697" y="304333"/>
            <a:ext cx="957970" cy="319446"/>
          </a:xfrm>
          <a:prstGeom prst="rect">
            <a:avLst/>
          </a:prstGeom>
          <a:noFill/>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view</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31" name="Group 30">
            <a:extLst>
              <a:ext uri="{FF2B5EF4-FFF2-40B4-BE49-F238E27FC236}">
                <a16:creationId xmlns:a16="http://schemas.microsoft.com/office/drawing/2014/main" id="{2AE6A2A1-2858-EA13-394F-25660532DF01}"/>
              </a:ext>
            </a:extLst>
          </p:cNvPr>
          <p:cNvGrpSpPr/>
          <p:nvPr/>
        </p:nvGrpSpPr>
        <p:grpSpPr>
          <a:xfrm>
            <a:off x="299484" y="347343"/>
            <a:ext cx="11644423" cy="507586"/>
            <a:chOff x="299484" y="347343"/>
            <a:chExt cx="11644423" cy="507586"/>
          </a:xfrm>
        </p:grpSpPr>
        <p:cxnSp>
          <p:nvCxnSpPr>
            <p:cNvPr id="5" name="Straight Connector 4">
              <a:extLst>
                <a:ext uri="{FF2B5EF4-FFF2-40B4-BE49-F238E27FC236}">
                  <a16:creationId xmlns:a16="http://schemas.microsoft.com/office/drawing/2014/main" id="{951E2B76-1763-D773-EF15-67439DC73D1E}"/>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46" name="Group 45">
              <a:extLst>
                <a:ext uri="{FF2B5EF4-FFF2-40B4-BE49-F238E27FC236}">
                  <a16:creationId xmlns:a16="http://schemas.microsoft.com/office/drawing/2014/main" id="{38575F76-0528-57CF-B25B-BFB834F37336}"/>
                </a:ext>
              </a:extLst>
            </p:cNvPr>
            <p:cNvGrpSpPr/>
            <p:nvPr/>
          </p:nvGrpSpPr>
          <p:grpSpPr>
            <a:xfrm>
              <a:off x="5842207" y="347343"/>
              <a:ext cx="507586" cy="507586"/>
              <a:chOff x="3886094" y="1867721"/>
              <a:chExt cx="507586" cy="507586"/>
            </a:xfrm>
          </p:grpSpPr>
          <p:sp useBgFill="1">
            <p:nvSpPr>
              <p:cNvPr id="47" name="Oval 46">
                <a:extLst>
                  <a:ext uri="{FF2B5EF4-FFF2-40B4-BE49-F238E27FC236}">
                    <a16:creationId xmlns:a16="http://schemas.microsoft.com/office/drawing/2014/main" id="{87F4896A-D412-4F7F-217F-6FF4B1E4850E}"/>
                  </a:ext>
                </a:extLst>
              </p:cNvPr>
              <p:cNvSpPr/>
              <p:nvPr/>
            </p:nvSpPr>
            <p:spPr>
              <a:xfrm>
                <a:off x="3886094" y="1867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8" name="Graphic 47">
                <a:extLst>
                  <a:ext uri="{FF2B5EF4-FFF2-40B4-BE49-F238E27FC236}">
                    <a16:creationId xmlns:a16="http://schemas.microsoft.com/office/drawing/2014/main" id="{2437E1BA-5426-F5BA-7CB7-35B0071113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11871" y="1969676"/>
                <a:ext cx="256032" cy="256032"/>
              </a:xfrm>
              <a:prstGeom prst="rect">
                <a:avLst/>
              </a:prstGeom>
            </p:spPr>
          </p:pic>
        </p:grpSp>
      </p:grpSp>
      <p:sp>
        <p:nvSpPr>
          <p:cNvPr id="12" name="TextBox 11">
            <a:extLst>
              <a:ext uri="{FF2B5EF4-FFF2-40B4-BE49-F238E27FC236}">
                <a16:creationId xmlns:a16="http://schemas.microsoft.com/office/drawing/2014/main" id="{9288B2D6-F3BD-83A1-4F22-8CF3B01C34DC}"/>
              </a:ext>
            </a:extLst>
          </p:cNvPr>
          <p:cNvSpPr txBox="1"/>
          <p:nvPr/>
        </p:nvSpPr>
        <p:spPr>
          <a:xfrm>
            <a:off x="10184913" y="2805438"/>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grpSp>
        <p:nvGrpSpPr>
          <p:cNvPr id="13" name="Group 12">
            <a:extLst>
              <a:ext uri="{FF2B5EF4-FFF2-40B4-BE49-F238E27FC236}">
                <a16:creationId xmlns:a16="http://schemas.microsoft.com/office/drawing/2014/main" id="{13238E1B-F180-DD97-EB73-4825ABDEB603}"/>
              </a:ext>
            </a:extLst>
          </p:cNvPr>
          <p:cNvGrpSpPr/>
          <p:nvPr/>
        </p:nvGrpSpPr>
        <p:grpSpPr>
          <a:xfrm>
            <a:off x="4450530" y="2422732"/>
            <a:ext cx="3461732" cy="647654"/>
            <a:chOff x="480251" y="2349133"/>
            <a:chExt cx="3461732" cy="647654"/>
          </a:xfrm>
        </p:grpSpPr>
        <p:sp>
          <p:nvSpPr>
            <p:cNvPr id="14" name="TextBox 13">
              <a:extLst>
                <a:ext uri="{FF2B5EF4-FFF2-40B4-BE49-F238E27FC236}">
                  <a16:creationId xmlns:a16="http://schemas.microsoft.com/office/drawing/2014/main" id="{985E41F7-2587-30BC-F269-D2A228A93669}"/>
                </a:ext>
              </a:extLst>
            </p:cNvPr>
            <p:cNvSpPr txBox="1"/>
            <p:nvPr/>
          </p:nvSpPr>
          <p:spPr>
            <a:xfrm>
              <a:off x="2164613" y="2749347"/>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sp>
          <p:nvSpPr>
            <p:cNvPr id="15" name="TextBox 14">
              <a:extLst>
                <a:ext uri="{FF2B5EF4-FFF2-40B4-BE49-F238E27FC236}">
                  <a16:creationId xmlns:a16="http://schemas.microsoft.com/office/drawing/2014/main" id="{8B1520F1-95CD-74D1-A7A7-32FBA9B6872F}"/>
                </a:ext>
              </a:extLst>
            </p:cNvPr>
            <p:cNvSpPr txBox="1"/>
            <p:nvPr/>
          </p:nvSpPr>
          <p:spPr>
            <a:xfrm>
              <a:off x="480251" y="2349133"/>
              <a:ext cx="346173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grpSp>
        <p:nvGrpSpPr>
          <p:cNvPr id="16" name="Group 15">
            <a:extLst>
              <a:ext uri="{FF2B5EF4-FFF2-40B4-BE49-F238E27FC236}">
                <a16:creationId xmlns:a16="http://schemas.microsoft.com/office/drawing/2014/main" id="{A2B07FD1-2B48-EC6C-1AEE-8E1B9E114EFC}"/>
              </a:ext>
            </a:extLst>
          </p:cNvPr>
          <p:cNvGrpSpPr/>
          <p:nvPr/>
        </p:nvGrpSpPr>
        <p:grpSpPr>
          <a:xfrm>
            <a:off x="385098" y="4911241"/>
            <a:ext cx="3660145" cy="482356"/>
            <a:chOff x="370330" y="2692586"/>
            <a:chExt cx="3660145" cy="482356"/>
          </a:xfrm>
        </p:grpSpPr>
        <p:sp>
          <p:nvSpPr>
            <p:cNvPr id="17" name="TextBox 16">
              <a:extLst>
                <a:ext uri="{FF2B5EF4-FFF2-40B4-BE49-F238E27FC236}">
                  <a16:creationId xmlns:a16="http://schemas.microsoft.com/office/drawing/2014/main" id="{1FA013C1-6CE1-5F5E-7E79-C62F42235EF1}"/>
                </a:ext>
              </a:extLst>
            </p:cNvPr>
            <p:cNvSpPr txBox="1"/>
            <p:nvPr/>
          </p:nvSpPr>
          <p:spPr>
            <a:xfrm>
              <a:off x="490079" y="2805610"/>
              <a:ext cx="3494349" cy="369332"/>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lnSpc>
                  <a:spcPct val="100000"/>
                </a:lnSpc>
              </a:pPr>
              <a:endParaRPr lang="en-GB" sz="2400" b="1" dirty="0">
                <a:latin typeface="+mj-lt"/>
              </a:endParaRPr>
            </a:p>
          </p:txBody>
        </p:sp>
        <p:sp>
          <p:nvSpPr>
            <p:cNvPr id="18" name="TextBox 17">
              <a:extLst>
                <a:ext uri="{FF2B5EF4-FFF2-40B4-BE49-F238E27FC236}">
                  <a16:creationId xmlns:a16="http://schemas.microsoft.com/office/drawing/2014/main" id="{2E0FB086-C900-EB96-4625-A0FD37D8F907}"/>
                </a:ext>
              </a:extLst>
            </p:cNvPr>
            <p:cNvSpPr txBox="1"/>
            <p:nvPr/>
          </p:nvSpPr>
          <p:spPr>
            <a:xfrm>
              <a:off x="370330" y="2692586"/>
              <a:ext cx="3660145"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schemeClr val="bg1">
                    <a:alpha val="90000"/>
                  </a:schemeClr>
                </a:solidFill>
              </a:endParaRPr>
            </a:p>
          </p:txBody>
        </p:sp>
      </p:grpSp>
      <p:grpSp>
        <p:nvGrpSpPr>
          <p:cNvPr id="19" name="Group 18">
            <a:extLst>
              <a:ext uri="{FF2B5EF4-FFF2-40B4-BE49-F238E27FC236}">
                <a16:creationId xmlns:a16="http://schemas.microsoft.com/office/drawing/2014/main" id="{661D25F2-00A6-9D76-8B0D-DC50C144586A}"/>
              </a:ext>
            </a:extLst>
          </p:cNvPr>
          <p:cNvGrpSpPr/>
          <p:nvPr/>
        </p:nvGrpSpPr>
        <p:grpSpPr>
          <a:xfrm>
            <a:off x="8141459" y="5030442"/>
            <a:ext cx="3365192" cy="390461"/>
            <a:chOff x="215667" y="2811787"/>
            <a:chExt cx="3365192" cy="390461"/>
          </a:xfrm>
        </p:grpSpPr>
        <p:sp>
          <p:nvSpPr>
            <p:cNvPr id="20" name="TextBox 19">
              <a:extLst>
                <a:ext uri="{FF2B5EF4-FFF2-40B4-BE49-F238E27FC236}">
                  <a16:creationId xmlns:a16="http://schemas.microsoft.com/office/drawing/2014/main" id="{6E00DF2B-CDC4-4F34-F560-21F910C33FAD}"/>
                </a:ext>
              </a:extLst>
            </p:cNvPr>
            <p:cNvSpPr txBox="1"/>
            <p:nvPr/>
          </p:nvSpPr>
          <p:spPr>
            <a:xfrm>
              <a:off x="2216671" y="2954808"/>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sp>
          <p:nvSpPr>
            <p:cNvPr id="21" name="TextBox 20">
              <a:extLst>
                <a:ext uri="{FF2B5EF4-FFF2-40B4-BE49-F238E27FC236}">
                  <a16:creationId xmlns:a16="http://schemas.microsoft.com/office/drawing/2014/main" id="{4667B74D-565A-1ACD-2866-7D068F9E2DC0}"/>
                </a:ext>
              </a:extLst>
            </p:cNvPr>
            <p:cNvSpPr txBox="1"/>
            <p:nvPr/>
          </p:nvSpPr>
          <p:spPr>
            <a:xfrm>
              <a:off x="215667" y="2811787"/>
              <a:ext cx="336519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grpSp>
        <p:nvGrpSpPr>
          <p:cNvPr id="22" name="Group 21">
            <a:extLst>
              <a:ext uri="{FF2B5EF4-FFF2-40B4-BE49-F238E27FC236}">
                <a16:creationId xmlns:a16="http://schemas.microsoft.com/office/drawing/2014/main" id="{40D72D21-9150-8A71-BDD3-7ED8DAC21CBD}"/>
              </a:ext>
            </a:extLst>
          </p:cNvPr>
          <p:cNvGrpSpPr/>
          <p:nvPr/>
        </p:nvGrpSpPr>
        <p:grpSpPr>
          <a:xfrm>
            <a:off x="4247075" y="4854227"/>
            <a:ext cx="3365192" cy="612231"/>
            <a:chOff x="276796" y="2635572"/>
            <a:chExt cx="3365192" cy="612231"/>
          </a:xfrm>
        </p:grpSpPr>
        <p:sp>
          <p:nvSpPr>
            <p:cNvPr id="23" name="TextBox 22">
              <a:extLst>
                <a:ext uri="{FF2B5EF4-FFF2-40B4-BE49-F238E27FC236}">
                  <a16:creationId xmlns:a16="http://schemas.microsoft.com/office/drawing/2014/main" id="{D5A591A6-5706-AAD6-9D33-4BF71BDCD2C9}"/>
                </a:ext>
              </a:extLst>
            </p:cNvPr>
            <p:cNvSpPr txBox="1"/>
            <p:nvPr/>
          </p:nvSpPr>
          <p:spPr>
            <a:xfrm>
              <a:off x="519001" y="3000363"/>
              <a:ext cx="65"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endParaRPr lang="en-GB" sz="2400" b="1" dirty="0">
                <a:latin typeface="+mj-lt"/>
              </a:endParaRPr>
            </a:p>
          </p:txBody>
        </p:sp>
        <p:sp>
          <p:nvSpPr>
            <p:cNvPr id="24" name="TextBox 23">
              <a:extLst>
                <a:ext uri="{FF2B5EF4-FFF2-40B4-BE49-F238E27FC236}">
                  <a16:creationId xmlns:a16="http://schemas.microsoft.com/office/drawing/2014/main" id="{3CFB2994-1245-E2F4-D3C6-6AE9E26ABF1F}"/>
                </a:ext>
              </a:extLst>
            </p:cNvPr>
            <p:cNvSpPr txBox="1"/>
            <p:nvPr/>
          </p:nvSpPr>
          <p:spPr>
            <a:xfrm>
              <a:off x="276796" y="2635572"/>
              <a:ext cx="336519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sp>
        <p:nvSpPr>
          <p:cNvPr id="25" name="TextBox 24">
            <a:extLst>
              <a:ext uri="{FF2B5EF4-FFF2-40B4-BE49-F238E27FC236}">
                <a16:creationId xmlns:a16="http://schemas.microsoft.com/office/drawing/2014/main" id="{4BB17EF1-FD19-B8BB-9A8D-B480E96736D9}"/>
              </a:ext>
            </a:extLst>
          </p:cNvPr>
          <p:cNvSpPr txBox="1"/>
          <p:nvPr/>
        </p:nvSpPr>
        <p:spPr>
          <a:xfrm>
            <a:off x="2270290" y="1057232"/>
            <a:ext cx="7680956"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4800" dirty="0"/>
              <a:t>Why Logistic Regression?</a:t>
            </a:r>
          </a:p>
        </p:txBody>
      </p:sp>
      <p:sp>
        <p:nvSpPr>
          <p:cNvPr id="26" name="Rectangle: Rounded Corners 25">
            <a:extLst>
              <a:ext uri="{FF2B5EF4-FFF2-40B4-BE49-F238E27FC236}">
                <a16:creationId xmlns:a16="http://schemas.microsoft.com/office/drawing/2014/main" id="{3329BC9E-FD43-38F7-D307-8A71B9729759}"/>
              </a:ext>
            </a:extLst>
          </p:cNvPr>
          <p:cNvSpPr/>
          <p:nvPr/>
        </p:nvSpPr>
        <p:spPr>
          <a:xfrm>
            <a:off x="276499" y="1857780"/>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27" name="TextBox 26">
            <a:extLst>
              <a:ext uri="{FF2B5EF4-FFF2-40B4-BE49-F238E27FC236}">
                <a16:creationId xmlns:a16="http://schemas.microsoft.com/office/drawing/2014/main" id="{8BB834B5-A582-6B29-A0B3-9DEC3D3F46ED}"/>
              </a:ext>
            </a:extLst>
          </p:cNvPr>
          <p:cNvSpPr txBox="1"/>
          <p:nvPr/>
        </p:nvSpPr>
        <p:spPr>
          <a:xfrm>
            <a:off x="336866" y="2515170"/>
            <a:ext cx="3521326" cy="738664"/>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nSpc>
                <a:spcPct val="100000"/>
              </a:lnSpc>
            </a:pPr>
            <a:r>
              <a:rPr lang="en-US" sz="2400" b="1" dirty="0">
                <a:solidFill>
                  <a:schemeClr val="bg1"/>
                </a:solidFill>
                <a:latin typeface="+mj-lt"/>
              </a:rPr>
              <a:t>Simple, Transparent, and </a:t>
            </a:r>
          </a:p>
          <a:p>
            <a:pPr>
              <a:lnSpc>
                <a:spcPct val="100000"/>
              </a:lnSpc>
            </a:pPr>
            <a:r>
              <a:rPr lang="en-US" sz="2400" b="1" dirty="0">
                <a:solidFill>
                  <a:schemeClr val="bg1"/>
                </a:solidFill>
                <a:latin typeface="+mj-lt"/>
              </a:rPr>
              <a:t>Clinically Trustworthy</a:t>
            </a:r>
            <a:endParaRPr lang="en-GB" sz="2400" b="1" dirty="0">
              <a:solidFill>
                <a:schemeClr val="bg1"/>
              </a:solidFill>
              <a:latin typeface="+mj-lt"/>
            </a:endParaRPr>
          </a:p>
        </p:txBody>
      </p:sp>
      <p:sp>
        <p:nvSpPr>
          <p:cNvPr id="28" name="Rectangle: Rounded Corners 27">
            <a:extLst>
              <a:ext uri="{FF2B5EF4-FFF2-40B4-BE49-F238E27FC236}">
                <a16:creationId xmlns:a16="http://schemas.microsoft.com/office/drawing/2014/main" id="{D3CA1004-9B96-C01E-3F0D-4CE0A8EF4CE2}"/>
              </a:ext>
            </a:extLst>
          </p:cNvPr>
          <p:cNvSpPr/>
          <p:nvPr/>
        </p:nvSpPr>
        <p:spPr>
          <a:xfrm>
            <a:off x="288554" y="4395079"/>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2" name="TextBox 31">
            <a:extLst>
              <a:ext uri="{FF2B5EF4-FFF2-40B4-BE49-F238E27FC236}">
                <a16:creationId xmlns:a16="http://schemas.microsoft.com/office/drawing/2014/main" id="{39F52090-67D9-2FEE-2783-96129378611E}"/>
              </a:ext>
            </a:extLst>
          </p:cNvPr>
          <p:cNvSpPr txBox="1"/>
          <p:nvPr/>
        </p:nvSpPr>
        <p:spPr>
          <a:xfrm>
            <a:off x="248093" y="5097126"/>
            <a:ext cx="3521326" cy="738664"/>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nSpc>
                <a:spcPct val="100000"/>
              </a:lnSpc>
            </a:pPr>
            <a:r>
              <a:rPr lang="en-US" sz="2400" b="1" dirty="0">
                <a:latin typeface="+mj-lt"/>
              </a:rPr>
              <a:t>Validated in Real-World Settings</a:t>
            </a:r>
            <a:endParaRPr lang="en-GB" sz="2400" b="1" dirty="0">
              <a:latin typeface="+mj-lt"/>
            </a:endParaRPr>
          </a:p>
        </p:txBody>
      </p:sp>
      <p:sp>
        <p:nvSpPr>
          <p:cNvPr id="33" name="Rectangle: Rounded Corners 32">
            <a:extLst>
              <a:ext uri="{FF2B5EF4-FFF2-40B4-BE49-F238E27FC236}">
                <a16:creationId xmlns:a16="http://schemas.microsoft.com/office/drawing/2014/main" id="{A4810CA2-D87C-8E9E-DF49-89B9747FA565}"/>
              </a:ext>
            </a:extLst>
          </p:cNvPr>
          <p:cNvSpPr/>
          <p:nvPr/>
        </p:nvSpPr>
        <p:spPr>
          <a:xfrm>
            <a:off x="4264297" y="4395079"/>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4" name="TextBox 33">
            <a:extLst>
              <a:ext uri="{FF2B5EF4-FFF2-40B4-BE49-F238E27FC236}">
                <a16:creationId xmlns:a16="http://schemas.microsoft.com/office/drawing/2014/main" id="{8FA8F803-93BE-832C-8B5D-D3CF14F26919}"/>
              </a:ext>
            </a:extLst>
          </p:cNvPr>
          <p:cNvSpPr txBox="1"/>
          <p:nvPr/>
        </p:nvSpPr>
        <p:spPr>
          <a:xfrm>
            <a:off x="4390936" y="5358538"/>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Fits Our Skills &amp; Resources</a:t>
            </a:r>
            <a:endParaRPr lang="en-GB" sz="2400" b="1" dirty="0">
              <a:latin typeface="+mj-lt"/>
            </a:endParaRPr>
          </a:p>
        </p:txBody>
      </p:sp>
      <p:sp>
        <p:nvSpPr>
          <p:cNvPr id="35" name="Rectangle: Rounded Corners 34">
            <a:extLst>
              <a:ext uri="{FF2B5EF4-FFF2-40B4-BE49-F238E27FC236}">
                <a16:creationId xmlns:a16="http://schemas.microsoft.com/office/drawing/2014/main" id="{EA19464B-43AB-DD35-FC09-41ECF64E22A0}"/>
              </a:ext>
            </a:extLst>
          </p:cNvPr>
          <p:cNvSpPr/>
          <p:nvPr/>
        </p:nvSpPr>
        <p:spPr>
          <a:xfrm>
            <a:off x="8275762" y="4410879"/>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6" name="TextBox 35">
            <a:extLst>
              <a:ext uri="{FF2B5EF4-FFF2-40B4-BE49-F238E27FC236}">
                <a16:creationId xmlns:a16="http://schemas.microsoft.com/office/drawing/2014/main" id="{25BBE3D7-0C0D-41FD-8A2E-F9DB07FA49C7}"/>
              </a:ext>
            </a:extLst>
          </p:cNvPr>
          <p:cNvSpPr txBox="1"/>
          <p:nvPr/>
        </p:nvSpPr>
        <p:spPr>
          <a:xfrm>
            <a:off x="8411656" y="5257640"/>
            <a:ext cx="3521326" cy="590931"/>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Less Risk of Problems</a:t>
            </a:r>
          </a:p>
          <a:p>
            <a:pPr>
              <a:lnSpc>
                <a:spcPct val="100000"/>
              </a:lnSpc>
            </a:pPr>
            <a:r>
              <a:rPr lang="en-US" sz="2400" b="1" dirty="0">
                <a:latin typeface="+mj-lt"/>
              </a:rPr>
              <a:t> Like Overfitting </a:t>
            </a:r>
            <a:endParaRPr lang="en-GB" sz="2400" b="1" dirty="0">
              <a:latin typeface="+mj-lt"/>
            </a:endParaRPr>
          </a:p>
        </p:txBody>
      </p:sp>
      <p:sp>
        <p:nvSpPr>
          <p:cNvPr id="37" name="Rectangle: Rounded Corners 36">
            <a:extLst>
              <a:ext uri="{FF2B5EF4-FFF2-40B4-BE49-F238E27FC236}">
                <a16:creationId xmlns:a16="http://schemas.microsoft.com/office/drawing/2014/main" id="{EB62F3B4-B196-9DFD-C176-334AB0E365D2}"/>
              </a:ext>
            </a:extLst>
          </p:cNvPr>
          <p:cNvSpPr/>
          <p:nvPr/>
        </p:nvSpPr>
        <p:spPr>
          <a:xfrm>
            <a:off x="8275762" y="1856738"/>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8" name="TextBox 37">
            <a:extLst>
              <a:ext uri="{FF2B5EF4-FFF2-40B4-BE49-F238E27FC236}">
                <a16:creationId xmlns:a16="http://schemas.microsoft.com/office/drawing/2014/main" id="{461858E0-71B4-EACD-90E1-F5147F632A55}"/>
              </a:ext>
            </a:extLst>
          </p:cNvPr>
          <p:cNvSpPr txBox="1"/>
          <p:nvPr/>
        </p:nvSpPr>
        <p:spPr>
          <a:xfrm>
            <a:off x="8442167" y="2859280"/>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Fits Our Data</a:t>
            </a:r>
            <a:endParaRPr lang="en-GB" sz="2400" b="1" dirty="0">
              <a:latin typeface="+mj-lt"/>
            </a:endParaRPr>
          </a:p>
        </p:txBody>
      </p:sp>
      <p:sp>
        <p:nvSpPr>
          <p:cNvPr id="39" name="Rectangle: Rounded Corners 38">
            <a:extLst>
              <a:ext uri="{FF2B5EF4-FFF2-40B4-BE49-F238E27FC236}">
                <a16:creationId xmlns:a16="http://schemas.microsoft.com/office/drawing/2014/main" id="{E7B2DC55-4181-D1ED-0E59-AD2E7E24A1D2}"/>
              </a:ext>
            </a:extLst>
          </p:cNvPr>
          <p:cNvSpPr/>
          <p:nvPr/>
        </p:nvSpPr>
        <p:spPr>
          <a:xfrm>
            <a:off x="4313862" y="1856738"/>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40" name="TextBox 39">
            <a:extLst>
              <a:ext uri="{FF2B5EF4-FFF2-40B4-BE49-F238E27FC236}">
                <a16:creationId xmlns:a16="http://schemas.microsoft.com/office/drawing/2014/main" id="{907ADC24-FB8B-5EA7-521F-61E2E9AF4A1B}"/>
              </a:ext>
            </a:extLst>
          </p:cNvPr>
          <p:cNvSpPr txBox="1"/>
          <p:nvPr/>
        </p:nvSpPr>
        <p:spPr>
          <a:xfrm>
            <a:off x="4370335" y="2808318"/>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b="1" dirty="0">
                <a:latin typeface="+mj-lt"/>
              </a:rPr>
              <a:t>Fair Performance </a:t>
            </a:r>
          </a:p>
        </p:txBody>
      </p:sp>
      <p:sp>
        <p:nvSpPr>
          <p:cNvPr id="41" name="TextBox 40">
            <a:extLst>
              <a:ext uri="{FF2B5EF4-FFF2-40B4-BE49-F238E27FC236}">
                <a16:creationId xmlns:a16="http://schemas.microsoft.com/office/drawing/2014/main" id="{ECB46610-57EA-0C59-AEA5-CF5A16401060}"/>
              </a:ext>
            </a:extLst>
          </p:cNvPr>
          <p:cNvSpPr txBox="1"/>
          <p:nvPr/>
        </p:nvSpPr>
        <p:spPr>
          <a:xfrm>
            <a:off x="403589" y="2282878"/>
            <a:ext cx="3733402" cy="1323439"/>
          </a:xfrm>
          <a:prstGeom prst="rect">
            <a:avLst/>
          </a:prstGeom>
          <a:noFill/>
        </p:spPr>
        <p:txBody>
          <a:bodyPr wrap="square">
            <a:spAutoFit/>
          </a:bodyPr>
          <a:lstStyle/>
          <a:p>
            <a:r>
              <a:rPr lang="en-US" sz="2000" dirty="0">
                <a:solidFill>
                  <a:schemeClr val="bg1">
                    <a:alpha val="90000"/>
                  </a:schemeClr>
                </a:solidFill>
              </a:rPr>
              <a:t>You can see clearly how each factor (like age or family history) changes the risk. (Shafiei et al., 2021).</a:t>
            </a:r>
          </a:p>
        </p:txBody>
      </p:sp>
      <p:sp>
        <p:nvSpPr>
          <p:cNvPr id="42" name="TextBox 41">
            <a:extLst>
              <a:ext uri="{FF2B5EF4-FFF2-40B4-BE49-F238E27FC236}">
                <a16:creationId xmlns:a16="http://schemas.microsoft.com/office/drawing/2014/main" id="{C6FBC3F5-85F6-DE45-DEAD-AB80F820149C}"/>
              </a:ext>
            </a:extLst>
          </p:cNvPr>
          <p:cNvSpPr txBox="1"/>
          <p:nvPr/>
        </p:nvSpPr>
        <p:spPr>
          <a:xfrm>
            <a:off x="4422461" y="2092275"/>
            <a:ext cx="3759607" cy="1631216"/>
          </a:xfrm>
          <a:prstGeom prst="rect">
            <a:avLst/>
          </a:prstGeom>
          <a:noFill/>
        </p:spPr>
        <p:txBody>
          <a:bodyPr wrap="square">
            <a:spAutoFit/>
          </a:bodyPr>
          <a:lstStyle/>
          <a:p>
            <a:r>
              <a:rPr lang="en-US" sz="2000" dirty="0">
                <a:solidFill>
                  <a:prstClr val="white">
                    <a:alpha val="90000"/>
                  </a:prstClr>
                </a:solidFill>
              </a:rPr>
              <a:t>Even in large datasets, complex models like SVMs and </a:t>
            </a:r>
            <a:r>
              <a:rPr lang="en-US" sz="2000" dirty="0" err="1">
                <a:solidFill>
                  <a:prstClr val="white">
                    <a:alpha val="90000"/>
                  </a:prstClr>
                </a:solidFill>
              </a:rPr>
              <a:t>XGBoost</a:t>
            </a:r>
            <a:r>
              <a:rPr lang="en-US" sz="2000" dirty="0">
                <a:solidFill>
                  <a:prstClr val="white">
                    <a:alpha val="90000"/>
                  </a:prstClr>
                </a:solidFill>
              </a:rPr>
              <a:t> showed no major advantage over logistic regression (AUC ≈ 0.70) </a:t>
            </a:r>
            <a:r>
              <a:rPr lang="en-IN" sz="2000" dirty="0">
                <a:solidFill>
                  <a:schemeClr val="bg1"/>
                </a:solidFill>
              </a:rPr>
              <a:t>(Bracher-Smith et al., 2022).</a:t>
            </a:r>
            <a:endParaRPr lang="en-US" sz="2000" dirty="0">
              <a:solidFill>
                <a:prstClr val="white">
                  <a:alpha val="90000"/>
                </a:prstClr>
              </a:solidFill>
            </a:endParaRPr>
          </a:p>
        </p:txBody>
      </p:sp>
      <p:sp>
        <p:nvSpPr>
          <p:cNvPr id="43" name="TextBox 42">
            <a:extLst>
              <a:ext uri="{FF2B5EF4-FFF2-40B4-BE49-F238E27FC236}">
                <a16:creationId xmlns:a16="http://schemas.microsoft.com/office/drawing/2014/main" id="{A42282FD-86D8-3489-9AEB-3C1B2720D4A2}"/>
              </a:ext>
            </a:extLst>
          </p:cNvPr>
          <p:cNvSpPr txBox="1"/>
          <p:nvPr/>
        </p:nvSpPr>
        <p:spPr>
          <a:xfrm>
            <a:off x="8520234" y="2636822"/>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Numbers and yes/no info are perfect for logistic regression.</a:t>
            </a:r>
          </a:p>
        </p:txBody>
      </p:sp>
      <p:sp>
        <p:nvSpPr>
          <p:cNvPr id="44" name="TextBox 43">
            <a:extLst>
              <a:ext uri="{FF2B5EF4-FFF2-40B4-BE49-F238E27FC236}">
                <a16:creationId xmlns:a16="http://schemas.microsoft.com/office/drawing/2014/main" id="{095D0400-4D6A-F96D-0E13-74CFF3DCEE26}"/>
              </a:ext>
            </a:extLst>
          </p:cNvPr>
          <p:cNvSpPr txBox="1"/>
          <p:nvPr/>
        </p:nvSpPr>
        <p:spPr>
          <a:xfrm>
            <a:off x="458355" y="4558927"/>
            <a:ext cx="3660145" cy="184665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chemeClr val="bg1">
                    <a:alpha val="90000"/>
                  </a:schemeClr>
                </a:solidFill>
              </a:rPr>
              <a:t>In a remission prediction study, logistic regression performed well on real clinical data and was externally validated in Canada, showing practical reliability </a:t>
            </a:r>
          </a:p>
          <a:p>
            <a:r>
              <a:rPr lang="en-US" sz="2000" dirty="0">
                <a:solidFill>
                  <a:schemeClr val="bg1">
                    <a:alpha val="90000"/>
                  </a:schemeClr>
                </a:solidFill>
              </a:rPr>
              <a:t>(Shafiei et al., 2021).</a:t>
            </a:r>
          </a:p>
        </p:txBody>
      </p:sp>
      <p:sp>
        <p:nvSpPr>
          <p:cNvPr id="45" name="TextBox 44">
            <a:extLst>
              <a:ext uri="{FF2B5EF4-FFF2-40B4-BE49-F238E27FC236}">
                <a16:creationId xmlns:a16="http://schemas.microsoft.com/office/drawing/2014/main" id="{13347D0E-D798-D9FF-7CBF-0D5C4422CA05}"/>
              </a:ext>
            </a:extLst>
          </p:cNvPr>
          <p:cNvSpPr txBox="1"/>
          <p:nvPr/>
        </p:nvSpPr>
        <p:spPr>
          <a:xfrm>
            <a:off x="4506567" y="4530297"/>
            <a:ext cx="3365192" cy="184665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Our team can use logistic regression without needing deep learning skills, GPUs, or high memory, unlike models like CNN-LSTM (Sadeghi et al., no date).</a:t>
            </a:r>
          </a:p>
        </p:txBody>
      </p:sp>
      <p:sp>
        <p:nvSpPr>
          <p:cNvPr id="49" name="TextBox 48">
            <a:extLst>
              <a:ext uri="{FF2B5EF4-FFF2-40B4-BE49-F238E27FC236}">
                <a16:creationId xmlns:a16="http://schemas.microsoft.com/office/drawing/2014/main" id="{C413622C-CBE9-7C9C-6122-8F47452C62FC}"/>
              </a:ext>
            </a:extLst>
          </p:cNvPr>
          <p:cNvSpPr txBox="1"/>
          <p:nvPr/>
        </p:nvSpPr>
        <p:spPr>
          <a:xfrm>
            <a:off x="8548681" y="4712814"/>
            <a:ext cx="3365192" cy="153888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Logistic regression avoids overfitting with regularization, unlike complex models like DNNs that need massive data to prevent it.</a:t>
            </a:r>
          </a:p>
        </p:txBody>
      </p:sp>
    </p:spTree>
    <p:extLst>
      <p:ext uri="{BB962C8B-B14F-4D97-AF65-F5344CB8AC3E}">
        <p14:creationId xmlns:p14="http://schemas.microsoft.com/office/powerpoint/2010/main" val="27212980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1000"/>
                                        <p:tgtEl>
                                          <p:spTgt spid="27"/>
                                        </p:tgtEl>
                                      </p:cBhvr>
                                    </p:animEffect>
                                    <p:anim calcmode="lin" valueType="num">
                                      <p:cBhvr>
                                        <p:cTn id="7" dur="1000"/>
                                        <p:tgtEl>
                                          <p:spTgt spid="27"/>
                                        </p:tgtEl>
                                        <p:attrNameLst>
                                          <p:attrName>ppt_x</p:attrName>
                                        </p:attrNameLst>
                                      </p:cBhvr>
                                      <p:tavLst>
                                        <p:tav tm="0">
                                          <p:val>
                                            <p:strVal val="ppt_x"/>
                                          </p:val>
                                        </p:tav>
                                        <p:tav tm="100000">
                                          <p:val>
                                            <p:strVal val="ppt_x"/>
                                          </p:val>
                                        </p:tav>
                                      </p:tavLst>
                                    </p:anim>
                                    <p:anim calcmode="lin" valueType="num">
                                      <p:cBhvr>
                                        <p:cTn id="8" dur="1000"/>
                                        <p:tgtEl>
                                          <p:spTgt spid="27"/>
                                        </p:tgtEl>
                                        <p:attrNameLst>
                                          <p:attrName>ppt_y</p:attrName>
                                        </p:attrNameLst>
                                      </p:cBhvr>
                                      <p:tavLst>
                                        <p:tav tm="0">
                                          <p:val>
                                            <p:strVal val="ppt_y"/>
                                          </p:val>
                                        </p:tav>
                                        <p:tav tm="100000">
                                          <p:val>
                                            <p:strVal val="ppt_y+.1"/>
                                          </p:val>
                                        </p:tav>
                                      </p:tavLst>
                                    </p:anim>
                                    <p:set>
                                      <p:cBhvr>
                                        <p:cTn id="9" dur="1" fill="hold">
                                          <p:stCondLst>
                                            <p:cond delay="999"/>
                                          </p:stCondLst>
                                        </p:cTn>
                                        <p:tgtEl>
                                          <p:spTgt spid="27"/>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1000"/>
                                        <p:tgtEl>
                                          <p:spTgt spid="41"/>
                                        </p:tgtEl>
                                      </p:cBhvr>
                                    </p:animEffect>
                                    <p:anim calcmode="lin" valueType="num">
                                      <p:cBhvr>
                                        <p:cTn id="15" dur="1000" fill="hold"/>
                                        <p:tgtEl>
                                          <p:spTgt spid="41"/>
                                        </p:tgtEl>
                                        <p:attrNameLst>
                                          <p:attrName>ppt_x</p:attrName>
                                        </p:attrNameLst>
                                      </p:cBhvr>
                                      <p:tavLst>
                                        <p:tav tm="0">
                                          <p:val>
                                            <p:strVal val="#ppt_x"/>
                                          </p:val>
                                        </p:tav>
                                        <p:tav tm="100000">
                                          <p:val>
                                            <p:strVal val="#ppt_x"/>
                                          </p:val>
                                        </p:tav>
                                      </p:tavLst>
                                    </p:anim>
                                    <p:anim calcmode="lin" valueType="num">
                                      <p:cBhvr>
                                        <p:cTn id="16"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xit" presetSubtype="0" fill="hold" grpId="0" nodeType="clickEffect">
                                  <p:stCondLst>
                                    <p:cond delay="0"/>
                                  </p:stCondLst>
                                  <p:childTnLst>
                                    <p:animEffect transition="out" filter="fade">
                                      <p:cBhvr>
                                        <p:cTn id="20" dur="1000"/>
                                        <p:tgtEl>
                                          <p:spTgt spid="40"/>
                                        </p:tgtEl>
                                      </p:cBhvr>
                                    </p:animEffect>
                                    <p:anim calcmode="lin" valueType="num">
                                      <p:cBhvr>
                                        <p:cTn id="21" dur="1000"/>
                                        <p:tgtEl>
                                          <p:spTgt spid="40"/>
                                        </p:tgtEl>
                                        <p:attrNameLst>
                                          <p:attrName>ppt_x</p:attrName>
                                        </p:attrNameLst>
                                      </p:cBhvr>
                                      <p:tavLst>
                                        <p:tav tm="0">
                                          <p:val>
                                            <p:strVal val="ppt_x"/>
                                          </p:val>
                                        </p:tav>
                                        <p:tav tm="100000">
                                          <p:val>
                                            <p:strVal val="ppt_x"/>
                                          </p:val>
                                        </p:tav>
                                      </p:tavLst>
                                    </p:anim>
                                    <p:anim calcmode="lin" valueType="num">
                                      <p:cBhvr>
                                        <p:cTn id="22" dur="1000"/>
                                        <p:tgtEl>
                                          <p:spTgt spid="40"/>
                                        </p:tgtEl>
                                        <p:attrNameLst>
                                          <p:attrName>ppt_y</p:attrName>
                                        </p:attrNameLst>
                                      </p:cBhvr>
                                      <p:tavLst>
                                        <p:tav tm="0">
                                          <p:val>
                                            <p:strVal val="ppt_y"/>
                                          </p:val>
                                        </p:tav>
                                        <p:tav tm="100000">
                                          <p:val>
                                            <p:strVal val="ppt_y+.1"/>
                                          </p:val>
                                        </p:tav>
                                      </p:tavLst>
                                    </p:anim>
                                    <p:set>
                                      <p:cBhvr>
                                        <p:cTn id="23" dur="1" fill="hold">
                                          <p:stCondLst>
                                            <p:cond delay="999"/>
                                          </p:stCondLst>
                                        </p:cTn>
                                        <p:tgtEl>
                                          <p:spTgt spid="40"/>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1000"/>
                                        <p:tgtEl>
                                          <p:spTgt spid="42"/>
                                        </p:tgtEl>
                                      </p:cBhvr>
                                    </p:animEffect>
                                    <p:anim calcmode="lin" valueType="num">
                                      <p:cBhvr>
                                        <p:cTn id="29" dur="1000" fill="hold"/>
                                        <p:tgtEl>
                                          <p:spTgt spid="42"/>
                                        </p:tgtEl>
                                        <p:attrNameLst>
                                          <p:attrName>ppt_x</p:attrName>
                                        </p:attrNameLst>
                                      </p:cBhvr>
                                      <p:tavLst>
                                        <p:tav tm="0">
                                          <p:val>
                                            <p:strVal val="#ppt_x"/>
                                          </p:val>
                                        </p:tav>
                                        <p:tav tm="100000">
                                          <p:val>
                                            <p:strVal val="#ppt_x"/>
                                          </p:val>
                                        </p:tav>
                                      </p:tavLst>
                                    </p:anim>
                                    <p:anim calcmode="lin" valueType="num">
                                      <p:cBhvr>
                                        <p:cTn id="30"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xit" presetSubtype="0" fill="hold" grpId="0" nodeType="clickEffect">
                                  <p:stCondLst>
                                    <p:cond delay="0"/>
                                  </p:stCondLst>
                                  <p:childTnLst>
                                    <p:animEffect transition="out" filter="fade">
                                      <p:cBhvr>
                                        <p:cTn id="34" dur="1000"/>
                                        <p:tgtEl>
                                          <p:spTgt spid="38"/>
                                        </p:tgtEl>
                                      </p:cBhvr>
                                    </p:animEffect>
                                    <p:anim calcmode="lin" valueType="num">
                                      <p:cBhvr>
                                        <p:cTn id="35" dur="1000"/>
                                        <p:tgtEl>
                                          <p:spTgt spid="38"/>
                                        </p:tgtEl>
                                        <p:attrNameLst>
                                          <p:attrName>ppt_x</p:attrName>
                                        </p:attrNameLst>
                                      </p:cBhvr>
                                      <p:tavLst>
                                        <p:tav tm="0">
                                          <p:val>
                                            <p:strVal val="ppt_x"/>
                                          </p:val>
                                        </p:tav>
                                        <p:tav tm="100000">
                                          <p:val>
                                            <p:strVal val="ppt_x"/>
                                          </p:val>
                                        </p:tav>
                                      </p:tavLst>
                                    </p:anim>
                                    <p:anim calcmode="lin" valueType="num">
                                      <p:cBhvr>
                                        <p:cTn id="36" dur="1000"/>
                                        <p:tgtEl>
                                          <p:spTgt spid="38"/>
                                        </p:tgtEl>
                                        <p:attrNameLst>
                                          <p:attrName>ppt_y</p:attrName>
                                        </p:attrNameLst>
                                      </p:cBhvr>
                                      <p:tavLst>
                                        <p:tav tm="0">
                                          <p:val>
                                            <p:strVal val="ppt_y"/>
                                          </p:val>
                                        </p:tav>
                                        <p:tav tm="100000">
                                          <p:val>
                                            <p:strVal val="ppt_y+.1"/>
                                          </p:val>
                                        </p:tav>
                                      </p:tavLst>
                                    </p:anim>
                                    <p:set>
                                      <p:cBhvr>
                                        <p:cTn id="37" dur="1" fill="hold">
                                          <p:stCondLst>
                                            <p:cond delay="999"/>
                                          </p:stCondLst>
                                        </p:cTn>
                                        <p:tgtEl>
                                          <p:spTgt spid="38"/>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fade">
                                      <p:cBhvr>
                                        <p:cTn id="42" dur="1000"/>
                                        <p:tgtEl>
                                          <p:spTgt spid="43"/>
                                        </p:tgtEl>
                                      </p:cBhvr>
                                    </p:animEffect>
                                    <p:anim calcmode="lin" valueType="num">
                                      <p:cBhvr>
                                        <p:cTn id="43" dur="1000" fill="hold"/>
                                        <p:tgtEl>
                                          <p:spTgt spid="43"/>
                                        </p:tgtEl>
                                        <p:attrNameLst>
                                          <p:attrName>ppt_x</p:attrName>
                                        </p:attrNameLst>
                                      </p:cBhvr>
                                      <p:tavLst>
                                        <p:tav tm="0">
                                          <p:val>
                                            <p:strVal val="#ppt_x"/>
                                          </p:val>
                                        </p:tav>
                                        <p:tav tm="100000">
                                          <p:val>
                                            <p:strVal val="#ppt_x"/>
                                          </p:val>
                                        </p:tav>
                                      </p:tavLst>
                                    </p:anim>
                                    <p:anim calcmode="lin" valueType="num">
                                      <p:cBhvr>
                                        <p:cTn id="44"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xit" presetSubtype="0" fill="hold" grpId="0" nodeType="clickEffect">
                                  <p:stCondLst>
                                    <p:cond delay="0"/>
                                  </p:stCondLst>
                                  <p:childTnLst>
                                    <p:animEffect transition="out" filter="fade">
                                      <p:cBhvr>
                                        <p:cTn id="48" dur="1000"/>
                                        <p:tgtEl>
                                          <p:spTgt spid="32"/>
                                        </p:tgtEl>
                                      </p:cBhvr>
                                    </p:animEffect>
                                    <p:anim calcmode="lin" valueType="num">
                                      <p:cBhvr>
                                        <p:cTn id="49" dur="1000"/>
                                        <p:tgtEl>
                                          <p:spTgt spid="32"/>
                                        </p:tgtEl>
                                        <p:attrNameLst>
                                          <p:attrName>ppt_x</p:attrName>
                                        </p:attrNameLst>
                                      </p:cBhvr>
                                      <p:tavLst>
                                        <p:tav tm="0">
                                          <p:val>
                                            <p:strVal val="ppt_x"/>
                                          </p:val>
                                        </p:tav>
                                        <p:tav tm="100000">
                                          <p:val>
                                            <p:strVal val="ppt_x"/>
                                          </p:val>
                                        </p:tav>
                                      </p:tavLst>
                                    </p:anim>
                                    <p:anim calcmode="lin" valueType="num">
                                      <p:cBhvr>
                                        <p:cTn id="50" dur="1000"/>
                                        <p:tgtEl>
                                          <p:spTgt spid="32"/>
                                        </p:tgtEl>
                                        <p:attrNameLst>
                                          <p:attrName>ppt_y</p:attrName>
                                        </p:attrNameLst>
                                      </p:cBhvr>
                                      <p:tavLst>
                                        <p:tav tm="0">
                                          <p:val>
                                            <p:strVal val="ppt_y"/>
                                          </p:val>
                                        </p:tav>
                                        <p:tav tm="100000">
                                          <p:val>
                                            <p:strVal val="ppt_y+.1"/>
                                          </p:val>
                                        </p:tav>
                                      </p:tavLst>
                                    </p:anim>
                                    <p:set>
                                      <p:cBhvr>
                                        <p:cTn id="51" dur="1" fill="hold">
                                          <p:stCondLst>
                                            <p:cond delay="999"/>
                                          </p:stCondLst>
                                        </p:cTn>
                                        <p:tgtEl>
                                          <p:spTgt spid="32"/>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1000"/>
                                        <p:tgtEl>
                                          <p:spTgt spid="44"/>
                                        </p:tgtEl>
                                      </p:cBhvr>
                                    </p:animEffect>
                                    <p:anim calcmode="lin" valueType="num">
                                      <p:cBhvr>
                                        <p:cTn id="57" dur="1000" fill="hold"/>
                                        <p:tgtEl>
                                          <p:spTgt spid="44"/>
                                        </p:tgtEl>
                                        <p:attrNameLst>
                                          <p:attrName>ppt_x</p:attrName>
                                        </p:attrNameLst>
                                      </p:cBhvr>
                                      <p:tavLst>
                                        <p:tav tm="0">
                                          <p:val>
                                            <p:strVal val="#ppt_x"/>
                                          </p:val>
                                        </p:tav>
                                        <p:tav tm="100000">
                                          <p:val>
                                            <p:strVal val="#ppt_x"/>
                                          </p:val>
                                        </p:tav>
                                      </p:tavLst>
                                    </p:anim>
                                    <p:anim calcmode="lin" valueType="num">
                                      <p:cBhvr>
                                        <p:cTn id="58"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xit" presetSubtype="0" fill="hold" grpId="0" nodeType="clickEffect">
                                  <p:stCondLst>
                                    <p:cond delay="0"/>
                                  </p:stCondLst>
                                  <p:childTnLst>
                                    <p:animEffect transition="out" filter="fade">
                                      <p:cBhvr>
                                        <p:cTn id="62" dur="1000"/>
                                        <p:tgtEl>
                                          <p:spTgt spid="34"/>
                                        </p:tgtEl>
                                      </p:cBhvr>
                                    </p:animEffect>
                                    <p:anim calcmode="lin" valueType="num">
                                      <p:cBhvr>
                                        <p:cTn id="63" dur="1000"/>
                                        <p:tgtEl>
                                          <p:spTgt spid="34"/>
                                        </p:tgtEl>
                                        <p:attrNameLst>
                                          <p:attrName>ppt_x</p:attrName>
                                        </p:attrNameLst>
                                      </p:cBhvr>
                                      <p:tavLst>
                                        <p:tav tm="0">
                                          <p:val>
                                            <p:strVal val="ppt_x"/>
                                          </p:val>
                                        </p:tav>
                                        <p:tav tm="100000">
                                          <p:val>
                                            <p:strVal val="ppt_x"/>
                                          </p:val>
                                        </p:tav>
                                      </p:tavLst>
                                    </p:anim>
                                    <p:anim calcmode="lin" valueType="num">
                                      <p:cBhvr>
                                        <p:cTn id="64" dur="1000"/>
                                        <p:tgtEl>
                                          <p:spTgt spid="34"/>
                                        </p:tgtEl>
                                        <p:attrNameLst>
                                          <p:attrName>ppt_y</p:attrName>
                                        </p:attrNameLst>
                                      </p:cBhvr>
                                      <p:tavLst>
                                        <p:tav tm="0">
                                          <p:val>
                                            <p:strVal val="ppt_y"/>
                                          </p:val>
                                        </p:tav>
                                        <p:tav tm="100000">
                                          <p:val>
                                            <p:strVal val="ppt_y+.1"/>
                                          </p:val>
                                        </p:tav>
                                      </p:tavLst>
                                    </p:anim>
                                    <p:set>
                                      <p:cBhvr>
                                        <p:cTn id="65" dur="1" fill="hold">
                                          <p:stCondLst>
                                            <p:cond delay="999"/>
                                          </p:stCondLst>
                                        </p:cTn>
                                        <p:tgtEl>
                                          <p:spTgt spid="34"/>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1000"/>
                                        <p:tgtEl>
                                          <p:spTgt spid="45"/>
                                        </p:tgtEl>
                                      </p:cBhvr>
                                    </p:animEffect>
                                    <p:anim calcmode="lin" valueType="num">
                                      <p:cBhvr>
                                        <p:cTn id="71" dur="1000" fill="hold"/>
                                        <p:tgtEl>
                                          <p:spTgt spid="45"/>
                                        </p:tgtEl>
                                        <p:attrNameLst>
                                          <p:attrName>ppt_x</p:attrName>
                                        </p:attrNameLst>
                                      </p:cBhvr>
                                      <p:tavLst>
                                        <p:tav tm="0">
                                          <p:val>
                                            <p:strVal val="#ppt_x"/>
                                          </p:val>
                                        </p:tav>
                                        <p:tav tm="100000">
                                          <p:val>
                                            <p:strVal val="#ppt_x"/>
                                          </p:val>
                                        </p:tav>
                                      </p:tavLst>
                                    </p:anim>
                                    <p:anim calcmode="lin" valueType="num">
                                      <p:cBhvr>
                                        <p:cTn id="72"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xit" presetSubtype="0" fill="hold" grpId="0" nodeType="clickEffect">
                                  <p:stCondLst>
                                    <p:cond delay="0"/>
                                  </p:stCondLst>
                                  <p:childTnLst>
                                    <p:animEffect transition="out" filter="fade">
                                      <p:cBhvr>
                                        <p:cTn id="76" dur="1000"/>
                                        <p:tgtEl>
                                          <p:spTgt spid="36"/>
                                        </p:tgtEl>
                                      </p:cBhvr>
                                    </p:animEffect>
                                    <p:anim calcmode="lin" valueType="num">
                                      <p:cBhvr>
                                        <p:cTn id="77" dur="1000"/>
                                        <p:tgtEl>
                                          <p:spTgt spid="36"/>
                                        </p:tgtEl>
                                        <p:attrNameLst>
                                          <p:attrName>ppt_x</p:attrName>
                                        </p:attrNameLst>
                                      </p:cBhvr>
                                      <p:tavLst>
                                        <p:tav tm="0">
                                          <p:val>
                                            <p:strVal val="ppt_x"/>
                                          </p:val>
                                        </p:tav>
                                        <p:tav tm="100000">
                                          <p:val>
                                            <p:strVal val="ppt_x"/>
                                          </p:val>
                                        </p:tav>
                                      </p:tavLst>
                                    </p:anim>
                                    <p:anim calcmode="lin" valueType="num">
                                      <p:cBhvr>
                                        <p:cTn id="78" dur="1000"/>
                                        <p:tgtEl>
                                          <p:spTgt spid="36"/>
                                        </p:tgtEl>
                                        <p:attrNameLst>
                                          <p:attrName>ppt_y</p:attrName>
                                        </p:attrNameLst>
                                      </p:cBhvr>
                                      <p:tavLst>
                                        <p:tav tm="0">
                                          <p:val>
                                            <p:strVal val="ppt_y"/>
                                          </p:val>
                                        </p:tav>
                                        <p:tav tm="100000">
                                          <p:val>
                                            <p:strVal val="ppt_y+.1"/>
                                          </p:val>
                                        </p:tav>
                                      </p:tavLst>
                                    </p:anim>
                                    <p:set>
                                      <p:cBhvr>
                                        <p:cTn id="79" dur="1" fill="hold">
                                          <p:stCondLst>
                                            <p:cond delay="999"/>
                                          </p:stCondLst>
                                        </p:cTn>
                                        <p:tgtEl>
                                          <p:spTgt spid="36"/>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49"/>
                                        </p:tgtEl>
                                        <p:attrNameLst>
                                          <p:attrName>style.visibility</p:attrName>
                                        </p:attrNameLst>
                                      </p:cBhvr>
                                      <p:to>
                                        <p:strVal val="visible"/>
                                      </p:to>
                                    </p:set>
                                    <p:animEffect transition="in" filter="fade">
                                      <p:cBhvr>
                                        <p:cTn id="84" dur="1000"/>
                                        <p:tgtEl>
                                          <p:spTgt spid="49"/>
                                        </p:tgtEl>
                                      </p:cBhvr>
                                    </p:animEffect>
                                    <p:anim calcmode="lin" valueType="num">
                                      <p:cBhvr>
                                        <p:cTn id="85" dur="1000" fill="hold"/>
                                        <p:tgtEl>
                                          <p:spTgt spid="49"/>
                                        </p:tgtEl>
                                        <p:attrNameLst>
                                          <p:attrName>ppt_x</p:attrName>
                                        </p:attrNameLst>
                                      </p:cBhvr>
                                      <p:tavLst>
                                        <p:tav tm="0">
                                          <p:val>
                                            <p:strVal val="#ppt_x"/>
                                          </p:val>
                                        </p:tav>
                                        <p:tav tm="100000">
                                          <p:val>
                                            <p:strVal val="#ppt_x"/>
                                          </p:val>
                                        </p:tav>
                                      </p:tavLst>
                                    </p:anim>
                                    <p:anim calcmode="lin" valueType="num">
                                      <p:cBhvr>
                                        <p:cTn id="86"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2" grpId="0"/>
      <p:bldP spid="34" grpId="0"/>
      <p:bldP spid="36" grpId="0"/>
      <p:bldP spid="38" grpId="0"/>
      <p:bldP spid="40" grpId="0"/>
      <p:bldP spid="41" grpId="0"/>
      <p:bldP spid="42" grpId="0"/>
      <p:bldP spid="43" grpId="0"/>
      <p:bldP spid="44" grpId="0"/>
      <p:bldP spid="45" grpId="0"/>
      <p:bldP spid="49" grpId="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90B4416-E9BB-A9FC-F9A6-82412BE1E3AF}"/>
            </a:ext>
          </a:extLst>
        </p:cNvPr>
        <p:cNvGrpSpPr/>
        <p:nvPr/>
      </p:nvGrpSpPr>
      <p:grpSpPr>
        <a:xfrm>
          <a:off x="0" y="0"/>
          <a:ext cx="0" cy="0"/>
          <a:chOff x="0" y="0"/>
          <a:chExt cx="0" cy="0"/>
        </a:xfrm>
      </p:grpSpPr>
      <p:sp>
        <p:nvSpPr>
          <p:cNvPr id="29" name="TextBox 28">
            <a:extLst>
              <a:ext uri="{FF2B5EF4-FFF2-40B4-BE49-F238E27FC236}">
                <a16:creationId xmlns:a16="http://schemas.microsoft.com/office/drawing/2014/main" id="{07043534-650A-6574-37D1-8C2196C90D57}"/>
              </a:ext>
            </a:extLst>
          </p:cNvPr>
          <p:cNvSpPr txBox="1"/>
          <p:nvPr/>
        </p:nvSpPr>
        <p:spPr>
          <a:xfrm>
            <a:off x="248093" y="304364"/>
            <a:ext cx="553956" cy="319415"/>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Lit.</a:t>
            </a:r>
          </a:p>
        </p:txBody>
      </p:sp>
      <p:sp>
        <p:nvSpPr>
          <p:cNvPr id="30" name="TextBox 29">
            <a:extLst>
              <a:ext uri="{FF2B5EF4-FFF2-40B4-BE49-F238E27FC236}">
                <a16:creationId xmlns:a16="http://schemas.microsoft.com/office/drawing/2014/main" id="{A2555248-6D00-2831-47F8-7D16C9FD240B}"/>
              </a:ext>
            </a:extLst>
          </p:cNvPr>
          <p:cNvSpPr txBox="1"/>
          <p:nvPr/>
        </p:nvSpPr>
        <p:spPr>
          <a:xfrm>
            <a:off x="617697" y="304333"/>
            <a:ext cx="957970" cy="319446"/>
          </a:xfrm>
          <a:prstGeom prst="rect">
            <a:avLst/>
          </a:prstGeom>
          <a:noFill/>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view</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31" name="Group 30">
            <a:extLst>
              <a:ext uri="{FF2B5EF4-FFF2-40B4-BE49-F238E27FC236}">
                <a16:creationId xmlns:a16="http://schemas.microsoft.com/office/drawing/2014/main" id="{A660BB41-06C6-7AB3-862F-ADA394680BD0}"/>
              </a:ext>
            </a:extLst>
          </p:cNvPr>
          <p:cNvGrpSpPr/>
          <p:nvPr/>
        </p:nvGrpSpPr>
        <p:grpSpPr>
          <a:xfrm>
            <a:off x="299484" y="347343"/>
            <a:ext cx="11644423" cy="507586"/>
            <a:chOff x="299484" y="347343"/>
            <a:chExt cx="11644423" cy="507586"/>
          </a:xfrm>
        </p:grpSpPr>
        <p:cxnSp>
          <p:nvCxnSpPr>
            <p:cNvPr id="5" name="Straight Connector 4">
              <a:extLst>
                <a:ext uri="{FF2B5EF4-FFF2-40B4-BE49-F238E27FC236}">
                  <a16:creationId xmlns:a16="http://schemas.microsoft.com/office/drawing/2014/main" id="{C8A1C4E1-39F4-2810-E874-92E301D241C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46" name="Group 45">
              <a:extLst>
                <a:ext uri="{FF2B5EF4-FFF2-40B4-BE49-F238E27FC236}">
                  <a16:creationId xmlns:a16="http://schemas.microsoft.com/office/drawing/2014/main" id="{5DEE5A20-F5A3-2060-A550-2DE85E569CE8}"/>
                </a:ext>
              </a:extLst>
            </p:cNvPr>
            <p:cNvGrpSpPr/>
            <p:nvPr/>
          </p:nvGrpSpPr>
          <p:grpSpPr>
            <a:xfrm>
              <a:off x="5842207" y="347343"/>
              <a:ext cx="507586" cy="507586"/>
              <a:chOff x="3886094" y="1867721"/>
              <a:chExt cx="507586" cy="507586"/>
            </a:xfrm>
          </p:grpSpPr>
          <p:sp useBgFill="1">
            <p:nvSpPr>
              <p:cNvPr id="47" name="Oval 46">
                <a:extLst>
                  <a:ext uri="{FF2B5EF4-FFF2-40B4-BE49-F238E27FC236}">
                    <a16:creationId xmlns:a16="http://schemas.microsoft.com/office/drawing/2014/main" id="{9FDEE827-B0C6-1793-26A8-3334F66776E8}"/>
                  </a:ext>
                </a:extLst>
              </p:cNvPr>
              <p:cNvSpPr/>
              <p:nvPr/>
            </p:nvSpPr>
            <p:spPr>
              <a:xfrm>
                <a:off x="3886094" y="1867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8" name="Graphic 47">
                <a:extLst>
                  <a:ext uri="{FF2B5EF4-FFF2-40B4-BE49-F238E27FC236}">
                    <a16:creationId xmlns:a16="http://schemas.microsoft.com/office/drawing/2014/main" id="{DB6902A3-2136-E545-4187-A1D78557F7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11871" y="1969676"/>
                <a:ext cx="256032" cy="256032"/>
              </a:xfrm>
              <a:prstGeom prst="rect">
                <a:avLst/>
              </a:prstGeom>
            </p:spPr>
          </p:pic>
        </p:grpSp>
      </p:grpSp>
      <p:sp>
        <p:nvSpPr>
          <p:cNvPr id="7" name="TextBox 6">
            <a:extLst>
              <a:ext uri="{FF2B5EF4-FFF2-40B4-BE49-F238E27FC236}">
                <a16:creationId xmlns:a16="http://schemas.microsoft.com/office/drawing/2014/main" id="{575D6A36-995C-6A74-4A00-84D6105ED51A}"/>
              </a:ext>
            </a:extLst>
          </p:cNvPr>
          <p:cNvSpPr txBox="1"/>
          <p:nvPr/>
        </p:nvSpPr>
        <p:spPr>
          <a:xfrm>
            <a:off x="10145989" y="2788169"/>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grpSp>
        <p:nvGrpSpPr>
          <p:cNvPr id="8" name="Group 7">
            <a:extLst>
              <a:ext uri="{FF2B5EF4-FFF2-40B4-BE49-F238E27FC236}">
                <a16:creationId xmlns:a16="http://schemas.microsoft.com/office/drawing/2014/main" id="{DA5B181E-E0CF-E7F4-0516-A6EE550DE4B0}"/>
              </a:ext>
            </a:extLst>
          </p:cNvPr>
          <p:cNvGrpSpPr/>
          <p:nvPr/>
        </p:nvGrpSpPr>
        <p:grpSpPr>
          <a:xfrm>
            <a:off x="4411606" y="2405463"/>
            <a:ext cx="3461732" cy="647654"/>
            <a:chOff x="480251" y="2349133"/>
            <a:chExt cx="3461732" cy="647654"/>
          </a:xfrm>
        </p:grpSpPr>
        <p:sp>
          <p:nvSpPr>
            <p:cNvPr id="9" name="TextBox 8">
              <a:extLst>
                <a:ext uri="{FF2B5EF4-FFF2-40B4-BE49-F238E27FC236}">
                  <a16:creationId xmlns:a16="http://schemas.microsoft.com/office/drawing/2014/main" id="{883AC03F-ED3C-ADD2-ED56-BC4B5A354B1D}"/>
                </a:ext>
              </a:extLst>
            </p:cNvPr>
            <p:cNvSpPr txBox="1"/>
            <p:nvPr/>
          </p:nvSpPr>
          <p:spPr>
            <a:xfrm>
              <a:off x="2164613" y="2749347"/>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sp>
          <p:nvSpPr>
            <p:cNvPr id="10" name="TextBox 9">
              <a:extLst>
                <a:ext uri="{FF2B5EF4-FFF2-40B4-BE49-F238E27FC236}">
                  <a16:creationId xmlns:a16="http://schemas.microsoft.com/office/drawing/2014/main" id="{F3AFE40A-6CDD-BEB4-5792-34C10D59079C}"/>
                </a:ext>
              </a:extLst>
            </p:cNvPr>
            <p:cNvSpPr txBox="1"/>
            <p:nvPr/>
          </p:nvSpPr>
          <p:spPr>
            <a:xfrm>
              <a:off x="480251" y="2349133"/>
              <a:ext cx="346173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grpSp>
        <p:nvGrpSpPr>
          <p:cNvPr id="11" name="Group 10">
            <a:extLst>
              <a:ext uri="{FF2B5EF4-FFF2-40B4-BE49-F238E27FC236}">
                <a16:creationId xmlns:a16="http://schemas.microsoft.com/office/drawing/2014/main" id="{642D8745-E41D-DDA6-5254-ACCECD05D9B2}"/>
              </a:ext>
            </a:extLst>
          </p:cNvPr>
          <p:cNvGrpSpPr/>
          <p:nvPr/>
        </p:nvGrpSpPr>
        <p:grpSpPr>
          <a:xfrm>
            <a:off x="346174" y="4893972"/>
            <a:ext cx="3660145" cy="482356"/>
            <a:chOff x="370330" y="2692586"/>
            <a:chExt cx="3660145" cy="482356"/>
          </a:xfrm>
        </p:grpSpPr>
        <p:sp>
          <p:nvSpPr>
            <p:cNvPr id="12" name="TextBox 11">
              <a:extLst>
                <a:ext uri="{FF2B5EF4-FFF2-40B4-BE49-F238E27FC236}">
                  <a16:creationId xmlns:a16="http://schemas.microsoft.com/office/drawing/2014/main" id="{806E3D44-9783-01EA-091C-3BCBE0F8B111}"/>
                </a:ext>
              </a:extLst>
            </p:cNvPr>
            <p:cNvSpPr txBox="1"/>
            <p:nvPr/>
          </p:nvSpPr>
          <p:spPr>
            <a:xfrm>
              <a:off x="490079" y="2805610"/>
              <a:ext cx="3494349" cy="369332"/>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lnSpc>
                  <a:spcPct val="100000"/>
                </a:lnSpc>
              </a:pPr>
              <a:endParaRPr lang="en-GB" sz="2400" b="1" dirty="0">
                <a:latin typeface="+mj-lt"/>
              </a:endParaRPr>
            </a:p>
          </p:txBody>
        </p:sp>
        <p:sp>
          <p:nvSpPr>
            <p:cNvPr id="13" name="TextBox 12">
              <a:extLst>
                <a:ext uri="{FF2B5EF4-FFF2-40B4-BE49-F238E27FC236}">
                  <a16:creationId xmlns:a16="http://schemas.microsoft.com/office/drawing/2014/main" id="{1DCAEA41-0A41-7FBC-2D1D-E471F6494269}"/>
                </a:ext>
              </a:extLst>
            </p:cNvPr>
            <p:cNvSpPr txBox="1"/>
            <p:nvPr/>
          </p:nvSpPr>
          <p:spPr>
            <a:xfrm>
              <a:off x="370330" y="2692586"/>
              <a:ext cx="3660145"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schemeClr val="bg1">
                    <a:alpha val="90000"/>
                  </a:schemeClr>
                </a:solidFill>
              </a:endParaRPr>
            </a:p>
          </p:txBody>
        </p:sp>
      </p:grpSp>
      <p:grpSp>
        <p:nvGrpSpPr>
          <p:cNvPr id="14" name="Group 13">
            <a:extLst>
              <a:ext uri="{FF2B5EF4-FFF2-40B4-BE49-F238E27FC236}">
                <a16:creationId xmlns:a16="http://schemas.microsoft.com/office/drawing/2014/main" id="{016C7C14-E269-36B9-4314-A28E11701633}"/>
              </a:ext>
            </a:extLst>
          </p:cNvPr>
          <p:cNvGrpSpPr/>
          <p:nvPr/>
        </p:nvGrpSpPr>
        <p:grpSpPr>
          <a:xfrm>
            <a:off x="8102535" y="5013173"/>
            <a:ext cx="3365192" cy="390461"/>
            <a:chOff x="215667" y="2811787"/>
            <a:chExt cx="3365192" cy="390461"/>
          </a:xfrm>
        </p:grpSpPr>
        <p:sp>
          <p:nvSpPr>
            <p:cNvPr id="15" name="TextBox 14">
              <a:extLst>
                <a:ext uri="{FF2B5EF4-FFF2-40B4-BE49-F238E27FC236}">
                  <a16:creationId xmlns:a16="http://schemas.microsoft.com/office/drawing/2014/main" id="{2B30976D-911B-684B-EF96-21EF4E0E47B6}"/>
                </a:ext>
              </a:extLst>
            </p:cNvPr>
            <p:cNvSpPr txBox="1"/>
            <p:nvPr/>
          </p:nvSpPr>
          <p:spPr>
            <a:xfrm>
              <a:off x="2216671" y="2954808"/>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sp>
          <p:nvSpPr>
            <p:cNvPr id="16" name="TextBox 15">
              <a:extLst>
                <a:ext uri="{FF2B5EF4-FFF2-40B4-BE49-F238E27FC236}">
                  <a16:creationId xmlns:a16="http://schemas.microsoft.com/office/drawing/2014/main" id="{6F315DDD-461E-0ED9-E231-F25938A33B33}"/>
                </a:ext>
              </a:extLst>
            </p:cNvPr>
            <p:cNvSpPr txBox="1"/>
            <p:nvPr/>
          </p:nvSpPr>
          <p:spPr>
            <a:xfrm>
              <a:off x="215667" y="2811787"/>
              <a:ext cx="336519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grpSp>
        <p:nvGrpSpPr>
          <p:cNvPr id="17" name="Group 16">
            <a:extLst>
              <a:ext uri="{FF2B5EF4-FFF2-40B4-BE49-F238E27FC236}">
                <a16:creationId xmlns:a16="http://schemas.microsoft.com/office/drawing/2014/main" id="{1DFBA015-250A-523D-0D00-89A2F2326D8A}"/>
              </a:ext>
            </a:extLst>
          </p:cNvPr>
          <p:cNvGrpSpPr/>
          <p:nvPr/>
        </p:nvGrpSpPr>
        <p:grpSpPr>
          <a:xfrm>
            <a:off x="4208151" y="4836958"/>
            <a:ext cx="3365192" cy="612231"/>
            <a:chOff x="276796" y="2635572"/>
            <a:chExt cx="3365192" cy="612231"/>
          </a:xfrm>
        </p:grpSpPr>
        <p:sp>
          <p:nvSpPr>
            <p:cNvPr id="18" name="TextBox 17">
              <a:extLst>
                <a:ext uri="{FF2B5EF4-FFF2-40B4-BE49-F238E27FC236}">
                  <a16:creationId xmlns:a16="http://schemas.microsoft.com/office/drawing/2014/main" id="{859D3D94-F91C-8DD7-1F21-FD48ACBC6D68}"/>
                </a:ext>
              </a:extLst>
            </p:cNvPr>
            <p:cNvSpPr txBox="1"/>
            <p:nvPr/>
          </p:nvSpPr>
          <p:spPr>
            <a:xfrm>
              <a:off x="519001" y="3000363"/>
              <a:ext cx="65"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endParaRPr lang="en-GB" sz="2400" b="1" dirty="0">
                <a:latin typeface="+mj-lt"/>
              </a:endParaRPr>
            </a:p>
          </p:txBody>
        </p:sp>
        <p:sp>
          <p:nvSpPr>
            <p:cNvPr id="19" name="TextBox 18">
              <a:extLst>
                <a:ext uri="{FF2B5EF4-FFF2-40B4-BE49-F238E27FC236}">
                  <a16:creationId xmlns:a16="http://schemas.microsoft.com/office/drawing/2014/main" id="{A36C0D78-BC21-BAC1-B31D-4729268B125D}"/>
                </a:ext>
              </a:extLst>
            </p:cNvPr>
            <p:cNvSpPr txBox="1"/>
            <p:nvPr/>
          </p:nvSpPr>
          <p:spPr>
            <a:xfrm>
              <a:off x="276796" y="2635572"/>
              <a:ext cx="336519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sp>
        <p:nvSpPr>
          <p:cNvPr id="20" name="TextBox 19">
            <a:extLst>
              <a:ext uri="{FF2B5EF4-FFF2-40B4-BE49-F238E27FC236}">
                <a16:creationId xmlns:a16="http://schemas.microsoft.com/office/drawing/2014/main" id="{F44E790C-8B3B-0644-9DEF-1AC5B13BC0D8}"/>
              </a:ext>
            </a:extLst>
          </p:cNvPr>
          <p:cNvSpPr txBox="1"/>
          <p:nvPr/>
        </p:nvSpPr>
        <p:spPr>
          <a:xfrm>
            <a:off x="2231366" y="1039963"/>
            <a:ext cx="7680956"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4800" dirty="0"/>
              <a:t>Why Logistic Regression?</a:t>
            </a:r>
          </a:p>
        </p:txBody>
      </p:sp>
      <p:sp>
        <p:nvSpPr>
          <p:cNvPr id="21" name="Rectangle: Rounded Corners 20">
            <a:extLst>
              <a:ext uri="{FF2B5EF4-FFF2-40B4-BE49-F238E27FC236}">
                <a16:creationId xmlns:a16="http://schemas.microsoft.com/office/drawing/2014/main" id="{6B401EF3-87A1-E614-BA93-877C2CB3D7CC}"/>
              </a:ext>
            </a:extLst>
          </p:cNvPr>
          <p:cNvSpPr/>
          <p:nvPr/>
        </p:nvSpPr>
        <p:spPr>
          <a:xfrm>
            <a:off x="237575" y="1840511"/>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22" name="TextBox 21">
            <a:extLst>
              <a:ext uri="{FF2B5EF4-FFF2-40B4-BE49-F238E27FC236}">
                <a16:creationId xmlns:a16="http://schemas.microsoft.com/office/drawing/2014/main" id="{6F6AE7B1-3D4C-8243-8B74-A54339D7527A}"/>
              </a:ext>
            </a:extLst>
          </p:cNvPr>
          <p:cNvSpPr txBox="1"/>
          <p:nvPr/>
        </p:nvSpPr>
        <p:spPr>
          <a:xfrm>
            <a:off x="297942" y="2497901"/>
            <a:ext cx="3521326" cy="738664"/>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nSpc>
                <a:spcPct val="100000"/>
              </a:lnSpc>
            </a:pPr>
            <a:r>
              <a:rPr lang="en-US" sz="2400" b="1" dirty="0">
                <a:solidFill>
                  <a:schemeClr val="bg1"/>
                </a:solidFill>
                <a:latin typeface="+mj-lt"/>
              </a:rPr>
              <a:t>Simple, Transparent, and </a:t>
            </a:r>
          </a:p>
          <a:p>
            <a:pPr>
              <a:lnSpc>
                <a:spcPct val="100000"/>
              </a:lnSpc>
            </a:pPr>
            <a:r>
              <a:rPr lang="en-US" sz="2400" b="1" dirty="0">
                <a:solidFill>
                  <a:schemeClr val="bg1"/>
                </a:solidFill>
                <a:latin typeface="+mj-lt"/>
              </a:rPr>
              <a:t>Clinically Trustworthy</a:t>
            </a:r>
            <a:endParaRPr lang="en-GB" sz="2400" b="1" dirty="0">
              <a:solidFill>
                <a:schemeClr val="bg1"/>
              </a:solidFill>
              <a:latin typeface="+mj-lt"/>
            </a:endParaRPr>
          </a:p>
        </p:txBody>
      </p:sp>
      <p:sp>
        <p:nvSpPr>
          <p:cNvPr id="23" name="Rectangle: Rounded Corners 22">
            <a:extLst>
              <a:ext uri="{FF2B5EF4-FFF2-40B4-BE49-F238E27FC236}">
                <a16:creationId xmlns:a16="http://schemas.microsoft.com/office/drawing/2014/main" id="{41F630D7-C87F-1872-6022-D05182C6E88F}"/>
              </a:ext>
            </a:extLst>
          </p:cNvPr>
          <p:cNvSpPr/>
          <p:nvPr/>
        </p:nvSpPr>
        <p:spPr>
          <a:xfrm>
            <a:off x="249630" y="4377810"/>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24" name="TextBox 23">
            <a:extLst>
              <a:ext uri="{FF2B5EF4-FFF2-40B4-BE49-F238E27FC236}">
                <a16:creationId xmlns:a16="http://schemas.microsoft.com/office/drawing/2014/main" id="{76345011-B816-15C3-1D3C-7CEDBFDAF712}"/>
              </a:ext>
            </a:extLst>
          </p:cNvPr>
          <p:cNvSpPr txBox="1"/>
          <p:nvPr/>
        </p:nvSpPr>
        <p:spPr>
          <a:xfrm>
            <a:off x="209169" y="5079857"/>
            <a:ext cx="3521326" cy="738664"/>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nSpc>
                <a:spcPct val="100000"/>
              </a:lnSpc>
            </a:pPr>
            <a:r>
              <a:rPr lang="en-US" sz="2400" b="1" dirty="0">
                <a:latin typeface="+mj-lt"/>
              </a:rPr>
              <a:t>Validated in Real-World Settings</a:t>
            </a:r>
            <a:endParaRPr lang="en-GB" sz="2400" b="1" dirty="0">
              <a:latin typeface="+mj-lt"/>
            </a:endParaRPr>
          </a:p>
        </p:txBody>
      </p:sp>
      <p:sp>
        <p:nvSpPr>
          <p:cNvPr id="25" name="Rectangle: Rounded Corners 24">
            <a:extLst>
              <a:ext uri="{FF2B5EF4-FFF2-40B4-BE49-F238E27FC236}">
                <a16:creationId xmlns:a16="http://schemas.microsoft.com/office/drawing/2014/main" id="{3F2F011B-D5C1-185E-B2CE-9303712BCD9E}"/>
              </a:ext>
            </a:extLst>
          </p:cNvPr>
          <p:cNvSpPr/>
          <p:nvPr/>
        </p:nvSpPr>
        <p:spPr>
          <a:xfrm>
            <a:off x="4225373" y="4377810"/>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26" name="TextBox 25">
            <a:extLst>
              <a:ext uri="{FF2B5EF4-FFF2-40B4-BE49-F238E27FC236}">
                <a16:creationId xmlns:a16="http://schemas.microsoft.com/office/drawing/2014/main" id="{572E77C7-8AE1-F502-3654-6368861EF63E}"/>
              </a:ext>
            </a:extLst>
          </p:cNvPr>
          <p:cNvSpPr txBox="1"/>
          <p:nvPr/>
        </p:nvSpPr>
        <p:spPr>
          <a:xfrm>
            <a:off x="4352012" y="5341269"/>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Fits Our Skills &amp; Resources</a:t>
            </a:r>
            <a:endParaRPr lang="en-GB" sz="2400" b="1" dirty="0">
              <a:latin typeface="+mj-lt"/>
            </a:endParaRPr>
          </a:p>
        </p:txBody>
      </p:sp>
      <p:sp>
        <p:nvSpPr>
          <p:cNvPr id="27" name="Rectangle: Rounded Corners 26">
            <a:extLst>
              <a:ext uri="{FF2B5EF4-FFF2-40B4-BE49-F238E27FC236}">
                <a16:creationId xmlns:a16="http://schemas.microsoft.com/office/drawing/2014/main" id="{85643474-44AE-178C-CB17-4784CD543216}"/>
              </a:ext>
            </a:extLst>
          </p:cNvPr>
          <p:cNvSpPr/>
          <p:nvPr/>
        </p:nvSpPr>
        <p:spPr>
          <a:xfrm>
            <a:off x="8236838" y="4393610"/>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28" name="TextBox 27">
            <a:extLst>
              <a:ext uri="{FF2B5EF4-FFF2-40B4-BE49-F238E27FC236}">
                <a16:creationId xmlns:a16="http://schemas.microsoft.com/office/drawing/2014/main" id="{F10937B0-5E61-9E62-9729-DACA80E9D479}"/>
              </a:ext>
            </a:extLst>
          </p:cNvPr>
          <p:cNvSpPr txBox="1"/>
          <p:nvPr/>
        </p:nvSpPr>
        <p:spPr>
          <a:xfrm>
            <a:off x="8372732" y="5240371"/>
            <a:ext cx="3521326" cy="590931"/>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Less Risk of Problems</a:t>
            </a:r>
          </a:p>
          <a:p>
            <a:pPr>
              <a:lnSpc>
                <a:spcPct val="100000"/>
              </a:lnSpc>
            </a:pPr>
            <a:r>
              <a:rPr lang="en-US" sz="2400" b="1" dirty="0">
                <a:latin typeface="+mj-lt"/>
              </a:rPr>
              <a:t> Like Overfitting </a:t>
            </a:r>
            <a:endParaRPr lang="en-GB" sz="2400" b="1" dirty="0">
              <a:latin typeface="+mj-lt"/>
            </a:endParaRPr>
          </a:p>
        </p:txBody>
      </p:sp>
      <p:sp>
        <p:nvSpPr>
          <p:cNvPr id="32" name="Rectangle: Rounded Corners 31">
            <a:extLst>
              <a:ext uri="{FF2B5EF4-FFF2-40B4-BE49-F238E27FC236}">
                <a16:creationId xmlns:a16="http://schemas.microsoft.com/office/drawing/2014/main" id="{C261DB08-3AF1-D7E5-A067-9E6CB4E47F2E}"/>
              </a:ext>
            </a:extLst>
          </p:cNvPr>
          <p:cNvSpPr/>
          <p:nvPr/>
        </p:nvSpPr>
        <p:spPr>
          <a:xfrm>
            <a:off x="8236838" y="1839469"/>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3" name="TextBox 32">
            <a:extLst>
              <a:ext uri="{FF2B5EF4-FFF2-40B4-BE49-F238E27FC236}">
                <a16:creationId xmlns:a16="http://schemas.microsoft.com/office/drawing/2014/main" id="{5B667662-825F-365C-CA41-63176B764B7F}"/>
              </a:ext>
            </a:extLst>
          </p:cNvPr>
          <p:cNvSpPr txBox="1"/>
          <p:nvPr/>
        </p:nvSpPr>
        <p:spPr>
          <a:xfrm>
            <a:off x="8403243" y="2842011"/>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Fits Our Data</a:t>
            </a:r>
            <a:endParaRPr lang="en-GB" sz="2400" b="1" dirty="0">
              <a:latin typeface="+mj-lt"/>
            </a:endParaRPr>
          </a:p>
        </p:txBody>
      </p:sp>
      <p:sp>
        <p:nvSpPr>
          <p:cNvPr id="34" name="Rectangle: Rounded Corners 33">
            <a:extLst>
              <a:ext uri="{FF2B5EF4-FFF2-40B4-BE49-F238E27FC236}">
                <a16:creationId xmlns:a16="http://schemas.microsoft.com/office/drawing/2014/main" id="{344CAE4C-D4F2-DD26-F2C7-0B3243EC32D4}"/>
              </a:ext>
            </a:extLst>
          </p:cNvPr>
          <p:cNvSpPr/>
          <p:nvPr/>
        </p:nvSpPr>
        <p:spPr>
          <a:xfrm>
            <a:off x="4274938" y="1839469"/>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5" name="TextBox 34">
            <a:extLst>
              <a:ext uri="{FF2B5EF4-FFF2-40B4-BE49-F238E27FC236}">
                <a16:creationId xmlns:a16="http://schemas.microsoft.com/office/drawing/2014/main" id="{DCBDFC40-A6DB-FA55-DCE2-C25E25875C6D}"/>
              </a:ext>
            </a:extLst>
          </p:cNvPr>
          <p:cNvSpPr txBox="1"/>
          <p:nvPr/>
        </p:nvSpPr>
        <p:spPr>
          <a:xfrm>
            <a:off x="4331411" y="2791049"/>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b="1" dirty="0">
                <a:latin typeface="+mj-lt"/>
              </a:rPr>
              <a:t>Fair Performance </a:t>
            </a:r>
          </a:p>
        </p:txBody>
      </p:sp>
      <p:sp>
        <p:nvSpPr>
          <p:cNvPr id="39" name="TextBox 38">
            <a:extLst>
              <a:ext uri="{FF2B5EF4-FFF2-40B4-BE49-F238E27FC236}">
                <a16:creationId xmlns:a16="http://schemas.microsoft.com/office/drawing/2014/main" id="{1FABBC5C-8CED-1851-92F1-E40722C92FCF}"/>
              </a:ext>
            </a:extLst>
          </p:cNvPr>
          <p:cNvSpPr txBox="1"/>
          <p:nvPr/>
        </p:nvSpPr>
        <p:spPr>
          <a:xfrm>
            <a:off x="364665" y="2265609"/>
            <a:ext cx="3733402" cy="1323439"/>
          </a:xfrm>
          <a:prstGeom prst="rect">
            <a:avLst/>
          </a:prstGeom>
          <a:noFill/>
        </p:spPr>
        <p:txBody>
          <a:bodyPr wrap="square">
            <a:spAutoFit/>
          </a:bodyPr>
          <a:lstStyle/>
          <a:p>
            <a:r>
              <a:rPr lang="en-US" sz="2000" dirty="0">
                <a:solidFill>
                  <a:schemeClr val="bg1">
                    <a:alpha val="90000"/>
                  </a:schemeClr>
                </a:solidFill>
              </a:rPr>
              <a:t>You can see clearly how each factor (like age or family history) changes the risk. (Shafiei et al., 2021).</a:t>
            </a:r>
          </a:p>
        </p:txBody>
      </p:sp>
      <p:sp>
        <p:nvSpPr>
          <p:cNvPr id="40" name="TextBox 39">
            <a:extLst>
              <a:ext uri="{FF2B5EF4-FFF2-40B4-BE49-F238E27FC236}">
                <a16:creationId xmlns:a16="http://schemas.microsoft.com/office/drawing/2014/main" id="{62F857E4-FC15-22DD-0030-F2EAD3BC495B}"/>
              </a:ext>
            </a:extLst>
          </p:cNvPr>
          <p:cNvSpPr txBox="1"/>
          <p:nvPr/>
        </p:nvSpPr>
        <p:spPr>
          <a:xfrm>
            <a:off x="4383537" y="2075006"/>
            <a:ext cx="3759607" cy="1631216"/>
          </a:xfrm>
          <a:prstGeom prst="rect">
            <a:avLst/>
          </a:prstGeom>
          <a:noFill/>
        </p:spPr>
        <p:txBody>
          <a:bodyPr wrap="square">
            <a:spAutoFit/>
          </a:bodyPr>
          <a:lstStyle/>
          <a:p>
            <a:r>
              <a:rPr lang="en-US" sz="2000" dirty="0">
                <a:solidFill>
                  <a:prstClr val="white">
                    <a:alpha val="90000"/>
                  </a:prstClr>
                </a:solidFill>
              </a:rPr>
              <a:t>Even in large datasets, complex models like SVMs and </a:t>
            </a:r>
            <a:r>
              <a:rPr lang="en-US" sz="2000" dirty="0" err="1">
                <a:solidFill>
                  <a:prstClr val="white">
                    <a:alpha val="90000"/>
                  </a:prstClr>
                </a:solidFill>
              </a:rPr>
              <a:t>XGBoost</a:t>
            </a:r>
            <a:r>
              <a:rPr lang="en-US" sz="2000" dirty="0">
                <a:solidFill>
                  <a:prstClr val="white">
                    <a:alpha val="90000"/>
                  </a:prstClr>
                </a:solidFill>
              </a:rPr>
              <a:t> showed no major advantage over logistic regression (AUC ≈ 0.70) </a:t>
            </a:r>
            <a:r>
              <a:rPr lang="en-IN" sz="2000" dirty="0">
                <a:solidFill>
                  <a:schemeClr val="bg1"/>
                </a:solidFill>
              </a:rPr>
              <a:t>(Bracher-Smith et al., 2022).</a:t>
            </a:r>
            <a:endParaRPr lang="en-US" sz="2000" dirty="0">
              <a:solidFill>
                <a:prstClr val="white">
                  <a:alpha val="90000"/>
                </a:prstClr>
              </a:solidFill>
            </a:endParaRPr>
          </a:p>
        </p:txBody>
      </p:sp>
      <p:sp>
        <p:nvSpPr>
          <p:cNvPr id="41" name="TextBox 40">
            <a:extLst>
              <a:ext uri="{FF2B5EF4-FFF2-40B4-BE49-F238E27FC236}">
                <a16:creationId xmlns:a16="http://schemas.microsoft.com/office/drawing/2014/main" id="{CF38D67D-BF68-568C-A238-C9579D1DEA20}"/>
              </a:ext>
            </a:extLst>
          </p:cNvPr>
          <p:cNvSpPr txBox="1"/>
          <p:nvPr/>
        </p:nvSpPr>
        <p:spPr>
          <a:xfrm>
            <a:off x="8481310" y="2619553"/>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Numbers and yes/no info are perfect for logistic regression.</a:t>
            </a:r>
          </a:p>
        </p:txBody>
      </p:sp>
      <p:sp>
        <p:nvSpPr>
          <p:cNvPr id="42" name="TextBox 41">
            <a:extLst>
              <a:ext uri="{FF2B5EF4-FFF2-40B4-BE49-F238E27FC236}">
                <a16:creationId xmlns:a16="http://schemas.microsoft.com/office/drawing/2014/main" id="{3688F44D-8CA3-6B28-5E5A-352E14364C7D}"/>
              </a:ext>
            </a:extLst>
          </p:cNvPr>
          <p:cNvSpPr txBox="1"/>
          <p:nvPr/>
        </p:nvSpPr>
        <p:spPr>
          <a:xfrm>
            <a:off x="419431" y="4541658"/>
            <a:ext cx="3660145" cy="184665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chemeClr val="bg1">
                    <a:alpha val="90000"/>
                  </a:schemeClr>
                </a:solidFill>
              </a:rPr>
              <a:t>In a remission prediction study, logistic regression performed well on real clinical data and was externally validated in Canada, showing practical reliability </a:t>
            </a:r>
          </a:p>
          <a:p>
            <a:r>
              <a:rPr lang="en-US" sz="2000" dirty="0">
                <a:solidFill>
                  <a:schemeClr val="bg1">
                    <a:alpha val="90000"/>
                  </a:schemeClr>
                </a:solidFill>
              </a:rPr>
              <a:t>(Shafiei et al., 2021).</a:t>
            </a:r>
          </a:p>
        </p:txBody>
      </p:sp>
      <p:sp>
        <p:nvSpPr>
          <p:cNvPr id="43" name="TextBox 42">
            <a:extLst>
              <a:ext uri="{FF2B5EF4-FFF2-40B4-BE49-F238E27FC236}">
                <a16:creationId xmlns:a16="http://schemas.microsoft.com/office/drawing/2014/main" id="{6C15D7C3-E535-CA4D-F8C2-0012375E640F}"/>
              </a:ext>
            </a:extLst>
          </p:cNvPr>
          <p:cNvSpPr txBox="1"/>
          <p:nvPr/>
        </p:nvSpPr>
        <p:spPr>
          <a:xfrm>
            <a:off x="4467643" y="4513028"/>
            <a:ext cx="3365192" cy="184665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Our team can use logistic regression without needing deep learning skills, GPUs, or high memory, unlike models like CNN-LSTM (Sadeghi et al., no date).</a:t>
            </a:r>
          </a:p>
        </p:txBody>
      </p:sp>
      <p:sp>
        <p:nvSpPr>
          <p:cNvPr id="44" name="TextBox 43">
            <a:extLst>
              <a:ext uri="{FF2B5EF4-FFF2-40B4-BE49-F238E27FC236}">
                <a16:creationId xmlns:a16="http://schemas.microsoft.com/office/drawing/2014/main" id="{38DD8CDE-FA03-EF7C-06FC-ED7FF47C861D}"/>
              </a:ext>
            </a:extLst>
          </p:cNvPr>
          <p:cNvSpPr txBox="1"/>
          <p:nvPr/>
        </p:nvSpPr>
        <p:spPr>
          <a:xfrm>
            <a:off x="8509757" y="4695545"/>
            <a:ext cx="3365192" cy="153888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Logistic regression avoids overfitting with regularization, unlike complex models like DNNs that need massive data to prevent it.</a:t>
            </a:r>
          </a:p>
        </p:txBody>
      </p:sp>
    </p:spTree>
    <p:extLst>
      <p:ext uri="{BB962C8B-B14F-4D97-AF65-F5344CB8AC3E}">
        <p14:creationId xmlns:p14="http://schemas.microsoft.com/office/powerpoint/2010/main" val="30988596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1000"/>
                                        <p:tgtEl>
                                          <p:spTgt spid="22"/>
                                        </p:tgtEl>
                                      </p:cBhvr>
                                    </p:animEffect>
                                    <p:anim calcmode="lin" valueType="num">
                                      <p:cBhvr>
                                        <p:cTn id="7" dur="1000"/>
                                        <p:tgtEl>
                                          <p:spTgt spid="22"/>
                                        </p:tgtEl>
                                        <p:attrNameLst>
                                          <p:attrName>ppt_x</p:attrName>
                                        </p:attrNameLst>
                                      </p:cBhvr>
                                      <p:tavLst>
                                        <p:tav tm="0">
                                          <p:val>
                                            <p:strVal val="ppt_x"/>
                                          </p:val>
                                        </p:tav>
                                        <p:tav tm="100000">
                                          <p:val>
                                            <p:strVal val="ppt_x"/>
                                          </p:val>
                                        </p:tav>
                                      </p:tavLst>
                                    </p:anim>
                                    <p:anim calcmode="lin" valueType="num">
                                      <p:cBhvr>
                                        <p:cTn id="8" dur="1000"/>
                                        <p:tgtEl>
                                          <p:spTgt spid="22"/>
                                        </p:tgtEl>
                                        <p:attrNameLst>
                                          <p:attrName>ppt_y</p:attrName>
                                        </p:attrNameLst>
                                      </p:cBhvr>
                                      <p:tavLst>
                                        <p:tav tm="0">
                                          <p:val>
                                            <p:strVal val="ppt_y"/>
                                          </p:val>
                                        </p:tav>
                                        <p:tav tm="100000">
                                          <p:val>
                                            <p:strVal val="ppt_y+.1"/>
                                          </p:val>
                                        </p:tav>
                                      </p:tavLst>
                                    </p:anim>
                                    <p:set>
                                      <p:cBhvr>
                                        <p:cTn id="9" dur="1" fill="hold">
                                          <p:stCondLst>
                                            <p:cond delay="999"/>
                                          </p:stCondLst>
                                        </p:cTn>
                                        <p:tgtEl>
                                          <p:spTgt spid="22"/>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9"/>
                                        </p:tgtEl>
                                        <p:attrNameLst>
                                          <p:attrName>style.visibility</p:attrName>
                                        </p:attrNameLst>
                                      </p:cBhvr>
                                      <p:to>
                                        <p:strVal val="visible"/>
                                      </p:to>
                                    </p:set>
                                    <p:animEffect transition="in" filter="fade">
                                      <p:cBhvr>
                                        <p:cTn id="14" dur="1000"/>
                                        <p:tgtEl>
                                          <p:spTgt spid="39"/>
                                        </p:tgtEl>
                                      </p:cBhvr>
                                    </p:animEffect>
                                    <p:anim calcmode="lin" valueType="num">
                                      <p:cBhvr>
                                        <p:cTn id="15" dur="1000" fill="hold"/>
                                        <p:tgtEl>
                                          <p:spTgt spid="39"/>
                                        </p:tgtEl>
                                        <p:attrNameLst>
                                          <p:attrName>ppt_x</p:attrName>
                                        </p:attrNameLst>
                                      </p:cBhvr>
                                      <p:tavLst>
                                        <p:tav tm="0">
                                          <p:val>
                                            <p:strVal val="#ppt_x"/>
                                          </p:val>
                                        </p:tav>
                                        <p:tav tm="100000">
                                          <p:val>
                                            <p:strVal val="#ppt_x"/>
                                          </p:val>
                                        </p:tav>
                                      </p:tavLst>
                                    </p:anim>
                                    <p:anim calcmode="lin" valueType="num">
                                      <p:cBhvr>
                                        <p:cTn id="16"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xit" presetSubtype="0" fill="hold" grpId="0" nodeType="clickEffect">
                                  <p:stCondLst>
                                    <p:cond delay="0"/>
                                  </p:stCondLst>
                                  <p:childTnLst>
                                    <p:animEffect transition="out" filter="fade">
                                      <p:cBhvr>
                                        <p:cTn id="20" dur="1000"/>
                                        <p:tgtEl>
                                          <p:spTgt spid="35"/>
                                        </p:tgtEl>
                                      </p:cBhvr>
                                    </p:animEffect>
                                    <p:anim calcmode="lin" valueType="num">
                                      <p:cBhvr>
                                        <p:cTn id="21" dur="1000"/>
                                        <p:tgtEl>
                                          <p:spTgt spid="35"/>
                                        </p:tgtEl>
                                        <p:attrNameLst>
                                          <p:attrName>ppt_x</p:attrName>
                                        </p:attrNameLst>
                                      </p:cBhvr>
                                      <p:tavLst>
                                        <p:tav tm="0">
                                          <p:val>
                                            <p:strVal val="ppt_x"/>
                                          </p:val>
                                        </p:tav>
                                        <p:tav tm="100000">
                                          <p:val>
                                            <p:strVal val="ppt_x"/>
                                          </p:val>
                                        </p:tav>
                                      </p:tavLst>
                                    </p:anim>
                                    <p:anim calcmode="lin" valueType="num">
                                      <p:cBhvr>
                                        <p:cTn id="22" dur="1000"/>
                                        <p:tgtEl>
                                          <p:spTgt spid="35"/>
                                        </p:tgtEl>
                                        <p:attrNameLst>
                                          <p:attrName>ppt_y</p:attrName>
                                        </p:attrNameLst>
                                      </p:cBhvr>
                                      <p:tavLst>
                                        <p:tav tm="0">
                                          <p:val>
                                            <p:strVal val="ppt_y"/>
                                          </p:val>
                                        </p:tav>
                                        <p:tav tm="100000">
                                          <p:val>
                                            <p:strVal val="ppt_y+.1"/>
                                          </p:val>
                                        </p:tav>
                                      </p:tavLst>
                                    </p:anim>
                                    <p:set>
                                      <p:cBhvr>
                                        <p:cTn id="23" dur="1" fill="hold">
                                          <p:stCondLst>
                                            <p:cond delay="999"/>
                                          </p:stCondLst>
                                        </p:cTn>
                                        <p:tgtEl>
                                          <p:spTgt spid="35"/>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1000"/>
                                        <p:tgtEl>
                                          <p:spTgt spid="40"/>
                                        </p:tgtEl>
                                      </p:cBhvr>
                                    </p:animEffect>
                                    <p:anim calcmode="lin" valueType="num">
                                      <p:cBhvr>
                                        <p:cTn id="29" dur="1000" fill="hold"/>
                                        <p:tgtEl>
                                          <p:spTgt spid="40"/>
                                        </p:tgtEl>
                                        <p:attrNameLst>
                                          <p:attrName>ppt_x</p:attrName>
                                        </p:attrNameLst>
                                      </p:cBhvr>
                                      <p:tavLst>
                                        <p:tav tm="0">
                                          <p:val>
                                            <p:strVal val="#ppt_x"/>
                                          </p:val>
                                        </p:tav>
                                        <p:tav tm="100000">
                                          <p:val>
                                            <p:strVal val="#ppt_x"/>
                                          </p:val>
                                        </p:tav>
                                      </p:tavLst>
                                    </p:anim>
                                    <p:anim calcmode="lin" valueType="num">
                                      <p:cBhvr>
                                        <p:cTn id="30"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xit" presetSubtype="0" fill="hold" grpId="0" nodeType="clickEffect">
                                  <p:stCondLst>
                                    <p:cond delay="0"/>
                                  </p:stCondLst>
                                  <p:childTnLst>
                                    <p:animEffect transition="out" filter="fade">
                                      <p:cBhvr>
                                        <p:cTn id="34" dur="1000"/>
                                        <p:tgtEl>
                                          <p:spTgt spid="33"/>
                                        </p:tgtEl>
                                      </p:cBhvr>
                                    </p:animEffect>
                                    <p:anim calcmode="lin" valueType="num">
                                      <p:cBhvr>
                                        <p:cTn id="35" dur="1000"/>
                                        <p:tgtEl>
                                          <p:spTgt spid="33"/>
                                        </p:tgtEl>
                                        <p:attrNameLst>
                                          <p:attrName>ppt_x</p:attrName>
                                        </p:attrNameLst>
                                      </p:cBhvr>
                                      <p:tavLst>
                                        <p:tav tm="0">
                                          <p:val>
                                            <p:strVal val="ppt_x"/>
                                          </p:val>
                                        </p:tav>
                                        <p:tav tm="100000">
                                          <p:val>
                                            <p:strVal val="ppt_x"/>
                                          </p:val>
                                        </p:tav>
                                      </p:tavLst>
                                    </p:anim>
                                    <p:anim calcmode="lin" valueType="num">
                                      <p:cBhvr>
                                        <p:cTn id="36" dur="1000"/>
                                        <p:tgtEl>
                                          <p:spTgt spid="33"/>
                                        </p:tgtEl>
                                        <p:attrNameLst>
                                          <p:attrName>ppt_y</p:attrName>
                                        </p:attrNameLst>
                                      </p:cBhvr>
                                      <p:tavLst>
                                        <p:tav tm="0">
                                          <p:val>
                                            <p:strVal val="ppt_y"/>
                                          </p:val>
                                        </p:tav>
                                        <p:tav tm="100000">
                                          <p:val>
                                            <p:strVal val="ppt_y+.1"/>
                                          </p:val>
                                        </p:tav>
                                      </p:tavLst>
                                    </p:anim>
                                    <p:set>
                                      <p:cBhvr>
                                        <p:cTn id="37" dur="1" fill="hold">
                                          <p:stCondLst>
                                            <p:cond delay="999"/>
                                          </p:stCondLst>
                                        </p:cTn>
                                        <p:tgtEl>
                                          <p:spTgt spid="33"/>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1000"/>
                                        <p:tgtEl>
                                          <p:spTgt spid="41"/>
                                        </p:tgtEl>
                                      </p:cBhvr>
                                    </p:animEffect>
                                    <p:anim calcmode="lin" valueType="num">
                                      <p:cBhvr>
                                        <p:cTn id="43" dur="1000" fill="hold"/>
                                        <p:tgtEl>
                                          <p:spTgt spid="41"/>
                                        </p:tgtEl>
                                        <p:attrNameLst>
                                          <p:attrName>ppt_x</p:attrName>
                                        </p:attrNameLst>
                                      </p:cBhvr>
                                      <p:tavLst>
                                        <p:tav tm="0">
                                          <p:val>
                                            <p:strVal val="#ppt_x"/>
                                          </p:val>
                                        </p:tav>
                                        <p:tav tm="100000">
                                          <p:val>
                                            <p:strVal val="#ppt_x"/>
                                          </p:val>
                                        </p:tav>
                                      </p:tavLst>
                                    </p:anim>
                                    <p:anim calcmode="lin" valueType="num">
                                      <p:cBhvr>
                                        <p:cTn id="44"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xit" presetSubtype="0" fill="hold" grpId="0" nodeType="clickEffect">
                                  <p:stCondLst>
                                    <p:cond delay="0"/>
                                  </p:stCondLst>
                                  <p:childTnLst>
                                    <p:animEffect transition="out" filter="fade">
                                      <p:cBhvr>
                                        <p:cTn id="48" dur="1000"/>
                                        <p:tgtEl>
                                          <p:spTgt spid="24"/>
                                        </p:tgtEl>
                                      </p:cBhvr>
                                    </p:animEffect>
                                    <p:anim calcmode="lin" valueType="num">
                                      <p:cBhvr>
                                        <p:cTn id="49" dur="1000"/>
                                        <p:tgtEl>
                                          <p:spTgt spid="24"/>
                                        </p:tgtEl>
                                        <p:attrNameLst>
                                          <p:attrName>ppt_x</p:attrName>
                                        </p:attrNameLst>
                                      </p:cBhvr>
                                      <p:tavLst>
                                        <p:tav tm="0">
                                          <p:val>
                                            <p:strVal val="ppt_x"/>
                                          </p:val>
                                        </p:tav>
                                        <p:tav tm="100000">
                                          <p:val>
                                            <p:strVal val="ppt_x"/>
                                          </p:val>
                                        </p:tav>
                                      </p:tavLst>
                                    </p:anim>
                                    <p:anim calcmode="lin" valueType="num">
                                      <p:cBhvr>
                                        <p:cTn id="50" dur="1000"/>
                                        <p:tgtEl>
                                          <p:spTgt spid="24"/>
                                        </p:tgtEl>
                                        <p:attrNameLst>
                                          <p:attrName>ppt_y</p:attrName>
                                        </p:attrNameLst>
                                      </p:cBhvr>
                                      <p:tavLst>
                                        <p:tav tm="0">
                                          <p:val>
                                            <p:strVal val="ppt_y"/>
                                          </p:val>
                                        </p:tav>
                                        <p:tav tm="100000">
                                          <p:val>
                                            <p:strVal val="ppt_y+.1"/>
                                          </p:val>
                                        </p:tav>
                                      </p:tavLst>
                                    </p:anim>
                                    <p:set>
                                      <p:cBhvr>
                                        <p:cTn id="51" dur="1" fill="hold">
                                          <p:stCondLst>
                                            <p:cond delay="999"/>
                                          </p:stCondLst>
                                        </p:cTn>
                                        <p:tgtEl>
                                          <p:spTgt spid="24"/>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42"/>
                                        </p:tgtEl>
                                        <p:attrNameLst>
                                          <p:attrName>style.visibility</p:attrName>
                                        </p:attrNameLst>
                                      </p:cBhvr>
                                      <p:to>
                                        <p:strVal val="visible"/>
                                      </p:to>
                                    </p:set>
                                    <p:animEffect transition="in" filter="fade">
                                      <p:cBhvr>
                                        <p:cTn id="56" dur="1000"/>
                                        <p:tgtEl>
                                          <p:spTgt spid="42"/>
                                        </p:tgtEl>
                                      </p:cBhvr>
                                    </p:animEffect>
                                    <p:anim calcmode="lin" valueType="num">
                                      <p:cBhvr>
                                        <p:cTn id="57" dur="1000" fill="hold"/>
                                        <p:tgtEl>
                                          <p:spTgt spid="42"/>
                                        </p:tgtEl>
                                        <p:attrNameLst>
                                          <p:attrName>ppt_x</p:attrName>
                                        </p:attrNameLst>
                                      </p:cBhvr>
                                      <p:tavLst>
                                        <p:tav tm="0">
                                          <p:val>
                                            <p:strVal val="#ppt_x"/>
                                          </p:val>
                                        </p:tav>
                                        <p:tav tm="100000">
                                          <p:val>
                                            <p:strVal val="#ppt_x"/>
                                          </p:val>
                                        </p:tav>
                                      </p:tavLst>
                                    </p:anim>
                                    <p:anim calcmode="lin" valueType="num">
                                      <p:cBhvr>
                                        <p:cTn id="58"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xit" presetSubtype="0" fill="hold" grpId="0" nodeType="clickEffect">
                                  <p:stCondLst>
                                    <p:cond delay="0"/>
                                  </p:stCondLst>
                                  <p:childTnLst>
                                    <p:animEffect transition="out" filter="fade">
                                      <p:cBhvr>
                                        <p:cTn id="62" dur="1000"/>
                                        <p:tgtEl>
                                          <p:spTgt spid="26"/>
                                        </p:tgtEl>
                                      </p:cBhvr>
                                    </p:animEffect>
                                    <p:anim calcmode="lin" valueType="num">
                                      <p:cBhvr>
                                        <p:cTn id="63" dur="1000"/>
                                        <p:tgtEl>
                                          <p:spTgt spid="26"/>
                                        </p:tgtEl>
                                        <p:attrNameLst>
                                          <p:attrName>ppt_x</p:attrName>
                                        </p:attrNameLst>
                                      </p:cBhvr>
                                      <p:tavLst>
                                        <p:tav tm="0">
                                          <p:val>
                                            <p:strVal val="ppt_x"/>
                                          </p:val>
                                        </p:tav>
                                        <p:tav tm="100000">
                                          <p:val>
                                            <p:strVal val="ppt_x"/>
                                          </p:val>
                                        </p:tav>
                                      </p:tavLst>
                                    </p:anim>
                                    <p:anim calcmode="lin" valueType="num">
                                      <p:cBhvr>
                                        <p:cTn id="64" dur="1000"/>
                                        <p:tgtEl>
                                          <p:spTgt spid="26"/>
                                        </p:tgtEl>
                                        <p:attrNameLst>
                                          <p:attrName>ppt_y</p:attrName>
                                        </p:attrNameLst>
                                      </p:cBhvr>
                                      <p:tavLst>
                                        <p:tav tm="0">
                                          <p:val>
                                            <p:strVal val="ppt_y"/>
                                          </p:val>
                                        </p:tav>
                                        <p:tav tm="100000">
                                          <p:val>
                                            <p:strVal val="ppt_y+.1"/>
                                          </p:val>
                                        </p:tav>
                                      </p:tavLst>
                                    </p:anim>
                                    <p:set>
                                      <p:cBhvr>
                                        <p:cTn id="65" dur="1" fill="hold">
                                          <p:stCondLst>
                                            <p:cond delay="999"/>
                                          </p:stCondLst>
                                        </p:cTn>
                                        <p:tgtEl>
                                          <p:spTgt spid="26"/>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1000"/>
                                        <p:tgtEl>
                                          <p:spTgt spid="43"/>
                                        </p:tgtEl>
                                      </p:cBhvr>
                                    </p:animEffect>
                                    <p:anim calcmode="lin" valueType="num">
                                      <p:cBhvr>
                                        <p:cTn id="71" dur="1000" fill="hold"/>
                                        <p:tgtEl>
                                          <p:spTgt spid="43"/>
                                        </p:tgtEl>
                                        <p:attrNameLst>
                                          <p:attrName>ppt_x</p:attrName>
                                        </p:attrNameLst>
                                      </p:cBhvr>
                                      <p:tavLst>
                                        <p:tav tm="0">
                                          <p:val>
                                            <p:strVal val="#ppt_x"/>
                                          </p:val>
                                        </p:tav>
                                        <p:tav tm="100000">
                                          <p:val>
                                            <p:strVal val="#ppt_x"/>
                                          </p:val>
                                        </p:tav>
                                      </p:tavLst>
                                    </p:anim>
                                    <p:anim calcmode="lin" valueType="num">
                                      <p:cBhvr>
                                        <p:cTn id="72"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xit" presetSubtype="0" fill="hold" grpId="0" nodeType="clickEffect">
                                  <p:stCondLst>
                                    <p:cond delay="0"/>
                                  </p:stCondLst>
                                  <p:childTnLst>
                                    <p:animEffect transition="out" filter="fade">
                                      <p:cBhvr>
                                        <p:cTn id="76" dur="1000"/>
                                        <p:tgtEl>
                                          <p:spTgt spid="28"/>
                                        </p:tgtEl>
                                      </p:cBhvr>
                                    </p:animEffect>
                                    <p:anim calcmode="lin" valueType="num">
                                      <p:cBhvr>
                                        <p:cTn id="77" dur="1000"/>
                                        <p:tgtEl>
                                          <p:spTgt spid="28"/>
                                        </p:tgtEl>
                                        <p:attrNameLst>
                                          <p:attrName>ppt_x</p:attrName>
                                        </p:attrNameLst>
                                      </p:cBhvr>
                                      <p:tavLst>
                                        <p:tav tm="0">
                                          <p:val>
                                            <p:strVal val="ppt_x"/>
                                          </p:val>
                                        </p:tav>
                                        <p:tav tm="100000">
                                          <p:val>
                                            <p:strVal val="ppt_x"/>
                                          </p:val>
                                        </p:tav>
                                      </p:tavLst>
                                    </p:anim>
                                    <p:anim calcmode="lin" valueType="num">
                                      <p:cBhvr>
                                        <p:cTn id="78" dur="1000"/>
                                        <p:tgtEl>
                                          <p:spTgt spid="28"/>
                                        </p:tgtEl>
                                        <p:attrNameLst>
                                          <p:attrName>ppt_y</p:attrName>
                                        </p:attrNameLst>
                                      </p:cBhvr>
                                      <p:tavLst>
                                        <p:tav tm="0">
                                          <p:val>
                                            <p:strVal val="ppt_y"/>
                                          </p:val>
                                        </p:tav>
                                        <p:tav tm="100000">
                                          <p:val>
                                            <p:strVal val="ppt_y+.1"/>
                                          </p:val>
                                        </p:tav>
                                      </p:tavLst>
                                    </p:anim>
                                    <p:set>
                                      <p:cBhvr>
                                        <p:cTn id="79" dur="1" fill="hold">
                                          <p:stCondLst>
                                            <p:cond delay="999"/>
                                          </p:stCondLst>
                                        </p:cTn>
                                        <p:tgtEl>
                                          <p:spTgt spid="28"/>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44"/>
                                        </p:tgtEl>
                                        <p:attrNameLst>
                                          <p:attrName>style.visibility</p:attrName>
                                        </p:attrNameLst>
                                      </p:cBhvr>
                                      <p:to>
                                        <p:strVal val="visible"/>
                                      </p:to>
                                    </p:set>
                                    <p:animEffect transition="in" filter="fade">
                                      <p:cBhvr>
                                        <p:cTn id="84" dur="1000"/>
                                        <p:tgtEl>
                                          <p:spTgt spid="44"/>
                                        </p:tgtEl>
                                      </p:cBhvr>
                                    </p:animEffect>
                                    <p:anim calcmode="lin" valueType="num">
                                      <p:cBhvr>
                                        <p:cTn id="85" dur="1000" fill="hold"/>
                                        <p:tgtEl>
                                          <p:spTgt spid="44"/>
                                        </p:tgtEl>
                                        <p:attrNameLst>
                                          <p:attrName>ppt_x</p:attrName>
                                        </p:attrNameLst>
                                      </p:cBhvr>
                                      <p:tavLst>
                                        <p:tav tm="0">
                                          <p:val>
                                            <p:strVal val="#ppt_x"/>
                                          </p:val>
                                        </p:tav>
                                        <p:tav tm="100000">
                                          <p:val>
                                            <p:strVal val="#ppt_x"/>
                                          </p:val>
                                        </p:tav>
                                      </p:tavLst>
                                    </p:anim>
                                    <p:anim calcmode="lin" valueType="num">
                                      <p:cBhvr>
                                        <p:cTn id="86"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4" grpId="0"/>
      <p:bldP spid="26" grpId="0"/>
      <p:bldP spid="28" grpId="0"/>
      <p:bldP spid="33" grpId="0"/>
      <p:bldP spid="35" grpId="0"/>
      <p:bldP spid="39" grpId="0"/>
      <p:bldP spid="40" grpId="0"/>
      <p:bldP spid="41" grpId="0"/>
      <p:bldP spid="42" grpId="0"/>
      <p:bldP spid="43" grpId="0"/>
      <p:bldP spid="4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314774" y="1333264"/>
            <a:ext cx="11629133" cy="495366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9500" kern="0" dirty="0">
                <a:solidFill>
                  <a:prstClr val="white"/>
                </a:solidFill>
                <a:latin typeface="Darker Grotesque" pitchFamily="2" charset="0"/>
              </a:rPr>
              <a:t>Methodology</a:t>
            </a:r>
            <a:endParaRPr kumimoji="0" lang="en-US" sz="19500" b="0" i="0" u="none" strike="noStrike" kern="0" cap="none" spc="0" normalizeH="0" baseline="0" noProof="0" dirty="0">
              <a:ln>
                <a:noFill/>
              </a:ln>
              <a:solidFill>
                <a:prstClr val="white"/>
              </a:solidFill>
              <a:effectLst/>
              <a:uLnTx/>
              <a:uFillTx/>
              <a:latin typeface="Darker Grotesque" pitchFamily="2" charset="0"/>
            </a:endParaRPr>
          </a:p>
        </p:txBody>
      </p:sp>
      <p:grpSp>
        <p:nvGrpSpPr>
          <p:cNvPr id="2" name="Group 1">
            <a:extLst>
              <a:ext uri="{FF2B5EF4-FFF2-40B4-BE49-F238E27FC236}">
                <a16:creationId xmlns:a16="http://schemas.microsoft.com/office/drawing/2014/main" id="{2B03781F-C7AF-E98B-5BFB-3C1B53E90819}"/>
              </a:ext>
            </a:extLst>
          </p:cNvPr>
          <p:cNvGrpSpPr/>
          <p:nvPr/>
        </p:nvGrpSpPr>
        <p:grpSpPr>
          <a:xfrm>
            <a:off x="299484" y="7258215"/>
            <a:ext cx="11644423" cy="507586"/>
            <a:chOff x="299484" y="7258215"/>
            <a:chExt cx="11644423" cy="507586"/>
          </a:xfrm>
        </p:grpSpPr>
        <p:cxnSp>
          <p:nvCxnSpPr>
            <p:cNvPr id="5" name="Straight Connector 4">
              <a:extLst>
                <a:ext uri="{FF2B5EF4-FFF2-40B4-BE49-F238E27FC236}">
                  <a16:creationId xmlns:a16="http://schemas.microsoft.com/office/drawing/2014/main" id="{573A5413-33BB-713C-9391-F35CE50A7806}"/>
                </a:ext>
              </a:extLst>
            </p:cNvPr>
            <p:cNvCxnSpPr/>
            <p:nvPr/>
          </p:nvCxnSpPr>
          <p:spPr>
            <a:xfrm>
              <a:off x="299484" y="7448091"/>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7" name="Group 6">
              <a:extLst>
                <a:ext uri="{FF2B5EF4-FFF2-40B4-BE49-F238E27FC236}">
                  <a16:creationId xmlns:a16="http://schemas.microsoft.com/office/drawing/2014/main" id="{BAF79173-A8D7-7B42-4048-4739C3D80D4D}"/>
                </a:ext>
              </a:extLst>
            </p:cNvPr>
            <p:cNvGrpSpPr/>
            <p:nvPr/>
          </p:nvGrpSpPr>
          <p:grpSpPr>
            <a:xfrm>
              <a:off x="5968207" y="7258215"/>
              <a:ext cx="507586" cy="507586"/>
              <a:chOff x="7897432" y="4113359"/>
              <a:chExt cx="507586" cy="507586"/>
            </a:xfrm>
          </p:grpSpPr>
          <p:sp useBgFill="1">
            <p:nvSpPr>
              <p:cNvPr id="18" name="Oval 17">
                <a:extLst>
                  <a:ext uri="{FF2B5EF4-FFF2-40B4-BE49-F238E27FC236}">
                    <a16:creationId xmlns:a16="http://schemas.microsoft.com/office/drawing/2014/main" id="{AA1BB422-B1EF-50A0-DCBB-F947BDE80DA0}"/>
                  </a:ext>
                </a:extLst>
              </p:cNvPr>
              <p:cNvSpPr/>
              <p:nvPr/>
            </p:nvSpPr>
            <p:spPr>
              <a:xfrm>
                <a:off x="7897432" y="411335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9" name="Graphic 18">
                <a:extLst>
                  <a:ext uri="{FF2B5EF4-FFF2-40B4-BE49-F238E27FC236}">
                    <a16:creationId xmlns:a16="http://schemas.microsoft.com/office/drawing/2014/main" id="{61352F7C-E0FB-94F8-6B85-995423EC1EA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025225" y="4241152"/>
                <a:ext cx="252000" cy="252000"/>
              </a:xfrm>
              <a:prstGeom prst="rect">
                <a:avLst/>
              </a:prstGeom>
            </p:spPr>
          </p:pic>
        </p:grpSp>
      </p:grpSp>
    </p:spTree>
    <p:extLst>
      <p:ext uri="{BB962C8B-B14F-4D97-AF65-F5344CB8AC3E}">
        <p14:creationId xmlns:p14="http://schemas.microsoft.com/office/powerpoint/2010/main" val="3576960306"/>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5CCA2FCA-1C43-96D5-E750-A7B4C2951CB7}"/>
              </a:ext>
            </a:extLst>
          </p:cNvPr>
          <p:cNvSpPr txBox="1"/>
          <p:nvPr/>
        </p:nvSpPr>
        <p:spPr>
          <a:xfrm>
            <a:off x="527889" y="1425535"/>
            <a:ext cx="5755173"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CRISP-DM Framework</a:t>
            </a:r>
          </a:p>
        </p:txBody>
      </p:sp>
      <p:grpSp>
        <p:nvGrpSpPr>
          <p:cNvPr id="4" name="Group 3">
            <a:extLst>
              <a:ext uri="{FF2B5EF4-FFF2-40B4-BE49-F238E27FC236}">
                <a16:creationId xmlns:a16="http://schemas.microsoft.com/office/drawing/2014/main" id="{FE0F0505-EE3D-EB1B-9F0E-80DEC2662E77}"/>
              </a:ext>
            </a:extLst>
          </p:cNvPr>
          <p:cNvGrpSpPr/>
          <p:nvPr/>
        </p:nvGrpSpPr>
        <p:grpSpPr>
          <a:xfrm>
            <a:off x="2934303" y="2488840"/>
            <a:ext cx="5825951" cy="2881993"/>
            <a:chOff x="1244818" y="2519320"/>
            <a:chExt cx="5825951" cy="2881993"/>
          </a:xfrm>
        </p:grpSpPr>
        <p:grpSp>
          <p:nvGrpSpPr>
            <p:cNvPr id="20" name="Group 19">
              <a:extLst>
                <a:ext uri="{FF2B5EF4-FFF2-40B4-BE49-F238E27FC236}">
                  <a16:creationId xmlns:a16="http://schemas.microsoft.com/office/drawing/2014/main" id="{01843788-097F-0E0B-DC10-5666B7ECA5E8}"/>
                </a:ext>
              </a:extLst>
            </p:cNvPr>
            <p:cNvGrpSpPr/>
            <p:nvPr/>
          </p:nvGrpSpPr>
          <p:grpSpPr>
            <a:xfrm>
              <a:off x="1244818" y="2519320"/>
              <a:ext cx="5825951" cy="1969226"/>
              <a:chOff x="2275463" y="3116962"/>
              <a:chExt cx="4580570" cy="1548276"/>
            </a:xfrm>
          </p:grpSpPr>
          <p:sp>
            <p:nvSpPr>
              <p:cNvPr id="3" name="Oval 2">
                <a:extLst>
                  <a:ext uri="{FF2B5EF4-FFF2-40B4-BE49-F238E27FC236}">
                    <a16:creationId xmlns:a16="http://schemas.microsoft.com/office/drawing/2014/main" id="{ADCC6C45-A1BC-7B9D-5408-3DA3C2C40F22}"/>
                  </a:ext>
                </a:extLst>
              </p:cNvPr>
              <p:cNvSpPr/>
              <p:nvPr/>
            </p:nvSpPr>
            <p:spPr>
              <a:xfrm>
                <a:off x="3788520"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5B03A399-F956-52FB-C8F7-04F46847C188}"/>
                  </a:ext>
                </a:extLst>
              </p:cNvPr>
              <p:cNvSpPr/>
              <p:nvPr/>
            </p:nvSpPr>
            <p:spPr>
              <a:xfrm>
                <a:off x="533121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ADA99FFC-484F-9BE2-8938-C8EFDACE4E97}"/>
                  </a:ext>
                </a:extLst>
              </p:cNvPr>
              <p:cNvSpPr/>
              <p:nvPr/>
            </p:nvSpPr>
            <p:spPr>
              <a:xfrm>
                <a:off x="5613749"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3</a:t>
                </a:r>
                <a:endParaRPr lang="en-GB" sz="6000" i="1" dirty="0">
                  <a:solidFill>
                    <a:srgbClr val="484525">
                      <a:alpha val="60000"/>
                    </a:srgbClr>
                  </a:solidFill>
                  <a:latin typeface="Playfair Display" pitchFamily="2" charset="0"/>
                </a:endParaRPr>
              </a:p>
            </p:txBody>
          </p:sp>
          <p:sp>
            <p:nvSpPr>
              <p:cNvPr id="12" name="Oval 11">
                <a:extLst>
                  <a:ext uri="{FF2B5EF4-FFF2-40B4-BE49-F238E27FC236}">
                    <a16:creationId xmlns:a16="http://schemas.microsoft.com/office/drawing/2014/main" id="{2546F1D2-7018-AD76-BACF-D4B994E0C286}"/>
                  </a:ext>
                </a:extLst>
              </p:cNvPr>
              <p:cNvSpPr/>
              <p:nvPr/>
            </p:nvSpPr>
            <p:spPr>
              <a:xfrm>
                <a:off x="227546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049D46BB-CB46-F362-BC71-5DE71D55B2E6}"/>
                  </a:ext>
                </a:extLst>
              </p:cNvPr>
              <p:cNvSpPr/>
              <p:nvPr/>
            </p:nvSpPr>
            <p:spPr>
              <a:xfrm>
                <a:off x="4084685"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2</a:t>
                </a:r>
                <a:endParaRPr lang="en-GB" sz="6000" i="1" dirty="0">
                  <a:solidFill>
                    <a:srgbClr val="484525">
                      <a:alpha val="60000"/>
                    </a:srgbClr>
                  </a:solidFill>
                  <a:latin typeface="Playfair Display" pitchFamily="2" charset="0"/>
                </a:endParaRPr>
              </a:p>
            </p:txBody>
          </p:sp>
          <p:sp>
            <p:nvSpPr>
              <p:cNvPr id="14" name="Oval 13">
                <a:extLst>
                  <a:ext uri="{FF2B5EF4-FFF2-40B4-BE49-F238E27FC236}">
                    <a16:creationId xmlns:a16="http://schemas.microsoft.com/office/drawing/2014/main" id="{10EEAB1A-C72B-01F2-DC6C-96FFFA8D6CA4}"/>
                  </a:ext>
                </a:extLst>
              </p:cNvPr>
              <p:cNvSpPr/>
              <p:nvPr/>
            </p:nvSpPr>
            <p:spPr>
              <a:xfrm>
                <a:off x="2555621"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16000" rtlCol="0" anchor="ctr"/>
              <a:lstStyle/>
              <a:p>
                <a:pPr algn="ctr"/>
                <a:r>
                  <a:rPr lang="en-US" sz="6000" i="1" dirty="0">
                    <a:solidFill>
                      <a:srgbClr val="484525">
                        <a:alpha val="60000"/>
                      </a:srgbClr>
                    </a:solidFill>
                    <a:latin typeface="Playfair Display" pitchFamily="2" charset="0"/>
                  </a:rPr>
                  <a:t>1</a:t>
                </a:r>
                <a:endParaRPr lang="en-GB" sz="6000" i="1" dirty="0">
                  <a:solidFill>
                    <a:srgbClr val="484525">
                      <a:alpha val="60000"/>
                    </a:srgbClr>
                  </a:solidFill>
                  <a:latin typeface="Playfair Display" pitchFamily="2" charset="0"/>
                </a:endParaRPr>
              </a:p>
            </p:txBody>
          </p:sp>
          <p:sp>
            <p:nvSpPr>
              <p:cNvPr id="15" name="Arc 14">
                <a:extLst>
                  <a:ext uri="{FF2B5EF4-FFF2-40B4-BE49-F238E27FC236}">
                    <a16:creationId xmlns:a16="http://schemas.microsoft.com/office/drawing/2014/main" id="{00F6983C-991E-5DFF-95FC-C5E03D316887}"/>
                  </a:ext>
                </a:extLst>
              </p:cNvPr>
              <p:cNvSpPr>
                <a:spLocks noChangeAspect="1"/>
              </p:cNvSpPr>
              <p:nvPr/>
            </p:nvSpPr>
            <p:spPr>
              <a:xfrm>
                <a:off x="2275463" y="3138838"/>
                <a:ext cx="1526400" cy="1526400"/>
              </a:xfrm>
              <a:prstGeom prst="arc">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c 15">
                <a:extLst>
                  <a:ext uri="{FF2B5EF4-FFF2-40B4-BE49-F238E27FC236}">
                    <a16:creationId xmlns:a16="http://schemas.microsoft.com/office/drawing/2014/main" id="{251B537F-F250-7D1D-B0AA-4C2083C9A32D}"/>
                  </a:ext>
                </a:extLst>
              </p:cNvPr>
              <p:cNvSpPr>
                <a:spLocks noChangeAspect="1"/>
              </p:cNvSpPr>
              <p:nvPr/>
            </p:nvSpPr>
            <p:spPr>
              <a:xfrm rot="10800000">
                <a:off x="3801347" y="3116962"/>
                <a:ext cx="1526400" cy="1526400"/>
              </a:xfrm>
              <a:prstGeom prst="arc">
                <a:avLst>
                  <a:gd name="adj1" fmla="val 10863752"/>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16180A"/>
                  </a:solidFill>
                  <a:latin typeface="+mj-lt"/>
                </a:endParaRPr>
              </a:p>
            </p:txBody>
          </p:sp>
          <p:sp>
            <p:nvSpPr>
              <p:cNvPr id="17" name="Arc 16">
                <a:extLst>
                  <a:ext uri="{FF2B5EF4-FFF2-40B4-BE49-F238E27FC236}">
                    <a16:creationId xmlns:a16="http://schemas.microsoft.com/office/drawing/2014/main" id="{FAB58BDB-249F-CAB1-F554-19A8D42CC208}"/>
                  </a:ext>
                </a:extLst>
              </p:cNvPr>
              <p:cNvSpPr>
                <a:spLocks noChangeAspect="1"/>
              </p:cNvSpPr>
              <p:nvPr/>
            </p:nvSpPr>
            <p:spPr>
              <a:xfrm flipH="1">
                <a:off x="5325112" y="3138838"/>
                <a:ext cx="1526400" cy="1526400"/>
              </a:xfrm>
              <a:prstGeom prst="arc">
                <a:avLst>
                  <a:gd name="adj1" fmla="val 10772675"/>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2" name="TextBox 21">
              <a:extLst>
                <a:ext uri="{FF2B5EF4-FFF2-40B4-BE49-F238E27FC236}">
                  <a16:creationId xmlns:a16="http://schemas.microsoft.com/office/drawing/2014/main" id="{E0C20A4E-8CA2-F78B-9944-87D891CEAB10}"/>
                </a:ext>
              </a:extLst>
            </p:cNvPr>
            <p:cNvSpPr txBox="1"/>
            <p:nvPr/>
          </p:nvSpPr>
          <p:spPr>
            <a:xfrm>
              <a:off x="1422316" y="4785760"/>
              <a:ext cx="1670659"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sz="2000" dirty="0">
                  <a:solidFill>
                    <a:srgbClr val="FFFFFF"/>
                  </a:solidFill>
                </a:rPr>
                <a:t>Business Understanding</a:t>
              </a:r>
              <a:endParaRPr lang="en-US" sz="2000" dirty="0">
                <a:solidFill>
                  <a:srgbClr val="FFFFFF"/>
                </a:solidFill>
              </a:endParaRPr>
            </a:p>
          </p:txBody>
        </p:sp>
        <p:sp>
          <p:nvSpPr>
            <p:cNvPr id="23" name="TextBox 22">
              <a:extLst>
                <a:ext uri="{FF2B5EF4-FFF2-40B4-BE49-F238E27FC236}">
                  <a16:creationId xmlns:a16="http://schemas.microsoft.com/office/drawing/2014/main" id="{3674AF9B-BEB3-E65E-C232-3B998A23ADD1}"/>
                </a:ext>
              </a:extLst>
            </p:cNvPr>
            <p:cNvSpPr txBox="1"/>
            <p:nvPr/>
          </p:nvSpPr>
          <p:spPr>
            <a:xfrm>
              <a:off x="3320936" y="4785760"/>
              <a:ext cx="1670659"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sz="2000" dirty="0">
                  <a:solidFill>
                    <a:srgbClr val="FFFFFF"/>
                  </a:solidFill>
                </a:rPr>
                <a:t>Data </a:t>
              </a:r>
            </a:p>
            <a:p>
              <a:pPr algn="ctr"/>
              <a:r>
                <a:rPr lang="en-GB" sz="2000" dirty="0">
                  <a:solidFill>
                    <a:srgbClr val="FFFFFF"/>
                  </a:solidFill>
                </a:rPr>
                <a:t>Understanding</a:t>
              </a:r>
              <a:endParaRPr lang="en-US" sz="2000" dirty="0">
                <a:solidFill>
                  <a:srgbClr val="FFFFFF"/>
                </a:solidFill>
              </a:endParaRPr>
            </a:p>
          </p:txBody>
        </p:sp>
        <p:sp>
          <p:nvSpPr>
            <p:cNvPr id="24" name="TextBox 23">
              <a:extLst>
                <a:ext uri="{FF2B5EF4-FFF2-40B4-BE49-F238E27FC236}">
                  <a16:creationId xmlns:a16="http://schemas.microsoft.com/office/drawing/2014/main" id="{D4741CA4-569D-18E2-0D27-C2E7B6BA12F9}"/>
                </a:ext>
              </a:extLst>
            </p:cNvPr>
            <p:cNvSpPr txBox="1"/>
            <p:nvPr/>
          </p:nvSpPr>
          <p:spPr>
            <a:xfrm>
              <a:off x="5286365" y="4785760"/>
              <a:ext cx="1670659"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rgbClr val="FFFFFF"/>
                  </a:solidFill>
                </a:rPr>
                <a:t>Data </a:t>
              </a:r>
            </a:p>
            <a:p>
              <a:pPr algn="ctr"/>
              <a:r>
                <a:rPr lang="en-US" sz="2000" dirty="0">
                  <a:solidFill>
                    <a:srgbClr val="FFFFFF"/>
                  </a:solidFill>
                </a:rPr>
                <a:t>Preparation</a:t>
              </a:r>
            </a:p>
          </p:txBody>
        </p:sp>
      </p:grpSp>
      <p:grpSp>
        <p:nvGrpSpPr>
          <p:cNvPr id="26" name="Group 25">
            <a:extLst>
              <a:ext uri="{FF2B5EF4-FFF2-40B4-BE49-F238E27FC236}">
                <a16:creationId xmlns:a16="http://schemas.microsoft.com/office/drawing/2014/main" id="{9F14331E-E4EE-04D6-ED84-9559C252ABD0}"/>
              </a:ext>
            </a:extLst>
          </p:cNvPr>
          <p:cNvGrpSpPr/>
          <p:nvPr/>
        </p:nvGrpSpPr>
        <p:grpSpPr>
          <a:xfrm>
            <a:off x="234546" y="441856"/>
            <a:ext cx="11644423" cy="507586"/>
            <a:chOff x="299484" y="7258215"/>
            <a:chExt cx="11644423" cy="507586"/>
          </a:xfrm>
        </p:grpSpPr>
        <p:cxnSp>
          <p:nvCxnSpPr>
            <p:cNvPr id="27" name="Straight Connector 26">
              <a:extLst>
                <a:ext uri="{FF2B5EF4-FFF2-40B4-BE49-F238E27FC236}">
                  <a16:creationId xmlns:a16="http://schemas.microsoft.com/office/drawing/2014/main" id="{2E076D13-8A1E-CE37-3B5E-68E408AEDC68}"/>
                </a:ext>
              </a:extLst>
            </p:cNvPr>
            <p:cNvCxnSpPr/>
            <p:nvPr/>
          </p:nvCxnSpPr>
          <p:spPr>
            <a:xfrm>
              <a:off x="299484" y="7448091"/>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32" name="Group 31">
              <a:extLst>
                <a:ext uri="{FF2B5EF4-FFF2-40B4-BE49-F238E27FC236}">
                  <a16:creationId xmlns:a16="http://schemas.microsoft.com/office/drawing/2014/main" id="{513D0EA1-1FA1-3A2C-4685-3A298A9E1655}"/>
                </a:ext>
              </a:extLst>
            </p:cNvPr>
            <p:cNvGrpSpPr/>
            <p:nvPr/>
          </p:nvGrpSpPr>
          <p:grpSpPr>
            <a:xfrm>
              <a:off x="5968207" y="7258215"/>
              <a:ext cx="507586" cy="507586"/>
              <a:chOff x="7897432" y="4113359"/>
              <a:chExt cx="507586" cy="507586"/>
            </a:xfrm>
          </p:grpSpPr>
          <p:sp useBgFill="1">
            <p:nvSpPr>
              <p:cNvPr id="34" name="Oval 33">
                <a:extLst>
                  <a:ext uri="{FF2B5EF4-FFF2-40B4-BE49-F238E27FC236}">
                    <a16:creationId xmlns:a16="http://schemas.microsoft.com/office/drawing/2014/main" id="{FF2543C4-99B4-07A2-144F-5BCC4EBB2E45}"/>
                  </a:ext>
                </a:extLst>
              </p:cNvPr>
              <p:cNvSpPr/>
              <p:nvPr/>
            </p:nvSpPr>
            <p:spPr>
              <a:xfrm>
                <a:off x="7897432" y="411335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5" name="Graphic 34">
                <a:extLst>
                  <a:ext uri="{FF2B5EF4-FFF2-40B4-BE49-F238E27FC236}">
                    <a16:creationId xmlns:a16="http://schemas.microsoft.com/office/drawing/2014/main" id="{6970EA6C-2606-829B-8AEE-D3B1B08098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25225" y="4241152"/>
                <a:ext cx="252000" cy="252000"/>
              </a:xfrm>
              <a:prstGeom prst="rect">
                <a:avLst/>
              </a:prstGeom>
            </p:spPr>
          </p:pic>
        </p:grpSp>
      </p:grpSp>
      <p:sp>
        <p:nvSpPr>
          <p:cNvPr id="36" name="TextBox 35">
            <a:extLst>
              <a:ext uri="{FF2B5EF4-FFF2-40B4-BE49-F238E27FC236}">
                <a16:creationId xmlns:a16="http://schemas.microsoft.com/office/drawing/2014/main" id="{3DB5B2FC-F3F0-321E-BF71-380DF017F01D}"/>
              </a:ext>
            </a:extLst>
          </p:cNvPr>
          <p:cNvSpPr txBox="1"/>
          <p:nvPr/>
        </p:nvSpPr>
        <p:spPr>
          <a:xfrm>
            <a:off x="127866" y="311429"/>
            <a:ext cx="1528042" cy="319439"/>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Methodology</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spTree>
    <p:extLst>
      <p:ext uri="{BB962C8B-B14F-4D97-AF65-F5344CB8AC3E}">
        <p14:creationId xmlns:p14="http://schemas.microsoft.com/office/powerpoint/2010/main" val="25363035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CB761-CE3C-00A8-355B-6146C7FF3B71}"/>
            </a:ext>
          </a:extLst>
        </p:cNvPr>
        <p:cNvGrpSpPr/>
        <p:nvPr/>
      </p:nvGrpSpPr>
      <p:grpSpPr>
        <a:xfrm>
          <a:off x="0" y="0"/>
          <a:ext cx="0" cy="0"/>
          <a:chOff x="0" y="0"/>
          <a:chExt cx="0" cy="0"/>
        </a:xfrm>
      </p:grpSpPr>
      <p:sp>
        <p:nvSpPr>
          <p:cNvPr id="21" name="TextBox 20">
            <a:extLst>
              <a:ext uri="{FF2B5EF4-FFF2-40B4-BE49-F238E27FC236}">
                <a16:creationId xmlns:a16="http://schemas.microsoft.com/office/drawing/2014/main" id="{2F76603F-20BF-C44E-0CAC-69FE015AFB17}"/>
              </a:ext>
            </a:extLst>
          </p:cNvPr>
          <p:cNvSpPr txBox="1"/>
          <p:nvPr/>
        </p:nvSpPr>
        <p:spPr>
          <a:xfrm>
            <a:off x="527889" y="1425535"/>
            <a:ext cx="5755173" cy="58721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CRISP-DM Framework</a:t>
            </a:r>
          </a:p>
        </p:txBody>
      </p:sp>
      <p:grpSp>
        <p:nvGrpSpPr>
          <p:cNvPr id="26" name="Group 25">
            <a:extLst>
              <a:ext uri="{FF2B5EF4-FFF2-40B4-BE49-F238E27FC236}">
                <a16:creationId xmlns:a16="http://schemas.microsoft.com/office/drawing/2014/main" id="{0A9B2796-1073-A0CB-19A0-362DCFC58549}"/>
              </a:ext>
            </a:extLst>
          </p:cNvPr>
          <p:cNvGrpSpPr/>
          <p:nvPr/>
        </p:nvGrpSpPr>
        <p:grpSpPr>
          <a:xfrm>
            <a:off x="234546" y="441856"/>
            <a:ext cx="11644423" cy="507586"/>
            <a:chOff x="299484" y="7258215"/>
            <a:chExt cx="11644423" cy="507586"/>
          </a:xfrm>
        </p:grpSpPr>
        <p:cxnSp>
          <p:nvCxnSpPr>
            <p:cNvPr id="27" name="Straight Connector 26">
              <a:extLst>
                <a:ext uri="{FF2B5EF4-FFF2-40B4-BE49-F238E27FC236}">
                  <a16:creationId xmlns:a16="http://schemas.microsoft.com/office/drawing/2014/main" id="{2912520B-3993-DFD4-93A3-F21A03D5134F}"/>
                </a:ext>
              </a:extLst>
            </p:cNvPr>
            <p:cNvCxnSpPr/>
            <p:nvPr/>
          </p:nvCxnSpPr>
          <p:spPr>
            <a:xfrm>
              <a:off x="299484" y="7448091"/>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32" name="Group 31">
              <a:extLst>
                <a:ext uri="{FF2B5EF4-FFF2-40B4-BE49-F238E27FC236}">
                  <a16:creationId xmlns:a16="http://schemas.microsoft.com/office/drawing/2014/main" id="{1D3C94C7-B18E-2506-F695-C239B33ADDE6}"/>
                </a:ext>
              </a:extLst>
            </p:cNvPr>
            <p:cNvGrpSpPr/>
            <p:nvPr/>
          </p:nvGrpSpPr>
          <p:grpSpPr>
            <a:xfrm>
              <a:off x="5968207" y="7258215"/>
              <a:ext cx="507586" cy="507586"/>
              <a:chOff x="7897432" y="4113359"/>
              <a:chExt cx="507586" cy="507586"/>
            </a:xfrm>
          </p:grpSpPr>
          <p:sp useBgFill="1">
            <p:nvSpPr>
              <p:cNvPr id="34" name="Oval 33">
                <a:extLst>
                  <a:ext uri="{FF2B5EF4-FFF2-40B4-BE49-F238E27FC236}">
                    <a16:creationId xmlns:a16="http://schemas.microsoft.com/office/drawing/2014/main" id="{78CF8E8E-27A3-22AA-9147-A2A48F26DD91}"/>
                  </a:ext>
                </a:extLst>
              </p:cNvPr>
              <p:cNvSpPr/>
              <p:nvPr/>
            </p:nvSpPr>
            <p:spPr>
              <a:xfrm>
                <a:off x="7897432" y="4113359"/>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5" name="Graphic 34">
                <a:extLst>
                  <a:ext uri="{FF2B5EF4-FFF2-40B4-BE49-F238E27FC236}">
                    <a16:creationId xmlns:a16="http://schemas.microsoft.com/office/drawing/2014/main" id="{6AB0A3E9-BED8-C958-A186-121DED6AB3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25225" y="4241152"/>
                <a:ext cx="252000" cy="252000"/>
              </a:xfrm>
              <a:prstGeom prst="rect">
                <a:avLst/>
              </a:prstGeom>
            </p:spPr>
          </p:pic>
        </p:grpSp>
      </p:grpSp>
      <p:sp>
        <p:nvSpPr>
          <p:cNvPr id="36" name="TextBox 35">
            <a:extLst>
              <a:ext uri="{FF2B5EF4-FFF2-40B4-BE49-F238E27FC236}">
                <a16:creationId xmlns:a16="http://schemas.microsoft.com/office/drawing/2014/main" id="{97FD267D-CA6F-2726-9C68-82FD05492188}"/>
              </a:ext>
            </a:extLst>
          </p:cNvPr>
          <p:cNvSpPr txBox="1"/>
          <p:nvPr/>
        </p:nvSpPr>
        <p:spPr>
          <a:xfrm>
            <a:off x="127866" y="311429"/>
            <a:ext cx="1528042" cy="319439"/>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Methodology</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2" name="Group 1">
            <a:extLst>
              <a:ext uri="{FF2B5EF4-FFF2-40B4-BE49-F238E27FC236}">
                <a16:creationId xmlns:a16="http://schemas.microsoft.com/office/drawing/2014/main" id="{789BDA00-E5DA-294D-379B-A5D107074AF7}"/>
              </a:ext>
            </a:extLst>
          </p:cNvPr>
          <p:cNvGrpSpPr/>
          <p:nvPr/>
        </p:nvGrpSpPr>
        <p:grpSpPr>
          <a:xfrm>
            <a:off x="2868373" y="2488840"/>
            <a:ext cx="5825951" cy="2574217"/>
            <a:chOff x="3092079" y="2542469"/>
            <a:chExt cx="5825951" cy="2574217"/>
          </a:xfrm>
        </p:grpSpPr>
        <p:grpSp>
          <p:nvGrpSpPr>
            <p:cNvPr id="6" name="Group 5">
              <a:extLst>
                <a:ext uri="{FF2B5EF4-FFF2-40B4-BE49-F238E27FC236}">
                  <a16:creationId xmlns:a16="http://schemas.microsoft.com/office/drawing/2014/main" id="{28D0B427-AF38-6F75-57BD-6DBDB59B51F6}"/>
                </a:ext>
              </a:extLst>
            </p:cNvPr>
            <p:cNvGrpSpPr/>
            <p:nvPr/>
          </p:nvGrpSpPr>
          <p:grpSpPr>
            <a:xfrm>
              <a:off x="3092079" y="2542469"/>
              <a:ext cx="5825951" cy="1969226"/>
              <a:chOff x="2275463" y="3116962"/>
              <a:chExt cx="4580570" cy="1548276"/>
            </a:xfrm>
          </p:grpSpPr>
          <p:sp>
            <p:nvSpPr>
              <p:cNvPr id="19" name="Oval 18">
                <a:extLst>
                  <a:ext uri="{FF2B5EF4-FFF2-40B4-BE49-F238E27FC236}">
                    <a16:creationId xmlns:a16="http://schemas.microsoft.com/office/drawing/2014/main" id="{FEA73D74-B8DD-7C83-CE65-C963D6FEE469}"/>
                  </a:ext>
                </a:extLst>
              </p:cNvPr>
              <p:cNvSpPr/>
              <p:nvPr/>
            </p:nvSpPr>
            <p:spPr>
              <a:xfrm>
                <a:off x="3788520"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l 24">
                <a:extLst>
                  <a:ext uri="{FF2B5EF4-FFF2-40B4-BE49-F238E27FC236}">
                    <a16:creationId xmlns:a16="http://schemas.microsoft.com/office/drawing/2014/main" id="{69D85EB8-EC4F-B91B-EF98-24AA1461421D}"/>
                  </a:ext>
                </a:extLst>
              </p:cNvPr>
              <p:cNvSpPr/>
              <p:nvPr/>
            </p:nvSpPr>
            <p:spPr>
              <a:xfrm>
                <a:off x="533121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BD888988-65D3-F92E-D9F8-DC0C7D404AD5}"/>
                  </a:ext>
                </a:extLst>
              </p:cNvPr>
              <p:cNvSpPr/>
              <p:nvPr/>
            </p:nvSpPr>
            <p:spPr>
              <a:xfrm>
                <a:off x="5613749"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endParaRPr lang="en-GB" sz="6000" i="1" dirty="0">
                  <a:solidFill>
                    <a:srgbClr val="484525">
                      <a:alpha val="60000"/>
                    </a:srgbClr>
                  </a:solidFill>
                  <a:latin typeface="Playfair Display" pitchFamily="2" charset="0"/>
                </a:endParaRPr>
              </a:p>
            </p:txBody>
          </p:sp>
          <p:sp>
            <p:nvSpPr>
              <p:cNvPr id="29" name="Oval 28">
                <a:extLst>
                  <a:ext uri="{FF2B5EF4-FFF2-40B4-BE49-F238E27FC236}">
                    <a16:creationId xmlns:a16="http://schemas.microsoft.com/office/drawing/2014/main" id="{7C35E18B-6737-6667-7816-F2ABD696CA6A}"/>
                  </a:ext>
                </a:extLst>
              </p:cNvPr>
              <p:cNvSpPr/>
              <p:nvPr/>
            </p:nvSpPr>
            <p:spPr>
              <a:xfrm>
                <a:off x="2275463" y="3138838"/>
                <a:ext cx="1524820" cy="1524818"/>
              </a:xfrm>
              <a:prstGeom prst="ellipse">
                <a:avLst/>
              </a:prstGeom>
              <a:noFill/>
              <a:ln w="12700" cap="rnd">
                <a:solidFill>
                  <a:schemeClr val="bg1"/>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Oval 29">
                <a:extLst>
                  <a:ext uri="{FF2B5EF4-FFF2-40B4-BE49-F238E27FC236}">
                    <a16:creationId xmlns:a16="http://schemas.microsoft.com/office/drawing/2014/main" id="{F023885F-9C5F-D201-AE0C-E51B294B4DB0}"/>
                  </a:ext>
                </a:extLst>
              </p:cNvPr>
              <p:cNvSpPr/>
              <p:nvPr/>
            </p:nvSpPr>
            <p:spPr>
              <a:xfrm>
                <a:off x="4084685"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88000" rtlCol="0" anchor="ctr"/>
              <a:lstStyle/>
              <a:p>
                <a:pPr algn="ctr"/>
                <a:r>
                  <a:rPr lang="en-US" sz="6000" i="1" dirty="0">
                    <a:solidFill>
                      <a:srgbClr val="484525">
                        <a:alpha val="60000"/>
                      </a:srgbClr>
                    </a:solidFill>
                    <a:latin typeface="Playfair Display" pitchFamily="2" charset="0"/>
                  </a:rPr>
                  <a:t>5</a:t>
                </a:r>
                <a:endParaRPr lang="en-GB" sz="6000" i="1" dirty="0">
                  <a:solidFill>
                    <a:srgbClr val="484525">
                      <a:alpha val="60000"/>
                    </a:srgbClr>
                  </a:solidFill>
                  <a:latin typeface="Playfair Display" pitchFamily="2" charset="0"/>
                </a:endParaRPr>
              </a:p>
            </p:txBody>
          </p:sp>
          <p:sp>
            <p:nvSpPr>
              <p:cNvPr id="31" name="Oval 30">
                <a:extLst>
                  <a:ext uri="{FF2B5EF4-FFF2-40B4-BE49-F238E27FC236}">
                    <a16:creationId xmlns:a16="http://schemas.microsoft.com/office/drawing/2014/main" id="{98D2E8CE-E571-4531-5B80-3E2AA88AFFF2}"/>
                  </a:ext>
                </a:extLst>
              </p:cNvPr>
              <p:cNvSpPr/>
              <p:nvPr/>
            </p:nvSpPr>
            <p:spPr>
              <a:xfrm>
                <a:off x="2555621" y="3418995"/>
                <a:ext cx="964504" cy="964504"/>
              </a:xfrm>
              <a:prstGeom prst="ellipse">
                <a:avLst/>
              </a:prstGeom>
              <a:solidFill>
                <a:schemeClr val="bg1">
                  <a:alpha val="70000"/>
                </a:schemeClr>
              </a:solidFill>
              <a:ln w="38100">
                <a:solidFill>
                  <a:schemeClr val="bg1"/>
                </a:solidFill>
              </a:ln>
              <a:effectLst>
                <a:innerShdw blurRad="381000">
                  <a:schemeClr val="bg1"/>
                </a:innerShdw>
              </a:effectLst>
            </p:spPr>
            <p:txBody>
              <a:bodyPr vert="horz" wrap="none" lIns="0" tIns="0" rIns="0" bIns="216000" rtlCol="0" anchor="ctr"/>
              <a:lstStyle/>
              <a:p>
                <a:pPr algn="ctr"/>
                <a:endParaRPr lang="en-GB" sz="6000" i="1" dirty="0">
                  <a:solidFill>
                    <a:srgbClr val="484525">
                      <a:alpha val="60000"/>
                    </a:srgbClr>
                  </a:solidFill>
                  <a:latin typeface="Playfair Display" pitchFamily="2" charset="0"/>
                </a:endParaRPr>
              </a:p>
            </p:txBody>
          </p:sp>
          <p:sp>
            <p:nvSpPr>
              <p:cNvPr id="33" name="Arc 32">
                <a:extLst>
                  <a:ext uri="{FF2B5EF4-FFF2-40B4-BE49-F238E27FC236}">
                    <a16:creationId xmlns:a16="http://schemas.microsoft.com/office/drawing/2014/main" id="{F41F0BE6-4425-2EED-421A-C4C739754F7E}"/>
                  </a:ext>
                </a:extLst>
              </p:cNvPr>
              <p:cNvSpPr>
                <a:spLocks noChangeAspect="1"/>
              </p:cNvSpPr>
              <p:nvPr/>
            </p:nvSpPr>
            <p:spPr>
              <a:xfrm>
                <a:off x="2275463" y="3138838"/>
                <a:ext cx="1526400" cy="1526400"/>
              </a:xfrm>
              <a:prstGeom prst="arc">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Arc 36">
                <a:extLst>
                  <a:ext uri="{FF2B5EF4-FFF2-40B4-BE49-F238E27FC236}">
                    <a16:creationId xmlns:a16="http://schemas.microsoft.com/office/drawing/2014/main" id="{82CC0646-B171-4624-8F44-1C235A996FC0}"/>
                  </a:ext>
                </a:extLst>
              </p:cNvPr>
              <p:cNvSpPr>
                <a:spLocks noChangeAspect="1"/>
              </p:cNvSpPr>
              <p:nvPr/>
            </p:nvSpPr>
            <p:spPr>
              <a:xfrm rot="10800000">
                <a:off x="3801347" y="3116962"/>
                <a:ext cx="1526400" cy="1526400"/>
              </a:xfrm>
              <a:prstGeom prst="arc">
                <a:avLst>
                  <a:gd name="adj1" fmla="val 10863752"/>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16180A"/>
                  </a:solidFill>
                  <a:latin typeface="+mj-lt"/>
                </a:endParaRPr>
              </a:p>
            </p:txBody>
          </p:sp>
          <p:sp>
            <p:nvSpPr>
              <p:cNvPr id="38" name="Arc 37">
                <a:extLst>
                  <a:ext uri="{FF2B5EF4-FFF2-40B4-BE49-F238E27FC236}">
                    <a16:creationId xmlns:a16="http://schemas.microsoft.com/office/drawing/2014/main" id="{0B749764-45FB-8507-3BD3-EFB3911C3E92}"/>
                  </a:ext>
                </a:extLst>
              </p:cNvPr>
              <p:cNvSpPr>
                <a:spLocks noChangeAspect="1"/>
              </p:cNvSpPr>
              <p:nvPr/>
            </p:nvSpPr>
            <p:spPr>
              <a:xfrm flipH="1">
                <a:off x="5325112" y="3138838"/>
                <a:ext cx="1526400" cy="1526400"/>
              </a:xfrm>
              <a:prstGeom prst="arc">
                <a:avLst>
                  <a:gd name="adj1" fmla="val 10772675"/>
                  <a:gd name="adj2" fmla="val 0"/>
                </a:avLst>
              </a:prstGeom>
              <a:noFill/>
              <a:ln w="38100" cap="rnd">
                <a:solidFill>
                  <a:schemeClr val="bg1"/>
                </a:solidFill>
                <a:round/>
              </a:ln>
              <a:effectLst>
                <a:outerShdw blurRad="127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extBox 6">
              <a:extLst>
                <a:ext uri="{FF2B5EF4-FFF2-40B4-BE49-F238E27FC236}">
                  <a16:creationId xmlns:a16="http://schemas.microsoft.com/office/drawing/2014/main" id="{E548ADB3-3555-4C5A-9662-C5FFEC05B656}"/>
                </a:ext>
              </a:extLst>
            </p:cNvPr>
            <p:cNvSpPr txBox="1"/>
            <p:nvPr/>
          </p:nvSpPr>
          <p:spPr>
            <a:xfrm>
              <a:off x="3269577" y="4808909"/>
              <a:ext cx="1670659"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sz="2000" dirty="0">
                  <a:solidFill>
                    <a:srgbClr val="FFFFFF"/>
                  </a:solidFill>
                </a:rPr>
                <a:t>Modelling</a:t>
              </a:r>
              <a:endParaRPr lang="en-US" sz="2000" dirty="0">
                <a:solidFill>
                  <a:srgbClr val="FFFFFF"/>
                </a:solidFill>
              </a:endParaRPr>
            </a:p>
          </p:txBody>
        </p:sp>
        <p:sp>
          <p:nvSpPr>
            <p:cNvPr id="9" name="TextBox 8">
              <a:extLst>
                <a:ext uri="{FF2B5EF4-FFF2-40B4-BE49-F238E27FC236}">
                  <a16:creationId xmlns:a16="http://schemas.microsoft.com/office/drawing/2014/main" id="{715D2DAC-8C96-00AD-F4E7-99B112A3153B}"/>
                </a:ext>
              </a:extLst>
            </p:cNvPr>
            <p:cNvSpPr txBox="1"/>
            <p:nvPr/>
          </p:nvSpPr>
          <p:spPr>
            <a:xfrm>
              <a:off x="5168197" y="4808909"/>
              <a:ext cx="1670659"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sz="2000" dirty="0">
                  <a:solidFill>
                    <a:srgbClr val="FFFFFF"/>
                  </a:solidFill>
                </a:rPr>
                <a:t>Evaluation</a:t>
              </a:r>
              <a:endParaRPr lang="en-US" dirty="0">
                <a:solidFill>
                  <a:srgbClr val="FFFFFF"/>
                </a:solidFill>
              </a:endParaRPr>
            </a:p>
          </p:txBody>
        </p:sp>
        <p:sp>
          <p:nvSpPr>
            <p:cNvPr id="10" name="TextBox 9">
              <a:extLst>
                <a:ext uri="{FF2B5EF4-FFF2-40B4-BE49-F238E27FC236}">
                  <a16:creationId xmlns:a16="http://schemas.microsoft.com/office/drawing/2014/main" id="{F1797AD3-7EA3-D36D-85C3-2D6F1BF6660C}"/>
                </a:ext>
              </a:extLst>
            </p:cNvPr>
            <p:cNvSpPr txBox="1"/>
            <p:nvPr/>
          </p:nvSpPr>
          <p:spPr>
            <a:xfrm>
              <a:off x="7133626" y="4808909"/>
              <a:ext cx="1670659"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GB" sz="2000" dirty="0">
                  <a:solidFill>
                    <a:srgbClr val="FFFFFF"/>
                  </a:solidFill>
                </a:rPr>
                <a:t>Deployment</a:t>
              </a:r>
              <a:endParaRPr lang="en-US" dirty="0">
                <a:solidFill>
                  <a:srgbClr val="FFFFFF"/>
                </a:solidFill>
              </a:endParaRPr>
            </a:p>
          </p:txBody>
        </p:sp>
        <p:sp>
          <p:nvSpPr>
            <p:cNvPr id="11" name="TextBox 10">
              <a:extLst>
                <a:ext uri="{FF2B5EF4-FFF2-40B4-BE49-F238E27FC236}">
                  <a16:creationId xmlns:a16="http://schemas.microsoft.com/office/drawing/2014/main" id="{05432A55-6DCB-0AF8-8748-A559D5BF70A1}"/>
                </a:ext>
              </a:extLst>
            </p:cNvPr>
            <p:cNvSpPr txBox="1"/>
            <p:nvPr/>
          </p:nvSpPr>
          <p:spPr>
            <a:xfrm>
              <a:off x="7628133" y="3032156"/>
              <a:ext cx="555585" cy="1015663"/>
            </a:xfrm>
            <a:prstGeom prst="rect">
              <a:avLst/>
            </a:prstGeom>
            <a:noFill/>
          </p:spPr>
          <p:txBody>
            <a:bodyPr wrap="square" rtlCol="0">
              <a:spAutoFit/>
            </a:bodyPr>
            <a:lstStyle/>
            <a:p>
              <a:r>
                <a:rPr lang="en-US" sz="6000" i="1" dirty="0">
                  <a:solidFill>
                    <a:srgbClr val="7B7866"/>
                  </a:solidFill>
                  <a:latin typeface="Playfair Display" panose="00000500000000000000" pitchFamily="2" charset="0"/>
                </a:rPr>
                <a:t>6</a:t>
              </a:r>
              <a:endParaRPr lang="LID4096" sz="6000" i="1" dirty="0">
                <a:solidFill>
                  <a:srgbClr val="7B7866"/>
                </a:solidFill>
                <a:latin typeface="Playfair Display" panose="00000500000000000000" pitchFamily="2" charset="0"/>
              </a:endParaRPr>
            </a:p>
          </p:txBody>
        </p:sp>
        <p:sp>
          <p:nvSpPr>
            <p:cNvPr id="18" name="TextBox 17">
              <a:extLst>
                <a:ext uri="{FF2B5EF4-FFF2-40B4-BE49-F238E27FC236}">
                  <a16:creationId xmlns:a16="http://schemas.microsoft.com/office/drawing/2014/main" id="{3F9C7E11-0919-C455-296B-EC364C27404B}"/>
                </a:ext>
              </a:extLst>
            </p:cNvPr>
            <p:cNvSpPr txBox="1"/>
            <p:nvPr/>
          </p:nvSpPr>
          <p:spPr>
            <a:xfrm>
              <a:off x="3803695" y="2853141"/>
              <a:ext cx="484887" cy="1015663"/>
            </a:xfrm>
            <a:prstGeom prst="rect">
              <a:avLst/>
            </a:prstGeom>
            <a:noFill/>
          </p:spPr>
          <p:txBody>
            <a:bodyPr wrap="square" rtlCol="0">
              <a:spAutoFit/>
            </a:bodyPr>
            <a:lstStyle/>
            <a:p>
              <a:r>
                <a:rPr lang="en-US" sz="6000" i="1" dirty="0">
                  <a:solidFill>
                    <a:srgbClr val="7B7866"/>
                  </a:solidFill>
                  <a:latin typeface="Playfair Display" panose="00000500000000000000" pitchFamily="2" charset="0"/>
                </a:rPr>
                <a:t>4</a:t>
              </a:r>
              <a:endParaRPr lang="LID4096" sz="6000" i="1" dirty="0">
                <a:solidFill>
                  <a:srgbClr val="7B7866"/>
                </a:solidFill>
                <a:latin typeface="Playfair Display" panose="00000500000000000000" pitchFamily="2" charset="0"/>
              </a:endParaRPr>
            </a:p>
          </p:txBody>
        </p:sp>
      </p:grpSp>
    </p:spTree>
    <p:extLst>
      <p:ext uri="{BB962C8B-B14F-4D97-AF65-F5344CB8AC3E}">
        <p14:creationId xmlns:p14="http://schemas.microsoft.com/office/powerpoint/2010/main" val="105158166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4BD21AB4-0B99-8212-4C32-0B1F9CF86644}"/>
              </a:ext>
            </a:extLst>
          </p:cNvPr>
          <p:cNvSpPr txBox="1"/>
          <p:nvPr/>
        </p:nvSpPr>
        <p:spPr>
          <a:xfrm>
            <a:off x="134409" y="1340395"/>
            <a:ext cx="11556848" cy="25530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9500" kern="0" dirty="0">
                <a:solidFill>
                  <a:prstClr val="white"/>
                </a:solidFill>
                <a:latin typeface="Darker Grotesque" pitchFamily="2" charset="0"/>
              </a:rPr>
              <a:t>Results</a:t>
            </a:r>
            <a:endParaRPr kumimoji="0" lang="en-US" sz="19500" b="0" i="0" u="none" strike="noStrike" kern="0" cap="none" spc="0" normalizeH="0" baseline="0" noProof="0" dirty="0">
              <a:ln>
                <a:noFill/>
              </a:ln>
              <a:solidFill>
                <a:prstClr val="white"/>
              </a:solidFill>
              <a:effectLst/>
              <a:uLnTx/>
              <a:uFillTx/>
              <a:latin typeface="Darker Grotesque" pitchFamily="2" charset="0"/>
            </a:endParaRPr>
          </a:p>
        </p:txBody>
      </p:sp>
      <p:grpSp>
        <p:nvGrpSpPr>
          <p:cNvPr id="3" name="Group 2">
            <a:extLst>
              <a:ext uri="{FF2B5EF4-FFF2-40B4-BE49-F238E27FC236}">
                <a16:creationId xmlns:a16="http://schemas.microsoft.com/office/drawing/2014/main" id="{5C64F1CD-40D6-FCE9-4617-734409AC7627}"/>
              </a:ext>
            </a:extLst>
          </p:cNvPr>
          <p:cNvGrpSpPr/>
          <p:nvPr/>
        </p:nvGrpSpPr>
        <p:grpSpPr>
          <a:xfrm>
            <a:off x="1695845" y="9870279"/>
            <a:ext cx="8048360" cy="2444157"/>
            <a:chOff x="1531611" y="3545303"/>
            <a:chExt cx="8048360" cy="2444157"/>
          </a:xfrm>
        </p:grpSpPr>
        <p:sp>
          <p:nvSpPr>
            <p:cNvPr id="4" name="TextBox 3">
              <a:extLst>
                <a:ext uri="{FF2B5EF4-FFF2-40B4-BE49-F238E27FC236}">
                  <a16:creationId xmlns:a16="http://schemas.microsoft.com/office/drawing/2014/main" id="{3E6DDFAD-2755-046C-6165-9B7D87AF5E81}"/>
                </a:ext>
              </a:extLst>
            </p:cNvPr>
            <p:cNvSpPr txBox="1"/>
            <p:nvPr/>
          </p:nvSpPr>
          <p:spPr>
            <a:xfrm>
              <a:off x="5160786" y="4745840"/>
              <a:ext cx="2027155" cy="707886"/>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rgbClr val="FFFFFF"/>
                  </a:solidFill>
                </a:rPr>
                <a:t>Slightly higher risk in males</a:t>
              </a:r>
              <a:endParaRPr lang="en-GB" sz="2000" dirty="0">
                <a:solidFill>
                  <a:srgbClr val="FFFFFF"/>
                </a:solidFill>
              </a:endParaRPr>
            </a:p>
          </p:txBody>
        </p:sp>
        <p:sp>
          <p:nvSpPr>
            <p:cNvPr id="5" name="TextBox 4">
              <a:extLst>
                <a:ext uri="{FF2B5EF4-FFF2-40B4-BE49-F238E27FC236}">
                  <a16:creationId xmlns:a16="http://schemas.microsoft.com/office/drawing/2014/main" id="{B9D79E05-EA84-B683-A192-E185C42A435B}"/>
                </a:ext>
              </a:extLst>
            </p:cNvPr>
            <p:cNvSpPr txBox="1"/>
            <p:nvPr/>
          </p:nvSpPr>
          <p:spPr>
            <a:xfrm>
              <a:off x="8012272" y="4809573"/>
              <a:ext cx="1567699" cy="101566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rgbClr val="FFFFFF"/>
                  </a:solidFill>
                </a:rPr>
                <a:t>Minor urban bias in diagnosis</a:t>
              </a:r>
              <a:endParaRPr lang="en-GB" sz="2000" dirty="0">
                <a:solidFill>
                  <a:srgbClr val="FFFFFF"/>
                </a:solidFill>
              </a:endParaRPr>
            </a:p>
          </p:txBody>
        </p:sp>
        <p:sp>
          <p:nvSpPr>
            <p:cNvPr id="6" name="TextBox 5">
              <a:extLst>
                <a:ext uri="{FF2B5EF4-FFF2-40B4-BE49-F238E27FC236}">
                  <a16:creationId xmlns:a16="http://schemas.microsoft.com/office/drawing/2014/main" id="{55EF93D4-9A08-6B89-35F1-F24CC9C11CC6}"/>
                </a:ext>
              </a:extLst>
            </p:cNvPr>
            <p:cNvSpPr txBox="1"/>
            <p:nvPr/>
          </p:nvSpPr>
          <p:spPr>
            <a:xfrm>
              <a:off x="1976021" y="4666021"/>
              <a:ext cx="2120484" cy="132343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rgbClr val="FFFFFF"/>
                  </a:solidFill>
                </a:rPr>
                <a:t>28.87% diagnosed vs. 71.13% non-diagnosed (class imbalance)</a:t>
              </a:r>
              <a:endParaRPr lang="en-GB" sz="2000" dirty="0">
                <a:solidFill>
                  <a:srgbClr val="FFFFFF"/>
                </a:solidFill>
              </a:endParaRPr>
            </a:p>
          </p:txBody>
        </p:sp>
        <p:grpSp>
          <p:nvGrpSpPr>
            <p:cNvPr id="7" name="Group 6">
              <a:extLst>
                <a:ext uri="{FF2B5EF4-FFF2-40B4-BE49-F238E27FC236}">
                  <a16:creationId xmlns:a16="http://schemas.microsoft.com/office/drawing/2014/main" id="{B360B49B-94E9-DC86-4469-EA966AEF1CF9}"/>
                </a:ext>
              </a:extLst>
            </p:cNvPr>
            <p:cNvGrpSpPr/>
            <p:nvPr/>
          </p:nvGrpSpPr>
          <p:grpSpPr>
            <a:xfrm>
              <a:off x="1531611" y="3545303"/>
              <a:ext cx="7979789" cy="2286000"/>
              <a:chOff x="1539624" y="3545303"/>
              <a:chExt cx="7979789" cy="2286000"/>
            </a:xfrm>
          </p:grpSpPr>
          <p:cxnSp>
            <p:nvCxnSpPr>
              <p:cNvPr id="8" name="Straight Connector 7">
                <a:extLst>
                  <a:ext uri="{FF2B5EF4-FFF2-40B4-BE49-F238E27FC236}">
                    <a16:creationId xmlns:a16="http://schemas.microsoft.com/office/drawing/2014/main" id="{E0545C97-09EF-02B7-7337-10A6C2EB1430}"/>
                  </a:ext>
                </a:extLst>
              </p:cNvPr>
              <p:cNvCxnSpPr>
                <a:cxnSpLocks/>
              </p:cNvCxnSpPr>
              <p:nvPr/>
            </p:nvCxnSpPr>
            <p:spPr>
              <a:xfrm>
                <a:off x="4659404" y="3545303"/>
                <a:ext cx="0" cy="228600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9" name="TextBox 8">
                <a:extLst>
                  <a:ext uri="{FF2B5EF4-FFF2-40B4-BE49-F238E27FC236}">
                    <a16:creationId xmlns:a16="http://schemas.microsoft.com/office/drawing/2014/main" id="{88E17F4C-4B46-E106-D9FA-D2A2348F33A0}"/>
                  </a:ext>
                </a:extLst>
              </p:cNvPr>
              <p:cNvSpPr txBox="1"/>
              <p:nvPr/>
            </p:nvSpPr>
            <p:spPr>
              <a:xfrm>
                <a:off x="5087169" y="3833832"/>
                <a:ext cx="2281395" cy="649088"/>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effectLst>
                      <a:glow rad="101600">
                        <a:schemeClr val="accent6">
                          <a:satMod val="175000"/>
                          <a:alpha val="40000"/>
                        </a:schemeClr>
                      </a:glow>
                    </a:effectLst>
                  </a:rPr>
                  <a:t>Gender</a:t>
                </a:r>
                <a:endParaRPr lang="en-GB" sz="5400" dirty="0">
                  <a:effectLst>
                    <a:glow rad="101600">
                      <a:schemeClr val="accent6">
                        <a:satMod val="175000"/>
                        <a:alpha val="40000"/>
                      </a:schemeClr>
                    </a:glow>
                  </a:effectLst>
                </a:endParaRPr>
              </a:p>
            </p:txBody>
          </p:sp>
          <p:sp>
            <p:nvSpPr>
              <p:cNvPr id="10" name="TextBox 9">
                <a:extLst>
                  <a:ext uri="{FF2B5EF4-FFF2-40B4-BE49-F238E27FC236}">
                    <a16:creationId xmlns:a16="http://schemas.microsoft.com/office/drawing/2014/main" id="{EDA4F5F4-C568-87F2-D585-245A30E4762D}"/>
                  </a:ext>
                </a:extLst>
              </p:cNvPr>
              <p:cNvSpPr txBox="1"/>
              <p:nvPr/>
            </p:nvSpPr>
            <p:spPr>
              <a:xfrm>
                <a:off x="8020285" y="3713773"/>
                <a:ext cx="1499128" cy="952248"/>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400" dirty="0">
                    <a:effectLst>
                      <a:glow rad="101600">
                        <a:schemeClr val="accent6">
                          <a:satMod val="175000"/>
                          <a:alpha val="40000"/>
                        </a:schemeClr>
                      </a:glow>
                    </a:effectLst>
                  </a:rPr>
                  <a:t>Living</a:t>
                </a:r>
              </a:p>
              <a:p>
                <a:r>
                  <a:rPr lang="en-US" sz="4400" dirty="0">
                    <a:effectLst>
                      <a:glow rad="101600">
                        <a:schemeClr val="accent6">
                          <a:satMod val="175000"/>
                          <a:alpha val="40000"/>
                        </a:schemeClr>
                      </a:glow>
                    </a:effectLst>
                  </a:rPr>
                  <a:t>Area</a:t>
                </a:r>
                <a:endParaRPr lang="en-GB" sz="4400" dirty="0">
                  <a:effectLst>
                    <a:glow rad="101600">
                      <a:schemeClr val="accent6">
                        <a:satMod val="175000"/>
                        <a:alpha val="40000"/>
                      </a:schemeClr>
                    </a:glow>
                  </a:effectLst>
                </a:endParaRPr>
              </a:p>
            </p:txBody>
          </p:sp>
          <p:sp>
            <p:nvSpPr>
              <p:cNvPr id="11" name="TextBox 10">
                <a:extLst>
                  <a:ext uri="{FF2B5EF4-FFF2-40B4-BE49-F238E27FC236}">
                    <a16:creationId xmlns:a16="http://schemas.microsoft.com/office/drawing/2014/main" id="{A5BE4651-57DD-B1A7-5FE4-42E6E32DAB7D}"/>
                  </a:ext>
                </a:extLst>
              </p:cNvPr>
              <p:cNvSpPr txBox="1"/>
              <p:nvPr/>
            </p:nvSpPr>
            <p:spPr>
              <a:xfrm>
                <a:off x="1539624" y="3654627"/>
                <a:ext cx="2906565" cy="952248"/>
              </a:xfrm>
              <a:prstGeom prst="rect">
                <a:avLst/>
              </a:prstGeom>
              <a:noFill/>
            </p:spPr>
            <p:txBody>
              <a:bodyPr wrap="squar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400" dirty="0">
                    <a:effectLst>
                      <a:glow rad="101600">
                        <a:schemeClr val="accent6">
                          <a:satMod val="175000"/>
                          <a:alpha val="40000"/>
                        </a:schemeClr>
                      </a:glow>
                    </a:effectLst>
                  </a:rPr>
                  <a:t>Diagnosis</a:t>
                </a:r>
              </a:p>
              <a:p>
                <a:r>
                  <a:rPr lang="en-US" sz="4400" dirty="0">
                    <a:effectLst>
                      <a:glow rad="101600">
                        <a:schemeClr val="accent6">
                          <a:satMod val="175000"/>
                          <a:alpha val="40000"/>
                        </a:schemeClr>
                      </a:glow>
                    </a:effectLst>
                  </a:rPr>
                  <a:t>Distribution</a:t>
                </a:r>
                <a:endParaRPr lang="en-GB" sz="4400" dirty="0">
                  <a:effectLst>
                    <a:glow rad="101600">
                      <a:schemeClr val="accent6">
                        <a:satMod val="175000"/>
                        <a:alpha val="40000"/>
                      </a:schemeClr>
                    </a:glow>
                  </a:effectLst>
                </a:endParaRPr>
              </a:p>
            </p:txBody>
          </p:sp>
          <p:cxnSp>
            <p:nvCxnSpPr>
              <p:cNvPr id="12" name="Straight Connector 11">
                <a:extLst>
                  <a:ext uri="{FF2B5EF4-FFF2-40B4-BE49-F238E27FC236}">
                    <a16:creationId xmlns:a16="http://schemas.microsoft.com/office/drawing/2014/main" id="{1F97183A-EFC7-2F74-6AE8-94EDA913A4E1}"/>
                  </a:ext>
                </a:extLst>
              </p:cNvPr>
              <p:cNvCxnSpPr>
                <a:cxnSpLocks/>
              </p:cNvCxnSpPr>
              <p:nvPr/>
            </p:nvCxnSpPr>
            <p:spPr>
              <a:xfrm>
                <a:off x="7694424" y="3545303"/>
                <a:ext cx="0" cy="228600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grpSp>
      <p:sp>
        <p:nvSpPr>
          <p:cNvPr id="13" name="TextBox 12">
            <a:extLst>
              <a:ext uri="{FF2B5EF4-FFF2-40B4-BE49-F238E27FC236}">
                <a16:creationId xmlns:a16="http://schemas.microsoft.com/office/drawing/2014/main" id="{ABF1E0A5-01A6-1B4F-9A05-15E38B4B76FF}"/>
              </a:ext>
            </a:extLst>
          </p:cNvPr>
          <p:cNvSpPr txBox="1"/>
          <p:nvPr/>
        </p:nvSpPr>
        <p:spPr>
          <a:xfrm>
            <a:off x="1695845" y="8381484"/>
            <a:ext cx="8851700" cy="83465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7200" dirty="0">
                <a:effectLst>
                  <a:glow rad="139700">
                    <a:schemeClr val="accent4">
                      <a:satMod val="175000"/>
                      <a:alpha val="40000"/>
                    </a:schemeClr>
                  </a:glow>
                </a:effectLst>
              </a:rPr>
              <a:t>Key EDA Findings</a:t>
            </a:r>
          </a:p>
        </p:txBody>
      </p:sp>
      <p:grpSp>
        <p:nvGrpSpPr>
          <p:cNvPr id="14" name="Group 13">
            <a:extLst>
              <a:ext uri="{FF2B5EF4-FFF2-40B4-BE49-F238E27FC236}">
                <a16:creationId xmlns:a16="http://schemas.microsoft.com/office/drawing/2014/main" id="{F9FB2998-E095-1DB7-443E-C77E5E928489}"/>
              </a:ext>
            </a:extLst>
          </p:cNvPr>
          <p:cNvGrpSpPr/>
          <p:nvPr/>
        </p:nvGrpSpPr>
        <p:grpSpPr>
          <a:xfrm>
            <a:off x="299484" y="7258282"/>
            <a:ext cx="11644423" cy="507586"/>
            <a:chOff x="299484" y="339322"/>
            <a:chExt cx="11644423" cy="507586"/>
          </a:xfrm>
        </p:grpSpPr>
        <p:cxnSp>
          <p:nvCxnSpPr>
            <p:cNvPr id="15" name="Straight Connector 14">
              <a:extLst>
                <a:ext uri="{FF2B5EF4-FFF2-40B4-BE49-F238E27FC236}">
                  <a16:creationId xmlns:a16="http://schemas.microsoft.com/office/drawing/2014/main" id="{D5685A27-7901-2CAD-EC36-9C73EE3C3C8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16" name="Group 15">
              <a:extLst>
                <a:ext uri="{FF2B5EF4-FFF2-40B4-BE49-F238E27FC236}">
                  <a16:creationId xmlns:a16="http://schemas.microsoft.com/office/drawing/2014/main" id="{439E60D2-6A46-07A9-168C-8167B463C46F}"/>
                </a:ext>
              </a:extLst>
            </p:cNvPr>
            <p:cNvGrpSpPr/>
            <p:nvPr/>
          </p:nvGrpSpPr>
          <p:grpSpPr>
            <a:xfrm>
              <a:off x="5846251" y="339322"/>
              <a:ext cx="507586" cy="507586"/>
              <a:chOff x="5828208" y="1871057"/>
              <a:chExt cx="507586" cy="507586"/>
            </a:xfrm>
          </p:grpSpPr>
          <p:sp useBgFill="1">
            <p:nvSpPr>
              <p:cNvPr id="17" name="Oval 16">
                <a:extLst>
                  <a:ext uri="{FF2B5EF4-FFF2-40B4-BE49-F238E27FC236}">
                    <a16:creationId xmlns:a16="http://schemas.microsoft.com/office/drawing/2014/main" id="{1A88F5C2-A15D-871C-903C-E54AD8A61693}"/>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8" name="Graphic 17">
                <a:extLst>
                  <a:ext uri="{FF2B5EF4-FFF2-40B4-BE49-F238E27FC236}">
                    <a16:creationId xmlns:a16="http://schemas.microsoft.com/office/drawing/2014/main" id="{F6D382F2-76CE-2357-3A9E-A1D4D32FBA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67984" y="2005977"/>
                <a:ext cx="256032" cy="256032"/>
              </a:xfrm>
              <a:prstGeom prst="rect">
                <a:avLst/>
              </a:prstGeom>
            </p:spPr>
          </p:pic>
        </p:grpSp>
      </p:grpSp>
    </p:spTree>
    <p:extLst>
      <p:ext uri="{BB962C8B-B14F-4D97-AF65-F5344CB8AC3E}">
        <p14:creationId xmlns:p14="http://schemas.microsoft.com/office/powerpoint/2010/main" val="2415979649"/>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5C7AF-15D2-B88C-FF69-C5D422E083D0}"/>
            </a:ext>
          </a:extLst>
        </p:cNvPr>
        <p:cNvGrpSpPr/>
        <p:nvPr/>
      </p:nvGrpSpPr>
      <p:grpSpPr>
        <a:xfrm>
          <a:off x="0" y="0"/>
          <a:ext cx="0" cy="0"/>
          <a:chOff x="0" y="0"/>
          <a:chExt cx="0" cy="0"/>
        </a:xfrm>
      </p:grpSpPr>
      <p:grpSp>
        <p:nvGrpSpPr>
          <p:cNvPr id="14" name="Group 13">
            <a:extLst>
              <a:ext uri="{FF2B5EF4-FFF2-40B4-BE49-F238E27FC236}">
                <a16:creationId xmlns:a16="http://schemas.microsoft.com/office/drawing/2014/main" id="{22E48245-1858-32DB-62AE-481FEDC160CF}"/>
              </a:ext>
            </a:extLst>
          </p:cNvPr>
          <p:cNvGrpSpPr/>
          <p:nvPr/>
        </p:nvGrpSpPr>
        <p:grpSpPr>
          <a:xfrm>
            <a:off x="2221646" y="2951319"/>
            <a:ext cx="7522559" cy="2433820"/>
            <a:chOff x="2057412" y="3545303"/>
            <a:chExt cx="7522559" cy="2433820"/>
          </a:xfrm>
        </p:grpSpPr>
        <p:sp>
          <p:nvSpPr>
            <p:cNvPr id="7" name="TextBox 6">
              <a:extLst>
                <a:ext uri="{FF2B5EF4-FFF2-40B4-BE49-F238E27FC236}">
                  <a16:creationId xmlns:a16="http://schemas.microsoft.com/office/drawing/2014/main" id="{C69341D3-6772-9A06-3889-C549E01E1893}"/>
                </a:ext>
              </a:extLst>
            </p:cNvPr>
            <p:cNvSpPr txBox="1"/>
            <p:nvPr/>
          </p:nvSpPr>
          <p:spPr>
            <a:xfrm>
              <a:off x="2184531" y="4625726"/>
              <a:ext cx="2027155" cy="707886"/>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rgbClr val="FFFFFF"/>
                  </a:solidFill>
                </a:rPr>
                <a:t>Slightly higher risk in males</a:t>
              </a:r>
              <a:endParaRPr lang="en-GB" sz="2000" dirty="0">
                <a:solidFill>
                  <a:srgbClr val="FFFFFF"/>
                </a:solidFill>
              </a:endParaRPr>
            </a:p>
          </p:txBody>
        </p:sp>
        <p:sp>
          <p:nvSpPr>
            <p:cNvPr id="9" name="TextBox 8">
              <a:extLst>
                <a:ext uri="{FF2B5EF4-FFF2-40B4-BE49-F238E27FC236}">
                  <a16:creationId xmlns:a16="http://schemas.microsoft.com/office/drawing/2014/main" id="{AA0AC6AB-1019-00AC-9808-BB129375329D}"/>
                </a:ext>
              </a:extLst>
            </p:cNvPr>
            <p:cNvSpPr txBox="1"/>
            <p:nvPr/>
          </p:nvSpPr>
          <p:spPr>
            <a:xfrm>
              <a:off x="8012272" y="4688818"/>
              <a:ext cx="1567699" cy="101566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rgbClr val="FFFFFF"/>
                  </a:solidFill>
                </a:rPr>
                <a:t>Minor urban bias in diagnosis</a:t>
              </a:r>
              <a:endParaRPr lang="en-GB" sz="2000" dirty="0">
                <a:solidFill>
                  <a:srgbClr val="FFFFFF"/>
                </a:solidFill>
              </a:endParaRPr>
            </a:p>
          </p:txBody>
        </p:sp>
        <p:sp>
          <p:nvSpPr>
            <p:cNvPr id="10" name="TextBox 9">
              <a:extLst>
                <a:ext uri="{FF2B5EF4-FFF2-40B4-BE49-F238E27FC236}">
                  <a16:creationId xmlns:a16="http://schemas.microsoft.com/office/drawing/2014/main" id="{4DC40572-B0DD-FAF9-4079-74EE71F94163}"/>
                </a:ext>
              </a:extLst>
            </p:cNvPr>
            <p:cNvSpPr txBox="1"/>
            <p:nvPr/>
          </p:nvSpPr>
          <p:spPr>
            <a:xfrm>
              <a:off x="5240067" y="4655684"/>
              <a:ext cx="2120484" cy="132343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rgbClr val="FFFFFF"/>
                  </a:solidFill>
                </a:rPr>
                <a:t>28.87% diagnosed vs. 71.13% non-diagnosed (class imbalance)</a:t>
              </a:r>
              <a:endParaRPr lang="en-GB" sz="2000" dirty="0">
                <a:solidFill>
                  <a:srgbClr val="FFFFFF"/>
                </a:solidFill>
              </a:endParaRPr>
            </a:p>
          </p:txBody>
        </p:sp>
        <p:grpSp>
          <p:nvGrpSpPr>
            <p:cNvPr id="5" name="Group 4">
              <a:extLst>
                <a:ext uri="{FF2B5EF4-FFF2-40B4-BE49-F238E27FC236}">
                  <a16:creationId xmlns:a16="http://schemas.microsoft.com/office/drawing/2014/main" id="{EE624373-AA42-3F90-3A79-59A459199A3A}"/>
                </a:ext>
              </a:extLst>
            </p:cNvPr>
            <p:cNvGrpSpPr/>
            <p:nvPr/>
          </p:nvGrpSpPr>
          <p:grpSpPr>
            <a:xfrm>
              <a:off x="2057412" y="3545303"/>
              <a:ext cx="7453988" cy="2286000"/>
              <a:chOff x="2065425" y="3545303"/>
              <a:chExt cx="7453988" cy="2286000"/>
            </a:xfrm>
          </p:grpSpPr>
          <p:cxnSp>
            <p:nvCxnSpPr>
              <p:cNvPr id="2" name="Straight Connector 1">
                <a:extLst>
                  <a:ext uri="{FF2B5EF4-FFF2-40B4-BE49-F238E27FC236}">
                    <a16:creationId xmlns:a16="http://schemas.microsoft.com/office/drawing/2014/main" id="{8FE4D631-5B35-4326-76C4-4C0ECB2FEC7F}"/>
                  </a:ext>
                </a:extLst>
              </p:cNvPr>
              <p:cNvCxnSpPr>
                <a:cxnSpLocks/>
              </p:cNvCxnSpPr>
              <p:nvPr/>
            </p:nvCxnSpPr>
            <p:spPr>
              <a:xfrm>
                <a:off x="4659404" y="3545303"/>
                <a:ext cx="0" cy="228600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1" name="TextBox 10">
                <a:extLst>
                  <a:ext uri="{FF2B5EF4-FFF2-40B4-BE49-F238E27FC236}">
                    <a16:creationId xmlns:a16="http://schemas.microsoft.com/office/drawing/2014/main" id="{9B647BDC-C9E6-48C3-3633-34A935EF9287}"/>
                  </a:ext>
                </a:extLst>
              </p:cNvPr>
              <p:cNvSpPr txBox="1"/>
              <p:nvPr/>
            </p:nvSpPr>
            <p:spPr>
              <a:xfrm>
                <a:off x="2065425" y="3783912"/>
                <a:ext cx="2281395" cy="649088"/>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effectLst>
                      <a:glow rad="101600">
                        <a:schemeClr val="accent6">
                          <a:satMod val="175000"/>
                          <a:alpha val="40000"/>
                        </a:schemeClr>
                      </a:glow>
                    </a:effectLst>
                  </a:rPr>
                  <a:t>Gender</a:t>
                </a:r>
                <a:endParaRPr lang="en-GB" sz="5400" dirty="0">
                  <a:effectLst>
                    <a:glow rad="101600">
                      <a:schemeClr val="accent6">
                        <a:satMod val="175000"/>
                        <a:alpha val="40000"/>
                      </a:schemeClr>
                    </a:glow>
                  </a:effectLst>
                </a:endParaRPr>
              </a:p>
            </p:txBody>
          </p:sp>
          <p:sp>
            <p:nvSpPr>
              <p:cNvPr id="12" name="TextBox 11">
                <a:extLst>
                  <a:ext uri="{FF2B5EF4-FFF2-40B4-BE49-F238E27FC236}">
                    <a16:creationId xmlns:a16="http://schemas.microsoft.com/office/drawing/2014/main" id="{EA442BAB-44B1-3828-B8AC-DD7C1D4F149E}"/>
                  </a:ext>
                </a:extLst>
              </p:cNvPr>
              <p:cNvSpPr txBox="1"/>
              <p:nvPr/>
            </p:nvSpPr>
            <p:spPr>
              <a:xfrm>
                <a:off x="8020285" y="3567781"/>
                <a:ext cx="1499128" cy="952248"/>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400" dirty="0">
                    <a:effectLst>
                      <a:glow rad="101600">
                        <a:schemeClr val="accent6">
                          <a:satMod val="175000"/>
                          <a:alpha val="40000"/>
                        </a:schemeClr>
                      </a:glow>
                    </a:effectLst>
                  </a:rPr>
                  <a:t>Living</a:t>
                </a:r>
              </a:p>
              <a:p>
                <a:r>
                  <a:rPr lang="en-US" sz="4400" dirty="0">
                    <a:effectLst>
                      <a:glow rad="101600">
                        <a:schemeClr val="accent6">
                          <a:satMod val="175000"/>
                          <a:alpha val="40000"/>
                        </a:schemeClr>
                      </a:glow>
                    </a:effectLst>
                  </a:rPr>
                  <a:t>Area</a:t>
                </a:r>
                <a:endParaRPr lang="en-GB" sz="4400" dirty="0">
                  <a:effectLst>
                    <a:glow rad="101600">
                      <a:schemeClr val="accent6">
                        <a:satMod val="175000"/>
                        <a:alpha val="40000"/>
                      </a:schemeClr>
                    </a:glow>
                  </a:effectLst>
                </a:endParaRPr>
              </a:p>
            </p:txBody>
          </p:sp>
          <p:sp>
            <p:nvSpPr>
              <p:cNvPr id="13" name="TextBox 12">
                <a:extLst>
                  <a:ext uri="{FF2B5EF4-FFF2-40B4-BE49-F238E27FC236}">
                    <a16:creationId xmlns:a16="http://schemas.microsoft.com/office/drawing/2014/main" id="{1A049658-735B-4FF5-DB81-36B163CDA705}"/>
                  </a:ext>
                </a:extLst>
              </p:cNvPr>
              <p:cNvSpPr txBox="1"/>
              <p:nvPr/>
            </p:nvSpPr>
            <p:spPr>
              <a:xfrm>
                <a:off x="4723632" y="3632332"/>
                <a:ext cx="2906565" cy="952248"/>
              </a:xfrm>
              <a:prstGeom prst="rect">
                <a:avLst/>
              </a:prstGeom>
              <a:noFill/>
            </p:spPr>
            <p:txBody>
              <a:bodyPr wrap="squar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400" dirty="0">
                    <a:effectLst>
                      <a:glow rad="101600">
                        <a:schemeClr val="accent6">
                          <a:satMod val="175000"/>
                          <a:alpha val="40000"/>
                        </a:schemeClr>
                      </a:glow>
                    </a:effectLst>
                  </a:rPr>
                  <a:t>Diagnosis</a:t>
                </a:r>
              </a:p>
              <a:p>
                <a:r>
                  <a:rPr lang="en-US" sz="4400" dirty="0">
                    <a:effectLst>
                      <a:glow rad="101600">
                        <a:schemeClr val="accent6">
                          <a:satMod val="175000"/>
                          <a:alpha val="40000"/>
                        </a:schemeClr>
                      </a:glow>
                    </a:effectLst>
                  </a:rPr>
                  <a:t>Distribution</a:t>
                </a:r>
                <a:endParaRPr lang="en-GB" sz="4400" dirty="0">
                  <a:effectLst>
                    <a:glow rad="101600">
                      <a:schemeClr val="accent6">
                        <a:satMod val="175000"/>
                        <a:alpha val="40000"/>
                      </a:schemeClr>
                    </a:glow>
                  </a:effectLst>
                </a:endParaRPr>
              </a:p>
            </p:txBody>
          </p:sp>
          <p:cxnSp>
            <p:nvCxnSpPr>
              <p:cNvPr id="17" name="Straight Connector 16">
                <a:extLst>
                  <a:ext uri="{FF2B5EF4-FFF2-40B4-BE49-F238E27FC236}">
                    <a16:creationId xmlns:a16="http://schemas.microsoft.com/office/drawing/2014/main" id="{60ECFC03-BA50-87B1-79B5-A3AC739BE3D9}"/>
                  </a:ext>
                </a:extLst>
              </p:cNvPr>
              <p:cNvCxnSpPr>
                <a:cxnSpLocks/>
              </p:cNvCxnSpPr>
              <p:nvPr/>
            </p:nvCxnSpPr>
            <p:spPr>
              <a:xfrm>
                <a:off x="7694424" y="3545303"/>
                <a:ext cx="0" cy="228600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grpSp>
      <p:sp>
        <p:nvSpPr>
          <p:cNvPr id="3" name="TextBox 2">
            <a:extLst>
              <a:ext uri="{FF2B5EF4-FFF2-40B4-BE49-F238E27FC236}">
                <a16:creationId xmlns:a16="http://schemas.microsoft.com/office/drawing/2014/main" id="{0B092089-F3B2-264F-D6AF-5CF4CA9A580B}"/>
              </a:ext>
            </a:extLst>
          </p:cNvPr>
          <p:cNvSpPr txBox="1"/>
          <p:nvPr/>
        </p:nvSpPr>
        <p:spPr>
          <a:xfrm>
            <a:off x="1695845" y="1462524"/>
            <a:ext cx="8851700" cy="83465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7200" dirty="0">
                <a:effectLst>
                  <a:glow rad="139700">
                    <a:schemeClr val="accent4">
                      <a:satMod val="175000"/>
                      <a:alpha val="40000"/>
                    </a:schemeClr>
                  </a:glow>
                </a:effectLst>
              </a:rPr>
              <a:t>Key EDA Findings</a:t>
            </a:r>
          </a:p>
        </p:txBody>
      </p:sp>
      <p:grpSp>
        <p:nvGrpSpPr>
          <p:cNvPr id="21" name="Group 20">
            <a:extLst>
              <a:ext uri="{FF2B5EF4-FFF2-40B4-BE49-F238E27FC236}">
                <a16:creationId xmlns:a16="http://schemas.microsoft.com/office/drawing/2014/main" id="{B1171746-BC21-9F49-A92B-9FBF81A3BBBF}"/>
              </a:ext>
            </a:extLst>
          </p:cNvPr>
          <p:cNvGrpSpPr/>
          <p:nvPr/>
        </p:nvGrpSpPr>
        <p:grpSpPr>
          <a:xfrm>
            <a:off x="299484" y="339322"/>
            <a:ext cx="11644423" cy="507586"/>
            <a:chOff x="299484" y="339322"/>
            <a:chExt cx="11644423" cy="507586"/>
          </a:xfrm>
        </p:grpSpPr>
        <p:cxnSp>
          <p:nvCxnSpPr>
            <p:cNvPr id="16" name="Straight Connector 15">
              <a:extLst>
                <a:ext uri="{FF2B5EF4-FFF2-40B4-BE49-F238E27FC236}">
                  <a16:creationId xmlns:a16="http://schemas.microsoft.com/office/drawing/2014/main" id="{770D4CE3-3540-6411-FED8-654B3696C565}"/>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5" name="Group 54">
              <a:extLst>
                <a:ext uri="{FF2B5EF4-FFF2-40B4-BE49-F238E27FC236}">
                  <a16:creationId xmlns:a16="http://schemas.microsoft.com/office/drawing/2014/main" id="{D8FE979E-B93D-862C-7FCE-4704580EB6F0}"/>
                </a:ext>
              </a:extLst>
            </p:cNvPr>
            <p:cNvGrpSpPr/>
            <p:nvPr/>
          </p:nvGrpSpPr>
          <p:grpSpPr>
            <a:xfrm>
              <a:off x="5846251" y="339322"/>
              <a:ext cx="507586" cy="507586"/>
              <a:chOff x="5828208" y="1871057"/>
              <a:chExt cx="507586" cy="507586"/>
            </a:xfrm>
          </p:grpSpPr>
          <p:sp useBgFill="1">
            <p:nvSpPr>
              <p:cNvPr id="56" name="Oval 55">
                <a:extLst>
                  <a:ext uri="{FF2B5EF4-FFF2-40B4-BE49-F238E27FC236}">
                    <a16:creationId xmlns:a16="http://schemas.microsoft.com/office/drawing/2014/main" id="{844DE921-9E9D-4E59-0AAB-F7368AC49197}"/>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7" name="Graphic 56">
                <a:extLst>
                  <a:ext uri="{FF2B5EF4-FFF2-40B4-BE49-F238E27FC236}">
                    <a16:creationId xmlns:a16="http://schemas.microsoft.com/office/drawing/2014/main" id="{9CD79A9C-9477-6027-0F1D-CDBA11FC82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67984" y="2005977"/>
                <a:ext cx="256032" cy="256032"/>
              </a:xfrm>
              <a:prstGeom prst="rect">
                <a:avLst/>
              </a:prstGeom>
            </p:spPr>
          </p:pic>
        </p:grpSp>
      </p:grpSp>
      <p:sp>
        <p:nvSpPr>
          <p:cNvPr id="22" name="TextBox 21">
            <a:extLst>
              <a:ext uri="{FF2B5EF4-FFF2-40B4-BE49-F238E27FC236}">
                <a16:creationId xmlns:a16="http://schemas.microsoft.com/office/drawing/2014/main" id="{B04B49FE-68BC-C54E-C8F6-E0A778AAB54F}"/>
              </a:ext>
            </a:extLst>
          </p:cNvPr>
          <p:cNvSpPr txBox="1"/>
          <p:nvPr/>
        </p:nvSpPr>
        <p:spPr>
          <a:xfrm>
            <a:off x="134409" y="339322"/>
            <a:ext cx="1130511"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sult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spTree>
    <p:extLst>
      <p:ext uri="{BB962C8B-B14F-4D97-AF65-F5344CB8AC3E}">
        <p14:creationId xmlns:p14="http://schemas.microsoft.com/office/powerpoint/2010/main" val="318461709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96D0E-3B26-D746-CB13-74F21ACB4DCB}"/>
            </a:ext>
          </a:extLst>
        </p:cNvPr>
        <p:cNvGrpSpPr/>
        <p:nvPr/>
      </p:nvGrpSpPr>
      <p:grpSpPr>
        <a:xfrm>
          <a:off x="0" y="0"/>
          <a:ext cx="0" cy="0"/>
          <a:chOff x="0" y="0"/>
          <a:chExt cx="0" cy="0"/>
        </a:xfrm>
      </p:grpSpPr>
      <p:grpSp>
        <p:nvGrpSpPr>
          <p:cNvPr id="14" name="Group 13">
            <a:extLst>
              <a:ext uri="{FF2B5EF4-FFF2-40B4-BE49-F238E27FC236}">
                <a16:creationId xmlns:a16="http://schemas.microsoft.com/office/drawing/2014/main" id="{76100213-F5F9-DEB2-B545-2D3641B10005}"/>
              </a:ext>
            </a:extLst>
          </p:cNvPr>
          <p:cNvGrpSpPr/>
          <p:nvPr/>
        </p:nvGrpSpPr>
        <p:grpSpPr>
          <a:xfrm>
            <a:off x="3031422" y="2912792"/>
            <a:ext cx="6421274" cy="2991830"/>
            <a:chOff x="1531611" y="3554037"/>
            <a:chExt cx="6421274" cy="2991830"/>
          </a:xfrm>
        </p:grpSpPr>
        <p:sp>
          <p:nvSpPr>
            <p:cNvPr id="7" name="TextBox 6">
              <a:extLst>
                <a:ext uri="{FF2B5EF4-FFF2-40B4-BE49-F238E27FC236}">
                  <a16:creationId xmlns:a16="http://schemas.microsoft.com/office/drawing/2014/main" id="{7D310B29-F342-FDB0-2941-17E0371A7AF4}"/>
                </a:ext>
              </a:extLst>
            </p:cNvPr>
            <p:cNvSpPr txBox="1"/>
            <p:nvPr/>
          </p:nvSpPr>
          <p:spPr>
            <a:xfrm>
              <a:off x="5540526" y="4606875"/>
              <a:ext cx="2027155" cy="1938992"/>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rgbClr val="FFFFFF"/>
                  </a:solidFill>
                </a:rPr>
                <a:t>Lower adherence correlates with higher suicide attempts and positive symptom severity</a:t>
              </a:r>
              <a:endParaRPr lang="en-GB" sz="2000" dirty="0">
                <a:solidFill>
                  <a:srgbClr val="FFFFFF"/>
                </a:solidFill>
              </a:endParaRPr>
            </a:p>
          </p:txBody>
        </p:sp>
        <p:sp>
          <p:nvSpPr>
            <p:cNvPr id="10" name="TextBox 9">
              <a:extLst>
                <a:ext uri="{FF2B5EF4-FFF2-40B4-BE49-F238E27FC236}">
                  <a16:creationId xmlns:a16="http://schemas.microsoft.com/office/drawing/2014/main" id="{A1A18AD3-B304-E519-BEDB-4A49C55C8528}"/>
                </a:ext>
              </a:extLst>
            </p:cNvPr>
            <p:cNvSpPr txBox="1"/>
            <p:nvPr/>
          </p:nvSpPr>
          <p:spPr>
            <a:xfrm>
              <a:off x="1976021" y="4666021"/>
              <a:ext cx="2120484" cy="1631216"/>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rgbClr val="FFFFFF"/>
                  </a:solidFill>
                </a:rPr>
                <a:t>Significant risk factor (54.7% diagnosed among those with a family history)</a:t>
              </a:r>
              <a:endParaRPr lang="en-GB" sz="2000" dirty="0">
                <a:solidFill>
                  <a:srgbClr val="FFFFFF"/>
                </a:solidFill>
              </a:endParaRPr>
            </a:p>
          </p:txBody>
        </p:sp>
        <p:grpSp>
          <p:nvGrpSpPr>
            <p:cNvPr id="5" name="Group 4">
              <a:extLst>
                <a:ext uri="{FF2B5EF4-FFF2-40B4-BE49-F238E27FC236}">
                  <a16:creationId xmlns:a16="http://schemas.microsoft.com/office/drawing/2014/main" id="{E328FA3E-72FA-FD30-A5D6-583D3E154420}"/>
                </a:ext>
              </a:extLst>
            </p:cNvPr>
            <p:cNvGrpSpPr/>
            <p:nvPr/>
          </p:nvGrpSpPr>
          <p:grpSpPr>
            <a:xfrm>
              <a:off x="1531611" y="3554037"/>
              <a:ext cx="6421274" cy="2743200"/>
              <a:chOff x="1539624" y="3554037"/>
              <a:chExt cx="6421274" cy="2743200"/>
            </a:xfrm>
          </p:grpSpPr>
          <p:cxnSp>
            <p:nvCxnSpPr>
              <p:cNvPr id="2" name="Straight Connector 1">
                <a:extLst>
                  <a:ext uri="{FF2B5EF4-FFF2-40B4-BE49-F238E27FC236}">
                    <a16:creationId xmlns:a16="http://schemas.microsoft.com/office/drawing/2014/main" id="{5F8EBED7-8525-D517-2507-E7CBF3109590}"/>
                  </a:ext>
                </a:extLst>
              </p:cNvPr>
              <p:cNvCxnSpPr>
                <a:cxnSpLocks/>
              </p:cNvCxnSpPr>
              <p:nvPr/>
            </p:nvCxnSpPr>
            <p:spPr>
              <a:xfrm>
                <a:off x="4703881" y="3554037"/>
                <a:ext cx="0" cy="274320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1" name="TextBox 10">
                <a:extLst>
                  <a:ext uri="{FF2B5EF4-FFF2-40B4-BE49-F238E27FC236}">
                    <a16:creationId xmlns:a16="http://schemas.microsoft.com/office/drawing/2014/main" id="{31252E11-0112-64F3-B17D-DCB230FC1076}"/>
                  </a:ext>
                </a:extLst>
              </p:cNvPr>
              <p:cNvSpPr txBox="1"/>
              <p:nvPr/>
            </p:nvSpPr>
            <p:spPr>
              <a:xfrm>
                <a:off x="5163337" y="3654627"/>
                <a:ext cx="2797561" cy="952248"/>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400" dirty="0">
                    <a:effectLst>
                      <a:glow rad="101600">
                        <a:schemeClr val="accent6">
                          <a:satMod val="175000"/>
                          <a:alpha val="40000"/>
                        </a:schemeClr>
                      </a:glow>
                    </a:effectLst>
                  </a:rPr>
                  <a:t>Medication</a:t>
                </a:r>
              </a:p>
              <a:p>
                <a:r>
                  <a:rPr lang="en-US" sz="4400" dirty="0">
                    <a:effectLst>
                      <a:glow rad="101600">
                        <a:schemeClr val="accent6">
                          <a:satMod val="175000"/>
                          <a:alpha val="40000"/>
                        </a:schemeClr>
                      </a:glow>
                    </a:effectLst>
                  </a:rPr>
                  <a:t>Adherence</a:t>
                </a:r>
                <a:endParaRPr lang="en-GB" sz="4400" dirty="0">
                  <a:effectLst>
                    <a:glow rad="101600">
                      <a:schemeClr val="accent6">
                        <a:satMod val="175000"/>
                        <a:alpha val="40000"/>
                      </a:schemeClr>
                    </a:glow>
                  </a:effectLst>
                </a:endParaRPr>
              </a:p>
            </p:txBody>
          </p:sp>
          <p:sp>
            <p:nvSpPr>
              <p:cNvPr id="13" name="TextBox 12">
                <a:extLst>
                  <a:ext uri="{FF2B5EF4-FFF2-40B4-BE49-F238E27FC236}">
                    <a16:creationId xmlns:a16="http://schemas.microsoft.com/office/drawing/2014/main" id="{81AA9821-A9C1-AFC2-C44E-6090011C7CA9}"/>
                  </a:ext>
                </a:extLst>
              </p:cNvPr>
              <p:cNvSpPr txBox="1"/>
              <p:nvPr/>
            </p:nvSpPr>
            <p:spPr>
              <a:xfrm>
                <a:off x="1539624" y="3654627"/>
                <a:ext cx="2906565" cy="952248"/>
              </a:xfrm>
              <a:prstGeom prst="rect">
                <a:avLst/>
              </a:prstGeom>
              <a:noFill/>
            </p:spPr>
            <p:txBody>
              <a:bodyPr wrap="squar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400" dirty="0">
                    <a:effectLst>
                      <a:glow rad="101600">
                        <a:schemeClr val="accent6">
                          <a:satMod val="175000"/>
                          <a:alpha val="40000"/>
                        </a:schemeClr>
                      </a:glow>
                    </a:effectLst>
                  </a:rPr>
                  <a:t>Family</a:t>
                </a:r>
              </a:p>
              <a:p>
                <a:r>
                  <a:rPr lang="en-US" sz="4400" dirty="0">
                    <a:effectLst>
                      <a:glow rad="101600">
                        <a:schemeClr val="accent6">
                          <a:satMod val="175000"/>
                          <a:alpha val="40000"/>
                        </a:schemeClr>
                      </a:glow>
                    </a:effectLst>
                  </a:rPr>
                  <a:t>History</a:t>
                </a:r>
                <a:endParaRPr lang="en-GB" sz="4400" dirty="0">
                  <a:effectLst>
                    <a:glow rad="101600">
                      <a:schemeClr val="accent6">
                        <a:satMod val="175000"/>
                        <a:alpha val="40000"/>
                      </a:schemeClr>
                    </a:glow>
                  </a:effectLst>
                </a:endParaRPr>
              </a:p>
            </p:txBody>
          </p:sp>
        </p:grpSp>
      </p:grpSp>
      <p:sp>
        <p:nvSpPr>
          <p:cNvPr id="3" name="TextBox 2">
            <a:extLst>
              <a:ext uri="{FF2B5EF4-FFF2-40B4-BE49-F238E27FC236}">
                <a16:creationId xmlns:a16="http://schemas.microsoft.com/office/drawing/2014/main" id="{2C517A1E-C34F-1FD8-7CCF-2CD440D9119F}"/>
              </a:ext>
            </a:extLst>
          </p:cNvPr>
          <p:cNvSpPr txBox="1"/>
          <p:nvPr/>
        </p:nvSpPr>
        <p:spPr>
          <a:xfrm>
            <a:off x="1695845" y="1462524"/>
            <a:ext cx="8851700" cy="834652"/>
          </a:xfrm>
          <a:prstGeom prst="rect">
            <a:avLst/>
          </a:prstGeom>
          <a:noFill/>
        </p:spPr>
        <p:txBody>
          <a:bodyPr wrap="square"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7200" dirty="0">
                <a:effectLst>
                  <a:glow rad="139700">
                    <a:schemeClr val="accent4">
                      <a:satMod val="175000"/>
                      <a:alpha val="40000"/>
                    </a:schemeClr>
                  </a:glow>
                </a:effectLst>
              </a:rPr>
              <a:t>Key EDA Findings</a:t>
            </a:r>
          </a:p>
        </p:txBody>
      </p:sp>
      <p:grpSp>
        <p:nvGrpSpPr>
          <p:cNvPr id="21" name="Group 20">
            <a:extLst>
              <a:ext uri="{FF2B5EF4-FFF2-40B4-BE49-F238E27FC236}">
                <a16:creationId xmlns:a16="http://schemas.microsoft.com/office/drawing/2014/main" id="{D6FFAEB5-2A2A-ABBF-87DC-243EAAC233E0}"/>
              </a:ext>
            </a:extLst>
          </p:cNvPr>
          <p:cNvGrpSpPr/>
          <p:nvPr/>
        </p:nvGrpSpPr>
        <p:grpSpPr>
          <a:xfrm>
            <a:off x="299484" y="339322"/>
            <a:ext cx="11644423" cy="507586"/>
            <a:chOff x="299484" y="339322"/>
            <a:chExt cx="11644423" cy="507586"/>
          </a:xfrm>
        </p:grpSpPr>
        <p:cxnSp>
          <p:nvCxnSpPr>
            <p:cNvPr id="16" name="Straight Connector 15">
              <a:extLst>
                <a:ext uri="{FF2B5EF4-FFF2-40B4-BE49-F238E27FC236}">
                  <a16:creationId xmlns:a16="http://schemas.microsoft.com/office/drawing/2014/main" id="{F21A824F-7BA6-99E2-9C81-9ED9BD13E0B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5" name="Group 54">
              <a:extLst>
                <a:ext uri="{FF2B5EF4-FFF2-40B4-BE49-F238E27FC236}">
                  <a16:creationId xmlns:a16="http://schemas.microsoft.com/office/drawing/2014/main" id="{01DC7B0B-2BA3-FA41-B2B8-F9D0FAC88004}"/>
                </a:ext>
              </a:extLst>
            </p:cNvPr>
            <p:cNvGrpSpPr/>
            <p:nvPr/>
          </p:nvGrpSpPr>
          <p:grpSpPr>
            <a:xfrm>
              <a:off x="5846251" y="339322"/>
              <a:ext cx="507586" cy="507586"/>
              <a:chOff x="5828208" y="1871057"/>
              <a:chExt cx="507586" cy="507586"/>
            </a:xfrm>
          </p:grpSpPr>
          <p:sp useBgFill="1">
            <p:nvSpPr>
              <p:cNvPr id="56" name="Oval 55">
                <a:extLst>
                  <a:ext uri="{FF2B5EF4-FFF2-40B4-BE49-F238E27FC236}">
                    <a16:creationId xmlns:a16="http://schemas.microsoft.com/office/drawing/2014/main" id="{39E2AC3F-60E3-DD8B-D62D-325CF25E24DF}"/>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7" name="Graphic 56">
                <a:extLst>
                  <a:ext uri="{FF2B5EF4-FFF2-40B4-BE49-F238E27FC236}">
                    <a16:creationId xmlns:a16="http://schemas.microsoft.com/office/drawing/2014/main" id="{8E562B73-C8CD-2A82-741C-0BAAAB696B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67984" y="2005977"/>
                <a:ext cx="256032" cy="256032"/>
              </a:xfrm>
              <a:prstGeom prst="rect">
                <a:avLst/>
              </a:prstGeom>
            </p:spPr>
          </p:pic>
        </p:grpSp>
      </p:grpSp>
      <p:sp>
        <p:nvSpPr>
          <p:cNvPr id="22" name="TextBox 21">
            <a:extLst>
              <a:ext uri="{FF2B5EF4-FFF2-40B4-BE49-F238E27FC236}">
                <a16:creationId xmlns:a16="http://schemas.microsoft.com/office/drawing/2014/main" id="{6F8A699A-F1C3-AD5B-E85A-D329C2CC42A6}"/>
              </a:ext>
            </a:extLst>
          </p:cNvPr>
          <p:cNvSpPr txBox="1"/>
          <p:nvPr/>
        </p:nvSpPr>
        <p:spPr>
          <a:xfrm>
            <a:off x="134409" y="339322"/>
            <a:ext cx="1130511"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sult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4" name="Group 3">
            <a:extLst>
              <a:ext uri="{FF2B5EF4-FFF2-40B4-BE49-F238E27FC236}">
                <a16:creationId xmlns:a16="http://schemas.microsoft.com/office/drawing/2014/main" id="{9A6C00A4-AE60-F5FC-DF84-D8EAD6CEF697}"/>
              </a:ext>
            </a:extLst>
          </p:cNvPr>
          <p:cNvGrpSpPr/>
          <p:nvPr/>
        </p:nvGrpSpPr>
        <p:grpSpPr>
          <a:xfrm>
            <a:off x="998648" y="7756071"/>
            <a:ext cx="10486822" cy="4438650"/>
            <a:chOff x="1190828" y="1399640"/>
            <a:chExt cx="10486822" cy="4438650"/>
          </a:xfrm>
        </p:grpSpPr>
        <p:grpSp>
          <p:nvGrpSpPr>
            <p:cNvPr id="6" name="Group 5">
              <a:extLst>
                <a:ext uri="{FF2B5EF4-FFF2-40B4-BE49-F238E27FC236}">
                  <a16:creationId xmlns:a16="http://schemas.microsoft.com/office/drawing/2014/main" id="{09AA9D13-BA59-331A-3514-1387F3A6EFD3}"/>
                </a:ext>
              </a:extLst>
            </p:cNvPr>
            <p:cNvGrpSpPr/>
            <p:nvPr/>
          </p:nvGrpSpPr>
          <p:grpSpPr>
            <a:xfrm>
              <a:off x="1190828" y="1618602"/>
              <a:ext cx="4719562" cy="3477691"/>
              <a:chOff x="1390968" y="1428637"/>
              <a:chExt cx="4719562" cy="3477691"/>
            </a:xfrm>
          </p:grpSpPr>
          <p:sp>
            <p:nvSpPr>
              <p:cNvPr id="9" name="TextBox 8">
                <a:extLst>
                  <a:ext uri="{FF2B5EF4-FFF2-40B4-BE49-F238E27FC236}">
                    <a16:creationId xmlns:a16="http://schemas.microsoft.com/office/drawing/2014/main" id="{AB9B98A9-9259-9C08-4AC9-3412FC32B2C6}"/>
                  </a:ext>
                </a:extLst>
              </p:cNvPr>
              <p:cNvSpPr txBox="1"/>
              <p:nvPr/>
            </p:nvSpPr>
            <p:spPr>
              <a:xfrm>
                <a:off x="1390968" y="1428637"/>
                <a:ext cx="4719562" cy="1655838"/>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dirty="0"/>
                  <a:t>Logistic </a:t>
                </a:r>
              </a:p>
              <a:p>
                <a:pPr algn="l"/>
                <a:r>
                  <a:rPr lang="en-US" dirty="0"/>
                  <a:t>Regression</a:t>
                </a:r>
              </a:p>
            </p:txBody>
          </p:sp>
          <p:sp>
            <p:nvSpPr>
              <p:cNvPr id="12" name="TextBox 11">
                <a:extLst>
                  <a:ext uri="{FF2B5EF4-FFF2-40B4-BE49-F238E27FC236}">
                    <a16:creationId xmlns:a16="http://schemas.microsoft.com/office/drawing/2014/main" id="{63980D88-314D-6009-9026-AE475727CB68}"/>
                  </a:ext>
                </a:extLst>
              </p:cNvPr>
              <p:cNvSpPr txBox="1"/>
              <p:nvPr/>
            </p:nvSpPr>
            <p:spPr>
              <a:xfrm>
                <a:off x="1522372" y="3429000"/>
                <a:ext cx="3656812" cy="147732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US" sz="2400" dirty="0"/>
                  <a:t>This is the graph of a sigmoid function which ensures the outputted values are always between 0 and 1. </a:t>
                </a:r>
              </a:p>
            </p:txBody>
          </p:sp>
        </p:grpSp>
        <p:pic>
          <p:nvPicPr>
            <p:cNvPr id="8" name="Picture 4" descr="The Power of Logistic Regression. A Comprehensive Guide to Predictive… | by  Nermeen Abd El-Hafeez | Medium">
              <a:extLst>
                <a:ext uri="{FF2B5EF4-FFF2-40B4-BE49-F238E27FC236}">
                  <a16:creationId xmlns:a16="http://schemas.microsoft.com/office/drawing/2014/main" id="{C75CF03A-019D-67D7-83C4-508418C4B96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0000"/>
            <a:stretch/>
          </p:blipFill>
          <p:spPr bwMode="auto">
            <a:xfrm>
              <a:off x="6248400" y="1399640"/>
              <a:ext cx="5429250" cy="4438650"/>
            </a:xfrm>
            <a:prstGeom prst="roundRect">
              <a:avLst>
                <a:gd name="adj" fmla="val 16667"/>
              </a:avLst>
            </a:prstGeom>
            <a:ln>
              <a:noFill/>
            </a:ln>
            <a:effectLst>
              <a:outerShdw blurRad="50800" dist="38100" dir="8100000" algn="tr" rotWithShape="0">
                <a:prstClr val="black">
                  <a:alpha val="40000"/>
                </a:prst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4185291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7C05526-E1E8-54B5-966E-2E17824669BA}"/>
            </a:ext>
          </a:extLst>
        </p:cNvPr>
        <p:cNvGrpSpPr/>
        <p:nvPr/>
      </p:nvGrpSpPr>
      <p:grpSpPr>
        <a:xfrm>
          <a:off x="0" y="0"/>
          <a:ext cx="0" cy="0"/>
          <a:chOff x="0" y="0"/>
          <a:chExt cx="0" cy="0"/>
        </a:xfrm>
      </p:grpSpPr>
      <p:grpSp>
        <p:nvGrpSpPr>
          <p:cNvPr id="21" name="Group 20">
            <a:extLst>
              <a:ext uri="{FF2B5EF4-FFF2-40B4-BE49-F238E27FC236}">
                <a16:creationId xmlns:a16="http://schemas.microsoft.com/office/drawing/2014/main" id="{743A7843-2710-6055-FC01-4D7E0FAE161B}"/>
              </a:ext>
            </a:extLst>
          </p:cNvPr>
          <p:cNvGrpSpPr/>
          <p:nvPr/>
        </p:nvGrpSpPr>
        <p:grpSpPr>
          <a:xfrm>
            <a:off x="299484" y="339322"/>
            <a:ext cx="11644423" cy="507586"/>
            <a:chOff x="299484" y="339322"/>
            <a:chExt cx="11644423" cy="507586"/>
          </a:xfrm>
        </p:grpSpPr>
        <p:cxnSp>
          <p:nvCxnSpPr>
            <p:cNvPr id="16" name="Straight Connector 15">
              <a:extLst>
                <a:ext uri="{FF2B5EF4-FFF2-40B4-BE49-F238E27FC236}">
                  <a16:creationId xmlns:a16="http://schemas.microsoft.com/office/drawing/2014/main" id="{0BE53CC9-0111-C6E6-1A62-954D648EDC68}"/>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5" name="Group 54">
              <a:extLst>
                <a:ext uri="{FF2B5EF4-FFF2-40B4-BE49-F238E27FC236}">
                  <a16:creationId xmlns:a16="http://schemas.microsoft.com/office/drawing/2014/main" id="{E3BC5E79-0B0C-9BAB-D622-7C87262CDA68}"/>
                </a:ext>
              </a:extLst>
            </p:cNvPr>
            <p:cNvGrpSpPr/>
            <p:nvPr/>
          </p:nvGrpSpPr>
          <p:grpSpPr>
            <a:xfrm>
              <a:off x="5846251" y="339322"/>
              <a:ext cx="507586" cy="507586"/>
              <a:chOff x="5828208" y="1871057"/>
              <a:chExt cx="507586" cy="507586"/>
            </a:xfrm>
          </p:grpSpPr>
          <p:sp useBgFill="1">
            <p:nvSpPr>
              <p:cNvPr id="56" name="Oval 55">
                <a:extLst>
                  <a:ext uri="{FF2B5EF4-FFF2-40B4-BE49-F238E27FC236}">
                    <a16:creationId xmlns:a16="http://schemas.microsoft.com/office/drawing/2014/main" id="{8FE8FD70-D6D8-9689-E122-C2AE1165D06E}"/>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7" name="Graphic 56">
                <a:extLst>
                  <a:ext uri="{FF2B5EF4-FFF2-40B4-BE49-F238E27FC236}">
                    <a16:creationId xmlns:a16="http://schemas.microsoft.com/office/drawing/2014/main" id="{17EE5421-C3D9-57FF-CC5B-32E89A6120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67984" y="2005977"/>
                <a:ext cx="256032" cy="256032"/>
              </a:xfrm>
              <a:prstGeom prst="rect">
                <a:avLst/>
              </a:prstGeom>
            </p:spPr>
          </p:pic>
        </p:grpSp>
      </p:grpSp>
      <p:sp>
        <p:nvSpPr>
          <p:cNvPr id="22" name="TextBox 21">
            <a:extLst>
              <a:ext uri="{FF2B5EF4-FFF2-40B4-BE49-F238E27FC236}">
                <a16:creationId xmlns:a16="http://schemas.microsoft.com/office/drawing/2014/main" id="{632D0365-3BFB-04F4-185C-674C94A695A4}"/>
              </a:ext>
            </a:extLst>
          </p:cNvPr>
          <p:cNvSpPr txBox="1"/>
          <p:nvPr/>
        </p:nvSpPr>
        <p:spPr>
          <a:xfrm>
            <a:off x="134409" y="339322"/>
            <a:ext cx="1130511"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sult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2" name="Group 1">
            <a:extLst>
              <a:ext uri="{FF2B5EF4-FFF2-40B4-BE49-F238E27FC236}">
                <a16:creationId xmlns:a16="http://schemas.microsoft.com/office/drawing/2014/main" id="{AFD9D4CC-F10B-8856-EBD0-D3DD4518735C}"/>
              </a:ext>
            </a:extLst>
          </p:cNvPr>
          <p:cNvGrpSpPr/>
          <p:nvPr/>
        </p:nvGrpSpPr>
        <p:grpSpPr>
          <a:xfrm>
            <a:off x="1190828" y="1399640"/>
            <a:ext cx="10486822" cy="4438650"/>
            <a:chOff x="1190828" y="1399640"/>
            <a:chExt cx="10486822" cy="4438650"/>
          </a:xfrm>
        </p:grpSpPr>
        <p:grpSp>
          <p:nvGrpSpPr>
            <p:cNvPr id="12" name="Group 11">
              <a:extLst>
                <a:ext uri="{FF2B5EF4-FFF2-40B4-BE49-F238E27FC236}">
                  <a16:creationId xmlns:a16="http://schemas.microsoft.com/office/drawing/2014/main" id="{E86ECDF0-CF3B-2CEE-FB62-DAC4AC5E7666}"/>
                </a:ext>
              </a:extLst>
            </p:cNvPr>
            <p:cNvGrpSpPr/>
            <p:nvPr/>
          </p:nvGrpSpPr>
          <p:grpSpPr>
            <a:xfrm>
              <a:off x="1190828" y="1618602"/>
              <a:ext cx="4719562" cy="3477691"/>
              <a:chOff x="1390968" y="1428637"/>
              <a:chExt cx="4719562" cy="3477691"/>
            </a:xfrm>
          </p:grpSpPr>
          <p:sp>
            <p:nvSpPr>
              <p:cNvPr id="4" name="TextBox 3">
                <a:extLst>
                  <a:ext uri="{FF2B5EF4-FFF2-40B4-BE49-F238E27FC236}">
                    <a16:creationId xmlns:a16="http://schemas.microsoft.com/office/drawing/2014/main" id="{15D9DBBB-B387-ECF9-C036-FEDD0367F40E}"/>
                  </a:ext>
                </a:extLst>
              </p:cNvPr>
              <p:cNvSpPr txBox="1"/>
              <p:nvPr/>
            </p:nvSpPr>
            <p:spPr>
              <a:xfrm>
                <a:off x="1390968" y="1428637"/>
                <a:ext cx="4719562" cy="1655838"/>
              </a:xfrm>
              <a:prstGeom prst="rect">
                <a:avLst/>
              </a:prstGeom>
              <a:noFill/>
            </p:spPr>
            <p:txBody>
              <a:bodyPr wrap="non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r>
                  <a:rPr lang="en-US" dirty="0"/>
                  <a:t>Logistic </a:t>
                </a:r>
              </a:p>
              <a:p>
                <a:pPr algn="l"/>
                <a:r>
                  <a:rPr lang="en-US" dirty="0"/>
                  <a:t>Regression</a:t>
                </a:r>
              </a:p>
            </p:txBody>
          </p:sp>
          <p:sp>
            <p:nvSpPr>
              <p:cNvPr id="29" name="TextBox 28">
                <a:extLst>
                  <a:ext uri="{FF2B5EF4-FFF2-40B4-BE49-F238E27FC236}">
                    <a16:creationId xmlns:a16="http://schemas.microsoft.com/office/drawing/2014/main" id="{68D5A2B2-DCEC-AFE4-EF74-23E9023FB4ED}"/>
                  </a:ext>
                </a:extLst>
              </p:cNvPr>
              <p:cNvSpPr txBox="1"/>
              <p:nvPr/>
            </p:nvSpPr>
            <p:spPr>
              <a:xfrm>
                <a:off x="1522372" y="3429000"/>
                <a:ext cx="3656812" cy="1477328"/>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US" sz="2400" dirty="0"/>
                  <a:t>This is the graph of a sigmoid function which ensures the outputted values are always between 0 and 1. </a:t>
                </a:r>
              </a:p>
            </p:txBody>
          </p:sp>
        </p:grpSp>
        <p:pic>
          <p:nvPicPr>
            <p:cNvPr id="30" name="Picture 4" descr="The Power of Logistic Regression. A Comprehensive Guide to Predictive… | by  Nermeen Abd El-Hafeez | Medium">
              <a:extLst>
                <a:ext uri="{FF2B5EF4-FFF2-40B4-BE49-F238E27FC236}">
                  <a16:creationId xmlns:a16="http://schemas.microsoft.com/office/drawing/2014/main" id="{7B3348F4-6F43-560C-474E-C3002B96BCC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0000"/>
            <a:stretch/>
          </p:blipFill>
          <p:spPr bwMode="auto">
            <a:xfrm>
              <a:off x="6248400" y="1399640"/>
              <a:ext cx="5429250" cy="4438650"/>
            </a:xfrm>
            <a:prstGeom prst="roundRect">
              <a:avLst>
                <a:gd name="adj" fmla="val 16667"/>
              </a:avLst>
            </a:prstGeom>
            <a:ln>
              <a:noFill/>
            </a:ln>
            <a:effectLst>
              <a:outerShdw blurRad="50800" dist="38100" dir="8100000" algn="tr" rotWithShape="0">
                <a:prstClr val="black">
                  <a:alpha val="40000"/>
                </a:prst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BB016D5D-8BD2-C5BD-394E-7A9B65AB321E}"/>
              </a:ext>
            </a:extLst>
          </p:cNvPr>
          <p:cNvGrpSpPr/>
          <p:nvPr/>
        </p:nvGrpSpPr>
        <p:grpSpPr>
          <a:xfrm>
            <a:off x="1159570" y="7478044"/>
            <a:ext cx="10784337" cy="4107330"/>
            <a:chOff x="772916" y="1156338"/>
            <a:chExt cx="10784337" cy="4107330"/>
          </a:xfrm>
        </p:grpSpPr>
        <p:sp>
          <p:nvSpPr>
            <p:cNvPr id="19" name="TextBox 18">
              <a:extLst>
                <a:ext uri="{FF2B5EF4-FFF2-40B4-BE49-F238E27FC236}">
                  <a16:creationId xmlns:a16="http://schemas.microsoft.com/office/drawing/2014/main" id="{4A279E8D-0355-31B2-861B-D678247A4455}"/>
                </a:ext>
              </a:extLst>
            </p:cNvPr>
            <p:cNvSpPr txBox="1"/>
            <p:nvPr/>
          </p:nvSpPr>
          <p:spPr>
            <a:xfrm>
              <a:off x="772916" y="1156338"/>
              <a:ext cx="10616082" cy="917174"/>
            </a:xfrm>
            <a:prstGeom prst="rect">
              <a:avLst/>
            </a:prstGeom>
            <a:noFill/>
          </p:spPr>
          <p:txBody>
            <a:bodyPr wrap="squar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dirty="0"/>
                <a:t>Building the Model</a:t>
              </a:r>
            </a:p>
          </p:txBody>
        </p:sp>
        <p:grpSp>
          <p:nvGrpSpPr>
            <p:cNvPr id="20" name="Group 19">
              <a:extLst>
                <a:ext uri="{FF2B5EF4-FFF2-40B4-BE49-F238E27FC236}">
                  <a16:creationId xmlns:a16="http://schemas.microsoft.com/office/drawing/2014/main" id="{725644FB-2F7B-1488-3E00-33E94C80B16C}"/>
                </a:ext>
              </a:extLst>
            </p:cNvPr>
            <p:cNvGrpSpPr/>
            <p:nvPr/>
          </p:nvGrpSpPr>
          <p:grpSpPr>
            <a:xfrm>
              <a:off x="926865" y="2759222"/>
              <a:ext cx="10630388" cy="2504446"/>
              <a:chOff x="945953" y="3864537"/>
              <a:chExt cx="10630388" cy="2504446"/>
            </a:xfrm>
          </p:grpSpPr>
          <p:sp>
            <p:nvSpPr>
              <p:cNvPr id="23" name="TextBox 22">
                <a:extLst>
                  <a:ext uri="{FF2B5EF4-FFF2-40B4-BE49-F238E27FC236}">
                    <a16:creationId xmlns:a16="http://schemas.microsoft.com/office/drawing/2014/main" id="{054C88D8-7CB8-C604-649A-60FB2DC46200}"/>
                  </a:ext>
                </a:extLst>
              </p:cNvPr>
              <p:cNvSpPr txBox="1"/>
              <p:nvPr/>
            </p:nvSpPr>
            <p:spPr>
              <a:xfrm>
                <a:off x="945953" y="3864537"/>
                <a:ext cx="2302936" cy="49244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US" sz="3200" dirty="0"/>
                  <a:t> Challenge</a:t>
                </a:r>
              </a:p>
            </p:txBody>
          </p:sp>
          <p:sp>
            <p:nvSpPr>
              <p:cNvPr id="24" name="TextBox 23">
                <a:extLst>
                  <a:ext uri="{FF2B5EF4-FFF2-40B4-BE49-F238E27FC236}">
                    <a16:creationId xmlns:a16="http://schemas.microsoft.com/office/drawing/2014/main" id="{6275A53E-69F8-865D-8D15-6DF96C4A82DB}"/>
                  </a:ext>
                </a:extLst>
              </p:cNvPr>
              <p:cNvSpPr txBox="1"/>
              <p:nvPr/>
            </p:nvSpPr>
            <p:spPr>
              <a:xfrm>
                <a:off x="4855491" y="3864537"/>
                <a:ext cx="2489108" cy="49244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US" sz="3200" dirty="0"/>
                  <a:t>Improvements</a:t>
                </a:r>
              </a:p>
            </p:txBody>
          </p:sp>
          <p:sp>
            <p:nvSpPr>
              <p:cNvPr id="25" name="TextBox 24">
                <a:extLst>
                  <a:ext uri="{FF2B5EF4-FFF2-40B4-BE49-F238E27FC236}">
                    <a16:creationId xmlns:a16="http://schemas.microsoft.com/office/drawing/2014/main" id="{8F97EE04-8372-0688-82FE-7F62C19C826D}"/>
                  </a:ext>
                </a:extLst>
              </p:cNvPr>
              <p:cNvSpPr txBox="1"/>
              <p:nvPr/>
            </p:nvSpPr>
            <p:spPr>
              <a:xfrm>
                <a:off x="9087233" y="3864540"/>
                <a:ext cx="2489108" cy="49244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US" sz="3200" dirty="0"/>
                  <a:t>Final Product</a:t>
                </a:r>
              </a:p>
            </p:txBody>
          </p:sp>
          <p:pic>
            <p:nvPicPr>
              <p:cNvPr id="26" name="Picture 25" descr="A person jumping over a bridge&#10;&#10;AI-generated content may be incorrect.">
                <a:extLst>
                  <a:ext uri="{FF2B5EF4-FFF2-40B4-BE49-F238E27FC236}">
                    <a16:creationId xmlns:a16="http://schemas.microsoft.com/office/drawing/2014/main" id="{58B978B8-83FB-E893-369E-DA6BA210A8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2998" y="4541520"/>
                <a:ext cx="1692701" cy="1692701"/>
              </a:xfrm>
              <a:prstGeom prst="rect">
                <a:avLst/>
              </a:prstGeom>
              <a:effectLst>
                <a:outerShdw blurRad="50800" dist="38100" algn="l" rotWithShape="0">
                  <a:prstClr val="black">
                    <a:alpha val="40000"/>
                  </a:prstClr>
                </a:outerShdw>
              </a:effectLst>
            </p:spPr>
          </p:pic>
          <p:pic>
            <p:nvPicPr>
              <p:cNvPr id="27" name="Picture 26" descr="A light bulb and gear with arrows around it&#10;&#10;AI-generated content may be incorrect.">
                <a:extLst>
                  <a:ext uri="{FF2B5EF4-FFF2-40B4-BE49-F238E27FC236}">
                    <a16:creationId xmlns:a16="http://schemas.microsoft.com/office/drawing/2014/main" id="{7638DE3C-2226-DF8E-52FE-4D4E64B34C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46032" y="4677343"/>
                <a:ext cx="1691640" cy="1691640"/>
              </a:xfrm>
              <a:prstGeom prst="rect">
                <a:avLst/>
              </a:prstGeom>
              <a:effectLst>
                <a:outerShdw blurRad="50800" dist="38100" algn="l" rotWithShape="0">
                  <a:prstClr val="black">
                    <a:alpha val="40000"/>
                  </a:prstClr>
                </a:outerShdw>
              </a:effectLst>
            </p:spPr>
          </p:pic>
          <p:pic>
            <p:nvPicPr>
              <p:cNvPr id="28" name="Picture 27" descr="A box with a gear on top&#10;&#10;AI-generated content may be incorrect.">
                <a:extLst>
                  <a:ext uri="{FF2B5EF4-FFF2-40B4-BE49-F238E27FC236}">
                    <a16:creationId xmlns:a16="http://schemas.microsoft.com/office/drawing/2014/main" id="{A7A396C4-DD97-3CA3-EF91-E17CAF769FC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18005" y="4677343"/>
                <a:ext cx="1691640" cy="1691640"/>
              </a:xfrm>
              <a:prstGeom prst="rect">
                <a:avLst/>
              </a:prstGeom>
              <a:effectLst>
                <a:outerShdw blurRad="50800" dist="38100" algn="l" rotWithShape="0">
                  <a:prstClr val="black">
                    <a:alpha val="40000"/>
                  </a:prstClr>
                </a:outerShdw>
              </a:effectLst>
            </p:spPr>
          </p:pic>
        </p:grpSp>
      </p:grpSp>
    </p:spTree>
    <p:extLst>
      <p:ext uri="{BB962C8B-B14F-4D97-AF65-F5344CB8AC3E}">
        <p14:creationId xmlns:p14="http://schemas.microsoft.com/office/powerpoint/2010/main" val="411668446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67B22-9251-959C-F095-61FC159BD1C8}"/>
            </a:ext>
          </a:extLst>
        </p:cNvPr>
        <p:cNvGrpSpPr/>
        <p:nvPr/>
      </p:nvGrpSpPr>
      <p:grpSpPr>
        <a:xfrm>
          <a:off x="0" y="0"/>
          <a:ext cx="0" cy="0"/>
          <a:chOff x="0" y="0"/>
          <a:chExt cx="0" cy="0"/>
        </a:xfrm>
      </p:grpSpPr>
      <p:grpSp>
        <p:nvGrpSpPr>
          <p:cNvPr id="21" name="Group 20">
            <a:extLst>
              <a:ext uri="{FF2B5EF4-FFF2-40B4-BE49-F238E27FC236}">
                <a16:creationId xmlns:a16="http://schemas.microsoft.com/office/drawing/2014/main" id="{5DC09571-8A49-D930-4166-3B5B58B61A34}"/>
              </a:ext>
            </a:extLst>
          </p:cNvPr>
          <p:cNvGrpSpPr/>
          <p:nvPr/>
        </p:nvGrpSpPr>
        <p:grpSpPr>
          <a:xfrm>
            <a:off x="299484" y="339322"/>
            <a:ext cx="11644423" cy="507586"/>
            <a:chOff x="299484" y="339322"/>
            <a:chExt cx="11644423" cy="507586"/>
          </a:xfrm>
        </p:grpSpPr>
        <p:cxnSp>
          <p:nvCxnSpPr>
            <p:cNvPr id="16" name="Straight Connector 15">
              <a:extLst>
                <a:ext uri="{FF2B5EF4-FFF2-40B4-BE49-F238E27FC236}">
                  <a16:creationId xmlns:a16="http://schemas.microsoft.com/office/drawing/2014/main" id="{1DC56BB5-D176-23BF-4432-F58C3CCE45F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5" name="Group 54">
              <a:extLst>
                <a:ext uri="{FF2B5EF4-FFF2-40B4-BE49-F238E27FC236}">
                  <a16:creationId xmlns:a16="http://schemas.microsoft.com/office/drawing/2014/main" id="{14BD1CDB-6FF9-07FA-E9BA-7A18AD821E6B}"/>
                </a:ext>
              </a:extLst>
            </p:cNvPr>
            <p:cNvGrpSpPr/>
            <p:nvPr/>
          </p:nvGrpSpPr>
          <p:grpSpPr>
            <a:xfrm>
              <a:off x="5846251" y="339322"/>
              <a:ext cx="507586" cy="507586"/>
              <a:chOff x="5828208" y="1871057"/>
              <a:chExt cx="507586" cy="507586"/>
            </a:xfrm>
          </p:grpSpPr>
          <p:sp useBgFill="1">
            <p:nvSpPr>
              <p:cNvPr id="56" name="Oval 55">
                <a:extLst>
                  <a:ext uri="{FF2B5EF4-FFF2-40B4-BE49-F238E27FC236}">
                    <a16:creationId xmlns:a16="http://schemas.microsoft.com/office/drawing/2014/main" id="{DFBB87EA-D6E4-7293-435D-3FFE5AE9823B}"/>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7" name="Graphic 56">
                <a:extLst>
                  <a:ext uri="{FF2B5EF4-FFF2-40B4-BE49-F238E27FC236}">
                    <a16:creationId xmlns:a16="http://schemas.microsoft.com/office/drawing/2014/main" id="{CF976AFA-6A1E-F02B-9DA1-B2191D29D7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7984" y="2005977"/>
                <a:ext cx="256032" cy="256032"/>
              </a:xfrm>
              <a:prstGeom prst="rect">
                <a:avLst/>
              </a:prstGeom>
            </p:spPr>
          </p:pic>
        </p:grpSp>
      </p:grpSp>
      <p:sp>
        <p:nvSpPr>
          <p:cNvPr id="22" name="TextBox 21">
            <a:extLst>
              <a:ext uri="{FF2B5EF4-FFF2-40B4-BE49-F238E27FC236}">
                <a16:creationId xmlns:a16="http://schemas.microsoft.com/office/drawing/2014/main" id="{F86100FA-E60B-42EB-1F8D-4184AFB7BB7D}"/>
              </a:ext>
            </a:extLst>
          </p:cNvPr>
          <p:cNvSpPr txBox="1"/>
          <p:nvPr/>
        </p:nvSpPr>
        <p:spPr>
          <a:xfrm>
            <a:off x="134409" y="339322"/>
            <a:ext cx="1130511"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sult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17" name="Group 16">
            <a:extLst>
              <a:ext uri="{FF2B5EF4-FFF2-40B4-BE49-F238E27FC236}">
                <a16:creationId xmlns:a16="http://schemas.microsoft.com/office/drawing/2014/main" id="{57CD5059-9EC2-7DCF-73C5-E22810CF084C}"/>
              </a:ext>
            </a:extLst>
          </p:cNvPr>
          <p:cNvGrpSpPr/>
          <p:nvPr/>
        </p:nvGrpSpPr>
        <p:grpSpPr>
          <a:xfrm>
            <a:off x="772916" y="1156338"/>
            <a:ext cx="10784337" cy="4107330"/>
            <a:chOff x="772916" y="1156338"/>
            <a:chExt cx="10784337" cy="4107330"/>
          </a:xfrm>
        </p:grpSpPr>
        <p:sp>
          <p:nvSpPr>
            <p:cNvPr id="4" name="TextBox 3">
              <a:extLst>
                <a:ext uri="{FF2B5EF4-FFF2-40B4-BE49-F238E27FC236}">
                  <a16:creationId xmlns:a16="http://schemas.microsoft.com/office/drawing/2014/main" id="{A706E49B-9BE5-B0B3-4723-57D995494409}"/>
                </a:ext>
              </a:extLst>
            </p:cNvPr>
            <p:cNvSpPr txBox="1"/>
            <p:nvPr/>
          </p:nvSpPr>
          <p:spPr>
            <a:xfrm>
              <a:off x="772916" y="1156338"/>
              <a:ext cx="10616082" cy="917174"/>
            </a:xfrm>
            <a:prstGeom prst="rect">
              <a:avLst/>
            </a:prstGeom>
            <a:noFill/>
          </p:spPr>
          <p:txBody>
            <a:bodyPr wrap="squar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dirty="0"/>
                <a:t>Building the Model</a:t>
              </a:r>
            </a:p>
          </p:txBody>
        </p:sp>
        <p:grpSp>
          <p:nvGrpSpPr>
            <p:cNvPr id="14" name="Group 13">
              <a:extLst>
                <a:ext uri="{FF2B5EF4-FFF2-40B4-BE49-F238E27FC236}">
                  <a16:creationId xmlns:a16="http://schemas.microsoft.com/office/drawing/2014/main" id="{754ED242-EC3D-7A30-658B-387BD1D57F31}"/>
                </a:ext>
              </a:extLst>
            </p:cNvPr>
            <p:cNvGrpSpPr/>
            <p:nvPr/>
          </p:nvGrpSpPr>
          <p:grpSpPr>
            <a:xfrm>
              <a:off x="926865" y="2759222"/>
              <a:ext cx="10630388" cy="2504446"/>
              <a:chOff x="945953" y="3864537"/>
              <a:chExt cx="10630388" cy="2504446"/>
            </a:xfrm>
          </p:grpSpPr>
          <p:sp>
            <p:nvSpPr>
              <p:cNvPr id="29" name="TextBox 28">
                <a:extLst>
                  <a:ext uri="{FF2B5EF4-FFF2-40B4-BE49-F238E27FC236}">
                    <a16:creationId xmlns:a16="http://schemas.microsoft.com/office/drawing/2014/main" id="{85530334-92FD-4C7E-FD5D-4AC14EDE5497}"/>
                  </a:ext>
                </a:extLst>
              </p:cNvPr>
              <p:cNvSpPr txBox="1"/>
              <p:nvPr/>
            </p:nvSpPr>
            <p:spPr>
              <a:xfrm>
                <a:off x="945953" y="3864537"/>
                <a:ext cx="2302936" cy="49244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US" sz="3200" dirty="0"/>
                  <a:t> Challenge</a:t>
                </a:r>
              </a:p>
            </p:txBody>
          </p:sp>
          <p:sp>
            <p:nvSpPr>
              <p:cNvPr id="2" name="TextBox 1">
                <a:extLst>
                  <a:ext uri="{FF2B5EF4-FFF2-40B4-BE49-F238E27FC236}">
                    <a16:creationId xmlns:a16="http://schemas.microsoft.com/office/drawing/2014/main" id="{71EBB04F-5210-2B20-4271-417AF5A1B6CE}"/>
                  </a:ext>
                </a:extLst>
              </p:cNvPr>
              <p:cNvSpPr txBox="1"/>
              <p:nvPr/>
            </p:nvSpPr>
            <p:spPr>
              <a:xfrm>
                <a:off x="4855491" y="3864537"/>
                <a:ext cx="2489108" cy="49244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US" sz="3200" dirty="0"/>
                  <a:t>Improvements</a:t>
                </a:r>
              </a:p>
            </p:txBody>
          </p:sp>
          <p:sp>
            <p:nvSpPr>
              <p:cNvPr id="3" name="TextBox 2">
                <a:extLst>
                  <a:ext uri="{FF2B5EF4-FFF2-40B4-BE49-F238E27FC236}">
                    <a16:creationId xmlns:a16="http://schemas.microsoft.com/office/drawing/2014/main" id="{65D6E206-8252-5E5B-4963-3BFAF2124325}"/>
                  </a:ext>
                </a:extLst>
              </p:cNvPr>
              <p:cNvSpPr txBox="1"/>
              <p:nvPr/>
            </p:nvSpPr>
            <p:spPr>
              <a:xfrm>
                <a:off x="9087233" y="3864540"/>
                <a:ext cx="2489108" cy="49244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l"/>
                <a:r>
                  <a:rPr lang="en-US" sz="3200" dirty="0"/>
                  <a:t>Final Product</a:t>
                </a:r>
              </a:p>
            </p:txBody>
          </p:sp>
          <p:pic>
            <p:nvPicPr>
              <p:cNvPr id="8" name="Picture 7" descr="A person jumping over a bridge&#10;&#10;AI-generated content may be incorrect.">
                <a:extLst>
                  <a:ext uri="{FF2B5EF4-FFF2-40B4-BE49-F238E27FC236}">
                    <a16:creationId xmlns:a16="http://schemas.microsoft.com/office/drawing/2014/main" id="{DBF9BAC2-C136-485A-5230-49878621B1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2998" y="4541520"/>
                <a:ext cx="1692701" cy="1692701"/>
              </a:xfrm>
              <a:prstGeom prst="rect">
                <a:avLst/>
              </a:prstGeom>
              <a:effectLst>
                <a:outerShdw blurRad="50800" dist="38100" algn="l" rotWithShape="0">
                  <a:prstClr val="black">
                    <a:alpha val="40000"/>
                  </a:prstClr>
                </a:outerShdw>
              </a:effectLst>
            </p:spPr>
          </p:pic>
          <p:pic>
            <p:nvPicPr>
              <p:cNvPr id="10" name="Picture 9" descr="A light bulb and gear with arrows around it&#10;&#10;AI-generated content may be incorrect.">
                <a:extLst>
                  <a:ext uri="{FF2B5EF4-FFF2-40B4-BE49-F238E27FC236}">
                    <a16:creationId xmlns:a16="http://schemas.microsoft.com/office/drawing/2014/main" id="{ED99C0F2-80BC-2B56-9E74-4FEF21D4F9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46032" y="4677343"/>
                <a:ext cx="1691640" cy="1691640"/>
              </a:xfrm>
              <a:prstGeom prst="rect">
                <a:avLst/>
              </a:prstGeom>
              <a:effectLst>
                <a:outerShdw blurRad="50800" dist="38100" algn="l" rotWithShape="0">
                  <a:prstClr val="black">
                    <a:alpha val="40000"/>
                  </a:prstClr>
                </a:outerShdw>
              </a:effectLst>
            </p:spPr>
          </p:pic>
          <p:pic>
            <p:nvPicPr>
              <p:cNvPr id="13" name="Picture 12" descr="A box with a gear on top&#10;&#10;AI-generated content may be incorrect.">
                <a:extLst>
                  <a:ext uri="{FF2B5EF4-FFF2-40B4-BE49-F238E27FC236}">
                    <a16:creationId xmlns:a16="http://schemas.microsoft.com/office/drawing/2014/main" id="{7A0473CA-7876-8D0C-0909-9668A906B6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18005" y="4677343"/>
                <a:ext cx="1691640" cy="1691640"/>
              </a:xfrm>
              <a:prstGeom prst="rect">
                <a:avLst/>
              </a:prstGeom>
              <a:effectLst>
                <a:outerShdw blurRad="50800" dist="38100" algn="l" rotWithShape="0">
                  <a:prstClr val="black">
                    <a:alpha val="40000"/>
                  </a:prstClr>
                </a:outerShdw>
              </a:effectLst>
            </p:spPr>
          </p:pic>
        </p:grpSp>
      </p:grpSp>
    </p:spTree>
    <p:extLst>
      <p:ext uri="{BB962C8B-B14F-4D97-AF65-F5344CB8AC3E}">
        <p14:creationId xmlns:p14="http://schemas.microsoft.com/office/powerpoint/2010/main" val="5725370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BEBA8EAE-BF5A-486C-A8C5-ECC9F3942E4B}">
                <a14:imgProps xmlns:a14="http://schemas.microsoft.com/office/drawing/2010/main">
                  <a14:imgLayer r:embed="rId4">
                    <a14:imgEffect>
                      <a14:artisticBlur/>
                    </a14:imgEffect>
                  </a14:imgLayer>
                </a14:imgProps>
              </a:ext>
            </a:extLst>
          </a:blip>
          <a:srcRect/>
          <a:stretch>
            <a:fillRect l="-6000" r="-6000"/>
          </a:stretch>
        </a:blipFill>
        <a:effectLst/>
      </p:bgPr>
    </p:bg>
    <p:spTree>
      <p:nvGrpSpPr>
        <p:cNvPr id="1" name=""/>
        <p:cNvGrpSpPr/>
        <p:nvPr/>
      </p:nvGrpSpPr>
      <p:grpSpPr>
        <a:xfrm>
          <a:off x="0" y="0"/>
          <a:ext cx="0" cy="0"/>
          <a:chOff x="0" y="0"/>
          <a:chExt cx="0" cy="0"/>
        </a:xfrm>
      </p:grpSpPr>
      <p:sp useBgFill="1">
        <p:nvSpPr>
          <p:cNvPr id="11" name="!!mission_big">
            <a:extLst>
              <a:ext uri="{FF2B5EF4-FFF2-40B4-BE49-F238E27FC236}">
                <a16:creationId xmlns:a16="http://schemas.microsoft.com/office/drawing/2014/main" id="{6001EAF3-99DE-071D-640E-27373C22F4EC}"/>
              </a:ext>
            </a:extLst>
          </p:cNvPr>
          <p:cNvSpPr/>
          <p:nvPr/>
        </p:nvSpPr>
        <p:spPr>
          <a:xfrm>
            <a:off x="1544949" y="2006600"/>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 name="!!problem_big">
            <a:extLst>
              <a:ext uri="{FF2B5EF4-FFF2-40B4-BE49-F238E27FC236}">
                <a16:creationId xmlns:a16="http://schemas.microsoft.com/office/drawing/2014/main" id="{41CA0059-60D2-6D7F-A447-1DBBEF5018AE}"/>
              </a:ext>
            </a:extLst>
          </p:cNvPr>
          <p:cNvSpPr/>
          <p:nvPr/>
        </p:nvSpPr>
        <p:spPr>
          <a:xfrm>
            <a:off x="2410409"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 name="!!solution_big">
            <a:extLst>
              <a:ext uri="{FF2B5EF4-FFF2-40B4-BE49-F238E27FC236}">
                <a16:creationId xmlns:a16="http://schemas.microsoft.com/office/drawing/2014/main" id="{01485104-FBE1-6D05-D1EB-C70693B8A671}"/>
              </a:ext>
            </a:extLst>
          </p:cNvPr>
          <p:cNvSpPr/>
          <p:nvPr/>
        </p:nvSpPr>
        <p:spPr>
          <a:xfrm>
            <a:off x="3426817"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mc:AlternateContent xmlns:mc="http://schemas.openxmlformats.org/markup-compatibility/2006" xmlns:psez="http://schemas.microsoft.com/office/powerpoint/2016/sectionzoom">
        <mc:Choice Requires="psez">
          <p:graphicFrame>
            <p:nvGraphicFramePr>
              <p:cNvPr id="54" name="Section Zoom 53">
                <a:extLst>
                  <a:ext uri="{FF2B5EF4-FFF2-40B4-BE49-F238E27FC236}">
                    <a16:creationId xmlns:a16="http://schemas.microsoft.com/office/drawing/2014/main" id="{DBC6B9C2-6600-0373-E3D5-6E3846853C35}"/>
                  </a:ext>
                </a:extLst>
              </p:cNvPr>
              <p:cNvGraphicFramePr>
                <a:graphicFrameLocks noChangeAspect="1"/>
              </p:cNvGraphicFramePr>
              <p:nvPr>
                <p:extLst>
                  <p:ext uri="{D42A27DB-BD31-4B8C-83A1-F6EECF244321}">
                    <p14:modId xmlns:p14="http://schemas.microsoft.com/office/powerpoint/2010/main" val="1606591009"/>
                  </p:ext>
                </p:extLst>
              </p:nvPr>
            </p:nvGraphicFramePr>
            <p:xfrm>
              <a:off x="1653204" y="2402402"/>
              <a:ext cx="1205890" cy="678314"/>
            </p:xfrm>
            <a:graphic>
              <a:graphicData uri="http://schemas.microsoft.com/office/powerpoint/2016/sectionzoom">
                <psez:sectionZm>
                  <psez:sectionZmObj sectionId="{88495344-40FB-4841-99CC-E364E4B3FA60}">
                    <psez:zmPr id="{2045F387-F9C1-4234-AB40-2F706D3FBEEE}" transitionDur="1000" showBg="0">
                      <p166:blipFill xmlns:p166="http://schemas.microsoft.com/office/powerpoint/2016/6/main">
                        <a:blip r:embed="rId5"/>
                        <a:stretch>
                          <a:fillRect/>
                        </a:stretch>
                      </p166:blipFill>
                      <p166:spPr xmlns:p166="http://schemas.microsoft.com/office/powerpoint/2016/6/main">
                        <a:xfrm>
                          <a:off x="0" y="0"/>
                          <a:ext cx="1205890" cy="678314"/>
                        </a:xfrm>
                        <a:prstGeom prst="rect">
                          <a:avLst/>
                        </a:prstGeom>
                        <a:ln w="3175">
                          <a:noFill/>
                        </a:ln>
                      </p166:spPr>
                    </psez:zmPr>
                  </psez:sectionZmObj>
                </psez:sectionZm>
              </a:graphicData>
            </a:graphic>
          </p:graphicFrame>
        </mc:Choice>
        <mc:Fallback xmlns="">
          <p:pic>
            <p:nvPicPr>
              <p:cNvPr id="54" name="Section Zoom 53">
                <a:hlinkClick r:id="rId6" action="ppaction://hlinksldjump"/>
                <a:extLst>
                  <a:ext uri="{FF2B5EF4-FFF2-40B4-BE49-F238E27FC236}">
                    <a16:creationId xmlns:a16="http://schemas.microsoft.com/office/drawing/2014/main" id="{DBC6B9C2-6600-0373-E3D5-6E3846853C35}"/>
                  </a:ext>
                </a:extLst>
              </p:cNvPr>
              <p:cNvPicPr>
                <a:picLocks noGrp="1" noRot="1" noChangeAspect="1" noMove="1" noResize="1" noEditPoints="1" noAdjustHandles="1" noChangeArrowheads="1" noChangeShapeType="1"/>
              </p:cNvPicPr>
              <p:nvPr/>
            </p:nvPicPr>
            <p:blipFill>
              <a:blip r:embed="rId7"/>
              <a:stretch>
                <a:fillRect/>
              </a:stretch>
            </p:blipFill>
            <p:spPr>
              <a:xfrm>
                <a:off x="1653204" y="2402402"/>
                <a:ext cx="1205890" cy="678314"/>
              </a:xfrm>
              <a:prstGeom prst="rect">
                <a:avLst/>
              </a:prstGeom>
              <a:ln w="3175">
                <a:noFill/>
              </a:ln>
            </p:spPr>
          </p:pic>
        </mc:Fallback>
      </mc:AlternateContent>
      <p:sp useBgFill="1">
        <p:nvSpPr>
          <p:cNvPr id="21" name="!!potential_big">
            <a:extLst>
              <a:ext uri="{FF2B5EF4-FFF2-40B4-BE49-F238E27FC236}">
                <a16:creationId xmlns:a16="http://schemas.microsoft.com/office/drawing/2014/main" id="{451ADC09-786B-7817-12A7-45589629C4FD}"/>
              </a:ext>
            </a:extLst>
          </p:cNvPr>
          <p:cNvSpPr/>
          <p:nvPr/>
        </p:nvSpPr>
        <p:spPr>
          <a:xfrm>
            <a:off x="4387449" y="3372985"/>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29" name="!!model_big">
            <a:extLst>
              <a:ext uri="{FF2B5EF4-FFF2-40B4-BE49-F238E27FC236}">
                <a16:creationId xmlns:a16="http://schemas.microsoft.com/office/drawing/2014/main" id="{D0B663A2-5250-7360-D77D-BA82684250B9}"/>
              </a:ext>
            </a:extLst>
          </p:cNvPr>
          <p:cNvSpPr/>
          <p:nvPr/>
        </p:nvSpPr>
        <p:spPr>
          <a:xfrm>
            <a:off x="5384800"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0" name="!!growth_big">
            <a:extLst>
              <a:ext uri="{FF2B5EF4-FFF2-40B4-BE49-F238E27FC236}">
                <a16:creationId xmlns:a16="http://schemas.microsoft.com/office/drawing/2014/main" id="{1E4D5046-D93E-1283-7C95-8297912863DF}"/>
              </a:ext>
            </a:extLst>
          </p:cNvPr>
          <p:cNvSpPr/>
          <p:nvPr/>
        </p:nvSpPr>
        <p:spPr>
          <a:xfrm>
            <a:off x="6363791"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41" name="!!competition_big">
            <a:extLst>
              <a:ext uri="{FF2B5EF4-FFF2-40B4-BE49-F238E27FC236}">
                <a16:creationId xmlns:a16="http://schemas.microsoft.com/office/drawing/2014/main" id="{CB47AF06-08C1-C824-3CDC-6718A25A5568}"/>
              </a:ext>
            </a:extLst>
          </p:cNvPr>
          <p:cNvSpPr/>
          <p:nvPr/>
        </p:nvSpPr>
        <p:spPr>
          <a:xfrm>
            <a:off x="7342783" y="2068251"/>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1" name="!!finanvials_big">
            <a:extLst>
              <a:ext uri="{FF2B5EF4-FFF2-40B4-BE49-F238E27FC236}">
                <a16:creationId xmlns:a16="http://schemas.microsoft.com/office/drawing/2014/main" id="{C1A01352-BCE7-17AB-4430-ACC0B0082F50}"/>
              </a:ext>
            </a:extLst>
          </p:cNvPr>
          <p:cNvSpPr/>
          <p:nvPr/>
        </p:nvSpPr>
        <p:spPr>
          <a:xfrm>
            <a:off x="8321775" y="3364259"/>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useBgFill="1">
        <p:nvSpPr>
          <p:cNvPr id="52" name="!!team_big">
            <a:extLst>
              <a:ext uri="{FF2B5EF4-FFF2-40B4-BE49-F238E27FC236}">
                <a16:creationId xmlns:a16="http://schemas.microsoft.com/office/drawing/2014/main" id="{B302DE39-6CAA-0299-5B01-34FB4ACE7015}"/>
              </a:ext>
            </a:extLst>
          </p:cNvPr>
          <p:cNvSpPr/>
          <p:nvPr/>
        </p:nvSpPr>
        <p:spPr>
          <a:xfrm>
            <a:off x="9192512" y="2042442"/>
            <a:ext cx="1422400" cy="1422400"/>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76" name="Slide Title">
            <a:extLst>
              <a:ext uri="{FF2B5EF4-FFF2-40B4-BE49-F238E27FC236}">
                <a16:creationId xmlns:a16="http://schemas.microsoft.com/office/drawing/2014/main" id="{F1C16585-D5BD-D317-3939-4561F6529330}"/>
              </a:ext>
            </a:extLst>
          </p:cNvPr>
          <p:cNvSpPr txBox="1"/>
          <p:nvPr/>
        </p:nvSpPr>
        <p:spPr>
          <a:xfrm>
            <a:off x="5378842" y="919959"/>
            <a:ext cx="1374735" cy="670633"/>
          </a:xfrm>
          <a:prstGeom prst="rect">
            <a:avLst/>
          </a:prstGeom>
          <a:noFill/>
        </p:spPr>
        <p:txBody>
          <a:bodyPr wrap="none" lIns="0">
            <a:spAutoFit/>
          </a:bodyPr>
          <a:lstStyle>
            <a:defPPr>
              <a:defRPr lang="en-US"/>
            </a:defPPr>
            <a:lvl1pPr algn="ctr">
              <a:defRPr sz="5400">
                <a:solidFill>
                  <a:schemeClr val="bg1"/>
                </a:solidFill>
                <a:latin typeface="Orbitron Black" pitchFamily="2" charset="0"/>
              </a:defRPr>
            </a:lvl1pPr>
          </a:lstStyle>
          <a:p>
            <a:pPr marL="0" marR="0" lvl="0" indent="0" defTabSz="914400" rtl="0" eaLnBrk="1" fontAlgn="auto" latinLnBrk="0" hangingPunct="1">
              <a:lnSpc>
                <a:spcPct val="55357"/>
              </a:lnSpc>
              <a:spcBef>
                <a:spcPts val="0"/>
              </a:spcBef>
              <a:spcAft>
                <a:spcPts val="0"/>
              </a:spcAft>
              <a:buClrTx/>
              <a:buSzTx/>
              <a:buFontTx/>
              <a:buNone/>
              <a:tabLst/>
              <a:defRPr/>
            </a:pP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Table of</a:t>
            </a:r>
          </a:p>
          <a:p>
            <a:pPr marL="0" marR="0" lvl="0" indent="0" defTabSz="914400" rtl="0" eaLnBrk="1" fontAlgn="auto" latinLnBrk="0" hangingPunct="1">
              <a:lnSpc>
                <a:spcPct val="55357"/>
              </a:lnSpc>
              <a:spcBef>
                <a:spcPts val="0"/>
              </a:spcBef>
              <a:spcAft>
                <a:spcPts val="0"/>
              </a:spcAft>
              <a:buClrTx/>
              <a:buSzTx/>
              <a:buFontTx/>
              <a:buNone/>
              <a:tabLst/>
              <a:defRPr/>
            </a:pPr>
            <a:r>
              <a:rPr kumimoji="0" lang="en-US" sz="28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rPr>
              <a:t>Contents</a:t>
            </a:r>
            <a:r>
              <a:rPr kumimoji="0" lang="en-US" sz="3200" b="0"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Darker Grotesque SemiBold" pitchFamily="2" charset="0"/>
              </a:rPr>
              <a:t> </a:t>
            </a:r>
            <a:endParaRPr kumimoji="0" lang="en-US" sz="3200" b="0" i="1" u="none" strike="noStrike" kern="1200" cap="none" spc="-150" normalizeH="0" baseline="0" noProof="0" dirty="0">
              <a:ln>
                <a:noFill/>
              </a:ln>
              <a:solidFill>
                <a:prstClr val="white"/>
              </a:solidFill>
              <a:effectLst>
                <a:outerShdw blurRad="88900" dist="88900" dir="2700000" algn="tl" rotWithShape="0">
                  <a:prstClr val="black">
                    <a:alpha val="50000"/>
                  </a:prstClr>
                </a:outerShdw>
              </a:effectLst>
              <a:uLnTx/>
              <a:uFillTx/>
              <a:latin typeface="Playfair Display" pitchFamily="2" charset="0"/>
            </a:endParaRPr>
          </a:p>
        </p:txBody>
      </p:sp>
      <p:grpSp>
        <p:nvGrpSpPr>
          <p:cNvPr id="89" name="!!model">
            <a:extLst>
              <a:ext uri="{FF2B5EF4-FFF2-40B4-BE49-F238E27FC236}">
                <a16:creationId xmlns:a16="http://schemas.microsoft.com/office/drawing/2014/main" id="{566EDD2E-22AC-6031-0455-A2B2DCCA440F}"/>
              </a:ext>
            </a:extLst>
          </p:cNvPr>
          <p:cNvGrpSpPr/>
          <p:nvPr/>
        </p:nvGrpSpPr>
        <p:grpSpPr>
          <a:xfrm>
            <a:off x="4862845" y="4541592"/>
            <a:ext cx="507586" cy="507586"/>
            <a:chOff x="4860527" y="4531151"/>
            <a:chExt cx="507586" cy="507586"/>
          </a:xfrm>
        </p:grpSpPr>
        <p:sp useBgFill="1">
          <p:nvSpPr>
            <p:cNvPr id="90" name="Oval 89">
              <a:extLst>
                <a:ext uri="{FF2B5EF4-FFF2-40B4-BE49-F238E27FC236}">
                  <a16:creationId xmlns:a16="http://schemas.microsoft.com/office/drawing/2014/main" id="{388129E3-63DA-5454-7CF3-03B8C87AAE37}"/>
                </a:ext>
              </a:extLst>
            </p:cNvPr>
            <p:cNvSpPr/>
            <p:nvPr/>
          </p:nvSpPr>
          <p:spPr>
            <a:xfrm>
              <a:off x="4860527" y="453115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91" name="Graphic 90">
              <a:extLst>
                <a:ext uri="{FF2B5EF4-FFF2-40B4-BE49-F238E27FC236}">
                  <a16:creationId xmlns:a16="http://schemas.microsoft.com/office/drawing/2014/main" id="{5D96F2BD-B628-D112-2E38-FB30D72EF76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92794" y="4653153"/>
              <a:ext cx="252000" cy="252000"/>
            </a:xfrm>
            <a:prstGeom prst="rect">
              <a:avLst/>
            </a:prstGeom>
          </p:spPr>
        </p:pic>
      </p:grpSp>
      <p:sp useBgFill="1">
        <p:nvSpPr>
          <p:cNvPr id="102" name="Oval 101">
            <a:extLst>
              <a:ext uri="{FF2B5EF4-FFF2-40B4-BE49-F238E27FC236}">
                <a16:creationId xmlns:a16="http://schemas.microsoft.com/office/drawing/2014/main" id="{42463592-5F51-250B-F652-A79CA406F0C6}"/>
              </a:ext>
            </a:extLst>
          </p:cNvPr>
          <p:cNvSpPr/>
          <p:nvPr/>
        </p:nvSpPr>
        <p:spPr>
          <a:xfrm>
            <a:off x="9684723" y="1894816"/>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9C812770-1A6C-DA5B-1711-1DBE2F511457}"/>
                  </a:ext>
                </a:extLst>
              </p:cNvPr>
              <p:cNvGraphicFramePr>
                <a:graphicFrameLocks noChangeAspect="1"/>
              </p:cNvGraphicFramePr>
              <p:nvPr>
                <p:extLst>
                  <p:ext uri="{D42A27DB-BD31-4B8C-83A1-F6EECF244321}">
                    <p14:modId xmlns:p14="http://schemas.microsoft.com/office/powerpoint/2010/main" val="3209283704"/>
                  </p:ext>
                </p:extLst>
              </p:nvPr>
            </p:nvGraphicFramePr>
            <p:xfrm>
              <a:off x="2518663" y="3760061"/>
              <a:ext cx="1205892" cy="678314"/>
            </p:xfrm>
            <a:graphic>
              <a:graphicData uri="http://schemas.microsoft.com/office/powerpoint/2016/sectionzoom">
                <psez:sectionZm>
                  <psez:sectionZmObj sectionId="{89DC3976-4114-4C72-A3F7-CD5F9D4A7E2B}">
                    <psez:zmPr id="{589C5D53-314B-45D2-A22D-40EF9D54BAAF}" transitionDur="1000" showBg="0">
                      <p166:blipFill xmlns:p166="http://schemas.microsoft.com/office/powerpoint/2016/6/main">
                        <a:blip r:embed="rId10"/>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7" name="Section Zoom 6">
                <a:hlinkClick r:id="rId15" action="ppaction://hlinksldjump"/>
                <a:extLst>
                  <a:ext uri="{FF2B5EF4-FFF2-40B4-BE49-F238E27FC236}">
                    <a16:creationId xmlns:a16="http://schemas.microsoft.com/office/drawing/2014/main" id="{9C812770-1A6C-DA5B-1711-1DBE2F511457}"/>
                  </a:ext>
                </a:extLst>
              </p:cNvPr>
              <p:cNvPicPr>
                <a:picLocks noGrp="1" noRot="1" noChangeAspect="1" noMove="1" noResize="1" noEditPoints="1" noAdjustHandles="1" noChangeArrowheads="1" noChangeShapeType="1"/>
              </p:cNvPicPr>
              <p:nvPr/>
            </p:nvPicPr>
            <p:blipFill>
              <a:blip r:embed="rId16"/>
              <a:stretch>
                <a:fillRect/>
              </a:stretch>
            </p:blipFill>
            <p:spPr>
              <a:xfrm>
                <a:off x="2518663" y="3760061"/>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0" name="Section Zoom 9">
                <a:extLst>
                  <a:ext uri="{FF2B5EF4-FFF2-40B4-BE49-F238E27FC236}">
                    <a16:creationId xmlns:a16="http://schemas.microsoft.com/office/drawing/2014/main" id="{A7B5DE9F-77DA-2216-24D5-A7E51426B6E6}"/>
                  </a:ext>
                </a:extLst>
              </p:cNvPr>
              <p:cNvGraphicFramePr>
                <a:graphicFrameLocks noChangeAspect="1"/>
              </p:cNvGraphicFramePr>
              <p:nvPr>
                <p:extLst>
                  <p:ext uri="{D42A27DB-BD31-4B8C-83A1-F6EECF244321}">
                    <p14:modId xmlns:p14="http://schemas.microsoft.com/office/powerpoint/2010/main" val="1676581083"/>
                  </p:ext>
                </p:extLst>
              </p:nvPr>
            </p:nvGraphicFramePr>
            <p:xfrm>
              <a:off x="3549954" y="2440294"/>
              <a:ext cx="1205892" cy="678314"/>
            </p:xfrm>
            <a:graphic>
              <a:graphicData uri="http://schemas.microsoft.com/office/powerpoint/2016/sectionzoom">
                <psez:sectionZm>
                  <psez:sectionZmObj sectionId="{B0161835-6204-4266-8552-F3667AA67871}">
                    <psez:zmPr id="{8063EAC8-A51B-4716-95F3-8D194DDEC352}" transitionDur="1000" showBg="0">
                      <p166:blipFill xmlns:p166="http://schemas.microsoft.com/office/powerpoint/2016/6/main">
                        <a:blip r:embed="rId17"/>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0" name="Section Zoom 9">
                <a:hlinkClick r:id="rId18" action="ppaction://hlinksldjump"/>
                <a:extLst>
                  <a:ext uri="{FF2B5EF4-FFF2-40B4-BE49-F238E27FC236}">
                    <a16:creationId xmlns:a16="http://schemas.microsoft.com/office/drawing/2014/main" id="{A7B5DE9F-77DA-2216-24D5-A7E51426B6E6}"/>
                  </a:ext>
                </a:extLst>
              </p:cNvPr>
              <p:cNvPicPr>
                <a:picLocks noGrp="1" noRot="1" noChangeAspect="1" noMove="1" noResize="1" noEditPoints="1" noAdjustHandles="1" noChangeArrowheads="1" noChangeShapeType="1"/>
              </p:cNvPicPr>
              <p:nvPr/>
            </p:nvPicPr>
            <p:blipFill>
              <a:blip r:embed="rId19"/>
              <a:stretch>
                <a:fillRect/>
              </a:stretch>
            </p:blipFill>
            <p:spPr>
              <a:xfrm>
                <a:off x="3549954" y="2440294"/>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8C693734-C934-C86F-DBF3-51A83A14962D}"/>
                  </a:ext>
                </a:extLst>
              </p:cNvPr>
              <p:cNvGraphicFramePr>
                <a:graphicFrameLocks noChangeAspect="1"/>
              </p:cNvGraphicFramePr>
              <p:nvPr>
                <p:extLst>
                  <p:ext uri="{D42A27DB-BD31-4B8C-83A1-F6EECF244321}">
                    <p14:modId xmlns:p14="http://schemas.microsoft.com/office/powerpoint/2010/main" val="3143048016"/>
                  </p:ext>
                </p:extLst>
              </p:nvPr>
            </p:nvGraphicFramePr>
            <p:xfrm>
              <a:off x="4509076" y="3729694"/>
              <a:ext cx="1205892" cy="678314"/>
            </p:xfrm>
            <a:graphic>
              <a:graphicData uri="http://schemas.microsoft.com/office/powerpoint/2016/sectionzoom">
                <psez:sectionZm>
                  <psez:sectionZmObj sectionId="{B78F869A-DB52-4C0F-9771-93BD0B0C77E6}">
                    <psez:zmPr id="{25F3C81B-8628-4BDC-A625-35EC4F6BCABF}" transitionDur="1000" showBg="0">
                      <p166:blipFill xmlns:p166="http://schemas.microsoft.com/office/powerpoint/2016/6/main">
                        <a:blip r:embed="rId20"/>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3" name="Section Zoom 12">
                <a:hlinkClick r:id="rId21" action="ppaction://hlinksldjump"/>
                <a:extLst>
                  <a:ext uri="{FF2B5EF4-FFF2-40B4-BE49-F238E27FC236}">
                    <a16:creationId xmlns:a16="http://schemas.microsoft.com/office/drawing/2014/main" id="{8C693734-C934-C86F-DBF3-51A83A14962D}"/>
                  </a:ext>
                </a:extLst>
              </p:cNvPr>
              <p:cNvPicPr>
                <a:picLocks noGrp="1" noRot="1" noChangeAspect="1" noMove="1" noResize="1" noEditPoints="1" noAdjustHandles="1" noChangeArrowheads="1" noChangeShapeType="1"/>
              </p:cNvPicPr>
              <p:nvPr/>
            </p:nvPicPr>
            <p:blipFill>
              <a:blip r:embed="rId22"/>
              <a:stretch>
                <a:fillRect/>
              </a:stretch>
            </p:blipFill>
            <p:spPr>
              <a:xfrm>
                <a:off x="4509076" y="3729694"/>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6" name="Section Zoom 15">
                <a:extLst>
                  <a:ext uri="{FF2B5EF4-FFF2-40B4-BE49-F238E27FC236}">
                    <a16:creationId xmlns:a16="http://schemas.microsoft.com/office/drawing/2014/main" id="{366A5243-9F37-B263-172D-5FF4FD239A02}"/>
                  </a:ext>
                </a:extLst>
              </p:cNvPr>
              <p:cNvGraphicFramePr>
                <a:graphicFrameLocks noChangeAspect="1"/>
              </p:cNvGraphicFramePr>
              <p:nvPr>
                <p:extLst>
                  <p:ext uri="{D42A27DB-BD31-4B8C-83A1-F6EECF244321}">
                    <p14:modId xmlns:p14="http://schemas.microsoft.com/office/powerpoint/2010/main" val="3085387585"/>
                  </p:ext>
                </p:extLst>
              </p:nvPr>
            </p:nvGraphicFramePr>
            <p:xfrm>
              <a:off x="5517986" y="2537173"/>
              <a:ext cx="1205892" cy="678314"/>
            </p:xfrm>
            <a:graphic>
              <a:graphicData uri="http://schemas.microsoft.com/office/powerpoint/2016/sectionzoom">
                <psez:sectionZm>
                  <psez:sectionZmObj sectionId="{8EDEC664-D3C4-4592-8786-C99AA6E5D5F4}">
                    <psez:zmPr id="{1174C820-6585-4812-BAF9-B20F5FE26C7E}" transitionDur="1000" showBg="0">
                      <p166:blipFill xmlns:p166="http://schemas.microsoft.com/office/powerpoint/2016/6/main">
                        <a:blip r:embed="rId23"/>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6" name="Section Zoom 15">
                <a:hlinkClick r:id="rId24" action="ppaction://hlinksldjump"/>
                <a:extLst>
                  <a:ext uri="{FF2B5EF4-FFF2-40B4-BE49-F238E27FC236}">
                    <a16:creationId xmlns:a16="http://schemas.microsoft.com/office/drawing/2014/main" id="{366A5243-9F37-B263-172D-5FF4FD239A02}"/>
                  </a:ext>
                </a:extLst>
              </p:cNvPr>
              <p:cNvPicPr>
                <a:picLocks noGrp="1" noRot="1" noChangeAspect="1" noMove="1" noResize="1" noEditPoints="1" noAdjustHandles="1" noChangeArrowheads="1" noChangeShapeType="1"/>
              </p:cNvPicPr>
              <p:nvPr/>
            </p:nvPicPr>
            <p:blipFill>
              <a:blip r:embed="rId25"/>
              <a:stretch>
                <a:fillRect/>
              </a:stretch>
            </p:blipFill>
            <p:spPr>
              <a:xfrm>
                <a:off x="5517986" y="2537173"/>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B1818394-B566-89EC-93B7-0C7F52D96C8E}"/>
                  </a:ext>
                </a:extLst>
              </p:cNvPr>
              <p:cNvGraphicFramePr>
                <a:graphicFrameLocks noChangeAspect="1"/>
              </p:cNvGraphicFramePr>
              <p:nvPr>
                <p:extLst>
                  <p:ext uri="{D42A27DB-BD31-4B8C-83A1-F6EECF244321}">
                    <p14:modId xmlns:p14="http://schemas.microsoft.com/office/powerpoint/2010/main" val="3605061249"/>
                  </p:ext>
                </p:extLst>
              </p:nvPr>
            </p:nvGraphicFramePr>
            <p:xfrm>
              <a:off x="7457970" y="2499883"/>
              <a:ext cx="1205892" cy="678314"/>
            </p:xfrm>
            <a:graphic>
              <a:graphicData uri="http://schemas.microsoft.com/office/powerpoint/2016/sectionzoom">
                <psez:sectionZm>
                  <psez:sectionZmObj sectionId="{F496BB06-4A29-4BF5-BA77-B16347F04B8B}">
                    <psez:zmPr id="{CA16EA92-A482-4473-9D2E-4B82CD37A180}" transitionDur="1000" showBg="0">
                      <p166:blipFill xmlns:p166="http://schemas.microsoft.com/office/powerpoint/2016/6/main">
                        <a:blip r:embed="rId26"/>
                        <a:stretch>
                          <a:fillRect/>
                        </a:stretch>
                      </p166:blipFill>
                      <p166:spPr xmlns:p166="http://schemas.microsoft.com/office/powerpoint/2016/6/main">
                        <a:xfrm>
                          <a:off x="0" y="0"/>
                          <a:ext cx="1205892" cy="678314"/>
                        </a:xfrm>
                        <a:prstGeom prst="rect">
                          <a:avLst/>
                        </a:prstGeom>
                      </p166:spPr>
                    </psez:zmPr>
                  </psez:sectionZmObj>
                </psez:sectionZm>
              </a:graphicData>
            </a:graphic>
          </p:graphicFrame>
        </mc:Choice>
        <mc:Fallback xmlns="">
          <p:pic>
            <p:nvPicPr>
              <p:cNvPr id="3" name="Section Zoom 2">
                <a:hlinkClick r:id="rId27" action="ppaction://hlinksldjump"/>
                <a:extLst>
                  <a:ext uri="{FF2B5EF4-FFF2-40B4-BE49-F238E27FC236}">
                    <a16:creationId xmlns:a16="http://schemas.microsoft.com/office/drawing/2014/main" id="{B1818394-B566-89EC-93B7-0C7F52D96C8E}"/>
                  </a:ext>
                </a:extLst>
              </p:cNvPr>
              <p:cNvPicPr>
                <a:picLocks noGrp="1" noRot="1" noChangeAspect="1" noMove="1" noResize="1" noEditPoints="1" noAdjustHandles="1" noChangeArrowheads="1" noChangeShapeType="1"/>
              </p:cNvPicPr>
              <p:nvPr/>
            </p:nvPicPr>
            <p:blipFill>
              <a:blip r:embed="rId28"/>
              <a:stretch>
                <a:fillRect/>
              </a:stretch>
            </p:blipFill>
            <p:spPr>
              <a:xfrm>
                <a:off x="7457970" y="2499883"/>
                <a:ext cx="1205892" cy="678314"/>
              </a:xfrm>
              <a:prstGeom prst="rect">
                <a:avLst/>
              </a:prstGeom>
            </p:spPr>
          </p:pic>
        </mc:Fallback>
      </mc:AlternateContent>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A64A8C2C-A09D-914F-4D82-0AC210E81EC2}"/>
                  </a:ext>
                </a:extLst>
              </p:cNvPr>
              <p:cNvGraphicFramePr>
                <a:graphicFrameLocks noChangeAspect="1"/>
              </p:cNvGraphicFramePr>
              <p:nvPr>
                <p:extLst>
                  <p:ext uri="{D42A27DB-BD31-4B8C-83A1-F6EECF244321}">
                    <p14:modId xmlns:p14="http://schemas.microsoft.com/office/powerpoint/2010/main" val="2252935643"/>
                  </p:ext>
                </p:extLst>
              </p:nvPr>
            </p:nvGraphicFramePr>
            <p:xfrm>
              <a:off x="6486393" y="3745028"/>
              <a:ext cx="1205892" cy="678314"/>
            </p:xfrm>
            <a:graphic>
              <a:graphicData uri="http://schemas.microsoft.com/office/powerpoint/2016/sectionzoom">
                <psez:sectionZm>
                  <psez:sectionZmObj sectionId="{5F9BCD4A-9433-48A8-B291-287BE2581A63}">
                    <psez:zmPr id="{18EA1257-2A04-4F60-AC28-AE506CECCC30}" transitionDur="1000" showBg="0">
                      <p166:blipFill xmlns:p166="http://schemas.microsoft.com/office/powerpoint/2016/6/main">
                        <a:blip r:embed="rId29"/>
                        <a:stretch>
                          <a:fillRect/>
                        </a:stretch>
                      </p166:blipFill>
                      <p166:spPr xmlns:p166="http://schemas.microsoft.com/office/powerpoint/2016/6/main">
                        <a:xfrm>
                          <a:off x="0" y="0"/>
                          <a:ext cx="1205892" cy="678314"/>
                        </a:xfrm>
                        <a:prstGeom prst="rect">
                          <a:avLst/>
                        </a:prstGeom>
                        <a:ln>
                          <a:noFill/>
                        </a:ln>
                      </p166:spPr>
                    </psez:zmPr>
                  </psez:sectionZmObj>
                </psez:sectionZm>
              </a:graphicData>
            </a:graphic>
          </p:graphicFrame>
        </mc:Choice>
        <mc:Fallback xmlns="">
          <p:pic>
            <p:nvPicPr>
              <p:cNvPr id="8" name="Section Zoom 7">
                <a:hlinkClick r:id="rId30" action="ppaction://hlinksldjump"/>
                <a:extLst>
                  <a:ext uri="{FF2B5EF4-FFF2-40B4-BE49-F238E27FC236}">
                    <a16:creationId xmlns:a16="http://schemas.microsoft.com/office/drawing/2014/main" id="{A64A8C2C-A09D-914F-4D82-0AC210E81EC2}"/>
                  </a:ext>
                </a:extLst>
              </p:cNvPr>
              <p:cNvPicPr>
                <a:picLocks noGrp="1" noRot="1" noChangeAspect="1" noMove="1" noResize="1" noEditPoints="1" noAdjustHandles="1" noChangeArrowheads="1" noChangeShapeType="1"/>
              </p:cNvPicPr>
              <p:nvPr/>
            </p:nvPicPr>
            <p:blipFill>
              <a:blip r:embed="rId31"/>
              <a:stretch>
                <a:fillRect/>
              </a:stretch>
            </p:blipFill>
            <p:spPr>
              <a:xfrm>
                <a:off x="6486393" y="3745028"/>
                <a:ext cx="1205892" cy="678314"/>
              </a:xfrm>
              <a:prstGeom prst="rect">
                <a:avLst/>
              </a:prstGeom>
              <a:ln>
                <a:noFill/>
              </a:ln>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994A7A82-00DA-C962-F4B3-D28B371A268F}"/>
                  </a:ext>
                </a:extLst>
              </p:cNvPr>
              <p:cNvGraphicFramePr>
                <a:graphicFrameLocks noChangeAspect="1"/>
              </p:cNvGraphicFramePr>
              <p:nvPr>
                <p:extLst>
                  <p:ext uri="{D42A27DB-BD31-4B8C-83A1-F6EECF244321}">
                    <p14:modId xmlns:p14="http://schemas.microsoft.com/office/powerpoint/2010/main" val="839852492"/>
                  </p:ext>
                </p:extLst>
              </p:nvPr>
            </p:nvGraphicFramePr>
            <p:xfrm>
              <a:off x="8430029" y="3736302"/>
              <a:ext cx="1205892" cy="678314"/>
            </p:xfrm>
            <a:graphic>
              <a:graphicData uri="http://schemas.microsoft.com/office/powerpoint/2016/sectionzoom">
                <psez:sectionZm>
                  <psez:sectionZmObj sectionId="{DAF8DABC-592A-4901-A0AC-5CDA09D8F45E}">
                    <psez:zmPr id="{B0CC5743-31DA-4C38-8F9F-D13430DC46E4}" transitionDur="1000" showBg="0">
                      <p166:blipFill xmlns:p166="http://schemas.microsoft.com/office/powerpoint/2016/6/main">
                        <a:blip r:embed="rId32"/>
                        <a:stretch>
                          <a:fillRect/>
                        </a:stretch>
                      </p166:blipFill>
                      <p166:spPr xmlns:p166="http://schemas.microsoft.com/office/powerpoint/2016/6/main">
                        <a:xfrm>
                          <a:off x="0" y="0"/>
                          <a:ext cx="1205892" cy="678314"/>
                        </a:xfrm>
                        <a:prstGeom prst="rect">
                          <a:avLst/>
                        </a:prstGeom>
                        <a:ln w="3175">
                          <a:noFill/>
                        </a:ln>
                      </p166:spPr>
                    </psez:zmPr>
                  </psez:sectionZmObj>
                </psez:sectionZm>
              </a:graphicData>
            </a:graphic>
          </p:graphicFrame>
        </mc:Choice>
        <mc:Fallback xmlns="">
          <p:pic>
            <p:nvPicPr>
              <p:cNvPr id="15" name="Section Zoom 14">
                <a:hlinkClick r:id="rId48" action="ppaction://hlinksldjump"/>
                <a:extLst>
                  <a:ext uri="{FF2B5EF4-FFF2-40B4-BE49-F238E27FC236}">
                    <a16:creationId xmlns:a16="http://schemas.microsoft.com/office/drawing/2014/main" id="{994A7A82-00DA-C962-F4B3-D28B371A268F}"/>
                  </a:ext>
                </a:extLst>
              </p:cNvPr>
              <p:cNvPicPr>
                <a:picLocks noGrp="1" noRot="1" noChangeAspect="1" noMove="1" noResize="1" noEditPoints="1" noAdjustHandles="1" noChangeArrowheads="1" noChangeShapeType="1"/>
              </p:cNvPicPr>
              <p:nvPr/>
            </p:nvPicPr>
            <p:blipFill>
              <a:blip r:embed="rId49"/>
              <a:stretch>
                <a:fillRect/>
              </a:stretch>
            </p:blipFill>
            <p:spPr>
              <a:xfrm>
                <a:off x="8430029" y="3736302"/>
                <a:ext cx="1205892" cy="678314"/>
              </a:xfrm>
              <a:prstGeom prst="rect">
                <a:avLst/>
              </a:prstGeom>
              <a:ln w="3175">
                <a:noFill/>
              </a:ln>
            </p:spPr>
          </p:pic>
        </mc:Fallback>
      </mc:AlternateContent>
      <mc:AlternateContent xmlns:mc="http://schemas.openxmlformats.org/markup-compatibility/2006" xmlns:psez="http://schemas.microsoft.com/office/powerpoint/2016/sectionzoom">
        <mc:Choice Requires="psez">
          <p:graphicFrame>
            <p:nvGraphicFramePr>
              <p:cNvPr id="18" name="Section Zoom 17">
                <a:extLst>
                  <a:ext uri="{FF2B5EF4-FFF2-40B4-BE49-F238E27FC236}">
                    <a16:creationId xmlns:a16="http://schemas.microsoft.com/office/drawing/2014/main" id="{3E37003B-E503-7160-A212-66213D34C012}"/>
                  </a:ext>
                </a:extLst>
              </p:cNvPr>
              <p:cNvGraphicFramePr>
                <a:graphicFrameLocks noChangeAspect="1"/>
              </p:cNvGraphicFramePr>
              <p:nvPr>
                <p:extLst>
                  <p:ext uri="{D42A27DB-BD31-4B8C-83A1-F6EECF244321}">
                    <p14:modId xmlns:p14="http://schemas.microsoft.com/office/powerpoint/2010/main" val="1847691109"/>
                  </p:ext>
                </p:extLst>
              </p:nvPr>
            </p:nvGraphicFramePr>
            <p:xfrm>
              <a:off x="9339633" y="2464216"/>
              <a:ext cx="1205892" cy="678314"/>
            </p:xfrm>
            <a:graphic>
              <a:graphicData uri="http://schemas.microsoft.com/office/powerpoint/2016/sectionzoom">
                <psez:sectionZm>
                  <psez:sectionZmObj sectionId="{98810976-D7DB-4275-9710-9A2889E2A734}">
                    <psez:zmPr id="{F08AC0D9-533E-4A9B-AE6D-5C782F66EA32}" transitionDur="1000" showBg="0">
                      <p166:blipFill xmlns:p166="http://schemas.microsoft.com/office/powerpoint/2016/6/main">
                        <a:blip r:embed="rId50"/>
                        <a:stretch>
                          <a:fillRect/>
                        </a:stretch>
                      </p166:blipFill>
                      <p166:spPr xmlns:p166="http://schemas.microsoft.com/office/powerpoint/2016/6/main">
                        <a:xfrm>
                          <a:off x="0" y="0"/>
                          <a:ext cx="1205892" cy="678314"/>
                        </a:xfrm>
                        <a:prstGeom prst="rect">
                          <a:avLst/>
                        </a:prstGeom>
                        <a:ln>
                          <a:noFill/>
                        </a:ln>
                      </p166:spPr>
                    </psez:zmPr>
                  </psez:sectionZmObj>
                </psez:sectionZm>
              </a:graphicData>
            </a:graphic>
          </p:graphicFrame>
        </mc:Choice>
        <mc:Fallback xmlns="">
          <p:pic>
            <p:nvPicPr>
              <p:cNvPr id="18" name="Section Zoom 17">
                <a:hlinkClick r:id="rId51" action="ppaction://hlinksldjump"/>
                <a:extLst>
                  <a:ext uri="{FF2B5EF4-FFF2-40B4-BE49-F238E27FC236}">
                    <a16:creationId xmlns:a16="http://schemas.microsoft.com/office/drawing/2014/main" id="{3E37003B-E503-7160-A212-66213D34C012}"/>
                  </a:ext>
                </a:extLst>
              </p:cNvPr>
              <p:cNvPicPr>
                <a:picLocks noGrp="1" noRot="1" noChangeAspect="1" noMove="1" noResize="1" noEditPoints="1" noAdjustHandles="1" noChangeArrowheads="1" noChangeShapeType="1"/>
              </p:cNvPicPr>
              <p:nvPr/>
            </p:nvPicPr>
            <p:blipFill>
              <a:blip r:embed="rId52"/>
              <a:stretch>
                <a:fillRect/>
              </a:stretch>
            </p:blipFill>
            <p:spPr>
              <a:xfrm>
                <a:off x="9339633" y="2464216"/>
                <a:ext cx="1205892" cy="678314"/>
              </a:xfrm>
              <a:prstGeom prst="rect">
                <a:avLst/>
              </a:prstGeom>
              <a:ln>
                <a:noFill/>
              </a:ln>
            </p:spPr>
          </p:pic>
        </mc:Fallback>
      </mc:AlternateContent>
      <p:pic>
        <p:nvPicPr>
          <p:cNvPr id="79" name="Graphic 78">
            <a:extLst>
              <a:ext uri="{FF2B5EF4-FFF2-40B4-BE49-F238E27FC236}">
                <a16:creationId xmlns:a16="http://schemas.microsoft.com/office/drawing/2014/main" id="{800F1B16-217C-9DC0-72A3-A42F9233098C}"/>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9820465" y="2014995"/>
            <a:ext cx="252000" cy="252000"/>
          </a:xfrm>
          <a:prstGeom prst="rect">
            <a:avLst/>
          </a:prstGeom>
        </p:spPr>
      </p:pic>
      <p:grpSp>
        <p:nvGrpSpPr>
          <p:cNvPr id="30" name="Group 29">
            <a:extLst>
              <a:ext uri="{FF2B5EF4-FFF2-40B4-BE49-F238E27FC236}">
                <a16:creationId xmlns:a16="http://schemas.microsoft.com/office/drawing/2014/main" id="{0B19496D-E265-FE02-2E36-EB11D6D21A3C}"/>
              </a:ext>
            </a:extLst>
          </p:cNvPr>
          <p:cNvGrpSpPr/>
          <p:nvPr/>
        </p:nvGrpSpPr>
        <p:grpSpPr>
          <a:xfrm>
            <a:off x="2858132" y="4492271"/>
            <a:ext cx="507586" cy="507586"/>
            <a:chOff x="2858132" y="4492271"/>
            <a:chExt cx="507586" cy="507586"/>
          </a:xfrm>
        </p:grpSpPr>
        <p:sp useBgFill="1">
          <p:nvSpPr>
            <p:cNvPr id="81" name="Oval 80">
              <a:extLst>
                <a:ext uri="{FF2B5EF4-FFF2-40B4-BE49-F238E27FC236}">
                  <a16:creationId xmlns:a16="http://schemas.microsoft.com/office/drawing/2014/main" id="{98463B26-6FCE-4CAB-7C5B-843FA4A386F2}"/>
                </a:ext>
              </a:extLst>
            </p:cNvPr>
            <p:cNvSpPr/>
            <p:nvPr/>
          </p:nvSpPr>
          <p:spPr>
            <a:xfrm>
              <a:off x="2858132" y="449227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6" name="Graphic 25">
              <a:extLst>
                <a:ext uri="{FF2B5EF4-FFF2-40B4-BE49-F238E27FC236}">
                  <a16:creationId xmlns:a16="http://schemas.microsoft.com/office/drawing/2014/main" id="{1434E0F3-00C7-8F22-9FC1-FD4AD98C30AC}"/>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983909" y="4618048"/>
              <a:ext cx="256032" cy="256032"/>
            </a:xfrm>
            <a:prstGeom prst="rect">
              <a:avLst/>
            </a:prstGeom>
            <a:effectLst/>
          </p:spPr>
        </p:pic>
      </p:grpSp>
      <p:grpSp>
        <p:nvGrpSpPr>
          <p:cNvPr id="9" name="Group 8">
            <a:extLst>
              <a:ext uri="{FF2B5EF4-FFF2-40B4-BE49-F238E27FC236}">
                <a16:creationId xmlns:a16="http://schemas.microsoft.com/office/drawing/2014/main" id="{DDADEB6C-E5E9-2044-0023-2C77D3A0C7DD}"/>
              </a:ext>
            </a:extLst>
          </p:cNvPr>
          <p:cNvGrpSpPr/>
          <p:nvPr/>
        </p:nvGrpSpPr>
        <p:grpSpPr>
          <a:xfrm>
            <a:off x="8781137" y="4480477"/>
            <a:ext cx="507586" cy="507586"/>
            <a:chOff x="8781137" y="4480477"/>
            <a:chExt cx="507586" cy="507586"/>
          </a:xfrm>
        </p:grpSpPr>
        <p:sp useBgFill="1">
          <p:nvSpPr>
            <p:cNvPr id="99" name="Oval 98">
              <a:extLst>
                <a:ext uri="{FF2B5EF4-FFF2-40B4-BE49-F238E27FC236}">
                  <a16:creationId xmlns:a16="http://schemas.microsoft.com/office/drawing/2014/main" id="{3094A7F4-7D95-3CCB-D7F6-F42074CE8F7B}"/>
                </a:ext>
              </a:extLst>
            </p:cNvPr>
            <p:cNvSpPr/>
            <p:nvPr/>
          </p:nvSpPr>
          <p:spPr>
            <a:xfrm>
              <a:off x="8781137" y="448047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8" name="Graphic 27">
              <a:extLst>
                <a:ext uri="{FF2B5EF4-FFF2-40B4-BE49-F238E27FC236}">
                  <a16:creationId xmlns:a16="http://schemas.microsoft.com/office/drawing/2014/main" id="{881285BB-DBA7-CAFF-FEE7-FDB0BC831279}"/>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8911282" y="4618048"/>
              <a:ext cx="256032" cy="256032"/>
            </a:xfrm>
            <a:prstGeom prst="rect">
              <a:avLst/>
            </a:prstGeom>
          </p:spPr>
        </p:pic>
      </p:grpSp>
      <p:grpSp>
        <p:nvGrpSpPr>
          <p:cNvPr id="33" name="Group 32">
            <a:extLst>
              <a:ext uri="{FF2B5EF4-FFF2-40B4-BE49-F238E27FC236}">
                <a16:creationId xmlns:a16="http://schemas.microsoft.com/office/drawing/2014/main" id="{F11F8E21-C6EA-CFFB-8FEA-BD29114DBD52}"/>
              </a:ext>
            </a:extLst>
          </p:cNvPr>
          <p:cNvGrpSpPr/>
          <p:nvPr/>
        </p:nvGrpSpPr>
        <p:grpSpPr>
          <a:xfrm>
            <a:off x="5828208" y="1871057"/>
            <a:ext cx="507586" cy="507586"/>
            <a:chOff x="5828208" y="1871057"/>
            <a:chExt cx="507586" cy="507586"/>
          </a:xfrm>
        </p:grpSpPr>
        <p:sp useBgFill="1">
          <p:nvSpPr>
            <p:cNvPr id="87" name="Oval 86">
              <a:extLst>
                <a:ext uri="{FF2B5EF4-FFF2-40B4-BE49-F238E27FC236}">
                  <a16:creationId xmlns:a16="http://schemas.microsoft.com/office/drawing/2014/main" id="{00A96CE1-5985-A4D9-DABC-EA7FB44BC0CC}"/>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2" name="Graphic 31">
              <a:extLst>
                <a:ext uri="{FF2B5EF4-FFF2-40B4-BE49-F238E27FC236}">
                  <a16:creationId xmlns:a16="http://schemas.microsoft.com/office/drawing/2014/main" id="{CBA2D37F-5D9A-F494-831B-104F8A00F432}"/>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5967984" y="2005977"/>
              <a:ext cx="256032" cy="256032"/>
            </a:xfrm>
            <a:prstGeom prst="rect">
              <a:avLst/>
            </a:prstGeom>
          </p:spPr>
        </p:pic>
      </p:grpSp>
      <p:grpSp>
        <p:nvGrpSpPr>
          <p:cNvPr id="27" name="Group 26">
            <a:extLst>
              <a:ext uri="{FF2B5EF4-FFF2-40B4-BE49-F238E27FC236}">
                <a16:creationId xmlns:a16="http://schemas.microsoft.com/office/drawing/2014/main" id="{86AFB26A-EB41-8410-D38B-7DBBE8822895}"/>
              </a:ext>
            </a:extLst>
          </p:cNvPr>
          <p:cNvGrpSpPr/>
          <p:nvPr/>
        </p:nvGrpSpPr>
        <p:grpSpPr>
          <a:xfrm>
            <a:off x="1985951" y="1841307"/>
            <a:ext cx="507586" cy="507586"/>
            <a:chOff x="1985951" y="1841307"/>
            <a:chExt cx="507586" cy="507586"/>
          </a:xfrm>
        </p:grpSpPr>
        <p:sp useBgFill="1">
          <p:nvSpPr>
            <p:cNvPr id="19" name="Oval 18">
              <a:extLst>
                <a:ext uri="{FF2B5EF4-FFF2-40B4-BE49-F238E27FC236}">
                  <a16:creationId xmlns:a16="http://schemas.microsoft.com/office/drawing/2014/main" id="{F4F142B4-80A7-C11D-C612-FB72ADBDE560}"/>
                </a:ext>
              </a:extLst>
            </p:cNvPr>
            <p:cNvSpPr/>
            <p:nvPr/>
          </p:nvSpPr>
          <p:spPr>
            <a:xfrm>
              <a:off x="1985951" y="184130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2" name="Graphic 21">
              <a:extLst>
                <a:ext uri="{FF2B5EF4-FFF2-40B4-BE49-F238E27FC236}">
                  <a16:creationId xmlns:a16="http://schemas.microsoft.com/office/drawing/2014/main" id="{4C666DC9-2BCB-03F1-A68C-E1692DA84E92}"/>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2111728" y="1967084"/>
              <a:ext cx="256032" cy="256032"/>
            </a:xfrm>
            <a:prstGeom prst="rect">
              <a:avLst/>
            </a:prstGeom>
          </p:spPr>
        </p:pic>
      </p:grpSp>
      <p:grpSp>
        <p:nvGrpSpPr>
          <p:cNvPr id="31" name="Group 30">
            <a:extLst>
              <a:ext uri="{FF2B5EF4-FFF2-40B4-BE49-F238E27FC236}">
                <a16:creationId xmlns:a16="http://schemas.microsoft.com/office/drawing/2014/main" id="{4AD91FAB-E342-8A14-E53E-9929D5E4C441}"/>
              </a:ext>
            </a:extLst>
          </p:cNvPr>
          <p:cNvGrpSpPr/>
          <p:nvPr/>
        </p:nvGrpSpPr>
        <p:grpSpPr>
          <a:xfrm>
            <a:off x="3886094" y="1867721"/>
            <a:ext cx="507586" cy="507586"/>
            <a:chOff x="3886094" y="1867721"/>
            <a:chExt cx="507586" cy="507586"/>
          </a:xfrm>
        </p:grpSpPr>
        <p:sp useBgFill="1">
          <p:nvSpPr>
            <p:cNvPr id="84" name="Oval 83">
              <a:extLst>
                <a:ext uri="{FF2B5EF4-FFF2-40B4-BE49-F238E27FC236}">
                  <a16:creationId xmlns:a16="http://schemas.microsoft.com/office/drawing/2014/main" id="{0F414691-D85D-55A6-6399-3CD06D7FCFFF}"/>
                </a:ext>
              </a:extLst>
            </p:cNvPr>
            <p:cNvSpPr/>
            <p:nvPr/>
          </p:nvSpPr>
          <p:spPr>
            <a:xfrm>
              <a:off x="3886094" y="1867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5" name="Graphic 24">
              <a:extLst>
                <a:ext uri="{FF2B5EF4-FFF2-40B4-BE49-F238E27FC236}">
                  <a16:creationId xmlns:a16="http://schemas.microsoft.com/office/drawing/2014/main" id="{3DC8ED95-A810-9926-19D6-5B8EBEC408C3}"/>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4011871" y="1969676"/>
              <a:ext cx="256032" cy="256032"/>
            </a:xfrm>
            <a:prstGeom prst="rect">
              <a:avLst/>
            </a:prstGeom>
          </p:spPr>
        </p:pic>
      </p:grpSp>
      <p:grpSp>
        <p:nvGrpSpPr>
          <p:cNvPr id="34" name="Group 33">
            <a:extLst>
              <a:ext uri="{FF2B5EF4-FFF2-40B4-BE49-F238E27FC236}">
                <a16:creationId xmlns:a16="http://schemas.microsoft.com/office/drawing/2014/main" id="{9F507FB8-AF06-54DE-2D93-52150B07B2AE}"/>
              </a:ext>
            </a:extLst>
          </p:cNvPr>
          <p:cNvGrpSpPr/>
          <p:nvPr/>
        </p:nvGrpSpPr>
        <p:grpSpPr>
          <a:xfrm>
            <a:off x="7770322" y="1861571"/>
            <a:ext cx="507586" cy="507586"/>
            <a:chOff x="7770322" y="1861571"/>
            <a:chExt cx="507586" cy="507586"/>
          </a:xfrm>
        </p:grpSpPr>
        <p:sp useBgFill="1">
          <p:nvSpPr>
            <p:cNvPr id="93" name="Oval 92">
              <a:extLst>
                <a:ext uri="{FF2B5EF4-FFF2-40B4-BE49-F238E27FC236}">
                  <a16:creationId xmlns:a16="http://schemas.microsoft.com/office/drawing/2014/main" id="{45655F16-2ECE-EDA5-6F1F-965804C74FBE}"/>
                </a:ext>
              </a:extLst>
            </p:cNvPr>
            <p:cNvSpPr/>
            <p:nvPr/>
          </p:nvSpPr>
          <p:spPr>
            <a:xfrm>
              <a:off x="7770322" y="186157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85" name="Graphic 84">
              <a:extLst>
                <a:ext uri="{FF2B5EF4-FFF2-40B4-BE49-F238E27FC236}">
                  <a16:creationId xmlns:a16="http://schemas.microsoft.com/office/drawing/2014/main" id="{5CF24868-AC3E-1F7F-E655-7F620EAAA3DB}"/>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7898115" y="1989364"/>
              <a:ext cx="252000" cy="252000"/>
            </a:xfrm>
            <a:prstGeom prst="rect">
              <a:avLst/>
            </a:prstGeom>
          </p:spPr>
        </p:pic>
      </p:grpSp>
      <p:grpSp>
        <p:nvGrpSpPr>
          <p:cNvPr id="37" name="Group 36">
            <a:extLst>
              <a:ext uri="{FF2B5EF4-FFF2-40B4-BE49-F238E27FC236}">
                <a16:creationId xmlns:a16="http://schemas.microsoft.com/office/drawing/2014/main" id="{1548F58F-3430-F03E-405F-6EB755E68702}"/>
              </a:ext>
            </a:extLst>
          </p:cNvPr>
          <p:cNvGrpSpPr/>
          <p:nvPr/>
        </p:nvGrpSpPr>
        <p:grpSpPr>
          <a:xfrm>
            <a:off x="6835197" y="4535801"/>
            <a:ext cx="507586" cy="507586"/>
            <a:chOff x="6835197" y="4535801"/>
            <a:chExt cx="507586" cy="507586"/>
          </a:xfrm>
        </p:grpSpPr>
        <p:sp useBgFill="1">
          <p:nvSpPr>
            <p:cNvPr id="96" name="Oval 95">
              <a:extLst>
                <a:ext uri="{FF2B5EF4-FFF2-40B4-BE49-F238E27FC236}">
                  <a16:creationId xmlns:a16="http://schemas.microsoft.com/office/drawing/2014/main" id="{D788B742-9A70-2B7D-B38B-7FF78CADE6D8}"/>
                </a:ext>
              </a:extLst>
            </p:cNvPr>
            <p:cNvSpPr/>
            <p:nvPr/>
          </p:nvSpPr>
          <p:spPr>
            <a:xfrm>
              <a:off x="6835197" y="453580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6" name="Graphic 35">
              <a:extLst>
                <a:ext uri="{FF2B5EF4-FFF2-40B4-BE49-F238E27FC236}">
                  <a16:creationId xmlns:a16="http://schemas.microsoft.com/office/drawing/2014/main" id="{E35109AF-65FA-0CA5-A767-18B6BBA028CD}"/>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6964217" y="4667369"/>
              <a:ext cx="256032" cy="256032"/>
            </a:xfrm>
            <a:prstGeom prst="rect">
              <a:avLst/>
            </a:prstGeom>
          </p:spPr>
        </p:pic>
      </p:grpSp>
    </p:spTree>
    <p:extLst>
      <p:ext uri="{BB962C8B-B14F-4D97-AF65-F5344CB8AC3E}">
        <p14:creationId xmlns:p14="http://schemas.microsoft.com/office/powerpoint/2010/main" val="1075787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7D4ED-7E8A-14F3-3C95-9165A01FF865}"/>
            </a:ext>
          </a:extLst>
        </p:cNvPr>
        <p:cNvGrpSpPr/>
        <p:nvPr/>
      </p:nvGrpSpPr>
      <p:grpSpPr>
        <a:xfrm>
          <a:off x="0" y="0"/>
          <a:ext cx="0" cy="0"/>
          <a:chOff x="0" y="0"/>
          <a:chExt cx="0" cy="0"/>
        </a:xfrm>
      </p:grpSpPr>
      <p:grpSp>
        <p:nvGrpSpPr>
          <p:cNvPr id="21" name="Group 20">
            <a:extLst>
              <a:ext uri="{FF2B5EF4-FFF2-40B4-BE49-F238E27FC236}">
                <a16:creationId xmlns:a16="http://schemas.microsoft.com/office/drawing/2014/main" id="{76CE3A70-30A6-218B-6F62-44CDD7575160}"/>
              </a:ext>
            </a:extLst>
          </p:cNvPr>
          <p:cNvGrpSpPr/>
          <p:nvPr/>
        </p:nvGrpSpPr>
        <p:grpSpPr>
          <a:xfrm>
            <a:off x="299484" y="339322"/>
            <a:ext cx="11644423" cy="507586"/>
            <a:chOff x="299484" y="339322"/>
            <a:chExt cx="11644423" cy="507586"/>
          </a:xfrm>
        </p:grpSpPr>
        <p:cxnSp>
          <p:nvCxnSpPr>
            <p:cNvPr id="16" name="Straight Connector 15">
              <a:extLst>
                <a:ext uri="{FF2B5EF4-FFF2-40B4-BE49-F238E27FC236}">
                  <a16:creationId xmlns:a16="http://schemas.microsoft.com/office/drawing/2014/main" id="{E417988B-88D0-EFF0-CC58-9063A0E8E6BB}"/>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5" name="Group 54">
              <a:extLst>
                <a:ext uri="{FF2B5EF4-FFF2-40B4-BE49-F238E27FC236}">
                  <a16:creationId xmlns:a16="http://schemas.microsoft.com/office/drawing/2014/main" id="{1AA997B6-356E-ECB1-D020-D3995ACBC7F2}"/>
                </a:ext>
              </a:extLst>
            </p:cNvPr>
            <p:cNvGrpSpPr/>
            <p:nvPr/>
          </p:nvGrpSpPr>
          <p:grpSpPr>
            <a:xfrm>
              <a:off x="5846251" y="339322"/>
              <a:ext cx="507586" cy="507586"/>
              <a:chOff x="5828208" y="1871057"/>
              <a:chExt cx="507586" cy="507586"/>
            </a:xfrm>
          </p:grpSpPr>
          <p:sp useBgFill="1">
            <p:nvSpPr>
              <p:cNvPr id="56" name="Oval 55">
                <a:extLst>
                  <a:ext uri="{FF2B5EF4-FFF2-40B4-BE49-F238E27FC236}">
                    <a16:creationId xmlns:a16="http://schemas.microsoft.com/office/drawing/2014/main" id="{5D0FD000-C1F9-03AB-6E29-7B990DAE046B}"/>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7" name="Graphic 56">
                <a:extLst>
                  <a:ext uri="{FF2B5EF4-FFF2-40B4-BE49-F238E27FC236}">
                    <a16:creationId xmlns:a16="http://schemas.microsoft.com/office/drawing/2014/main" id="{FE12384F-76BF-C8A3-9B90-3A705D94D7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7984" y="2005977"/>
                <a:ext cx="256032" cy="256032"/>
              </a:xfrm>
              <a:prstGeom prst="rect">
                <a:avLst/>
              </a:prstGeom>
            </p:spPr>
          </p:pic>
        </p:grpSp>
      </p:grpSp>
      <p:sp>
        <p:nvSpPr>
          <p:cNvPr id="22" name="TextBox 21">
            <a:extLst>
              <a:ext uri="{FF2B5EF4-FFF2-40B4-BE49-F238E27FC236}">
                <a16:creationId xmlns:a16="http://schemas.microsoft.com/office/drawing/2014/main" id="{96B8B92D-28E1-D156-F299-EDC7BD12ADEB}"/>
              </a:ext>
            </a:extLst>
          </p:cNvPr>
          <p:cNvSpPr txBox="1"/>
          <p:nvPr/>
        </p:nvSpPr>
        <p:spPr>
          <a:xfrm>
            <a:off x="134409" y="339322"/>
            <a:ext cx="1130511"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sult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sp>
        <p:nvSpPr>
          <p:cNvPr id="4" name="TextBox 3">
            <a:extLst>
              <a:ext uri="{FF2B5EF4-FFF2-40B4-BE49-F238E27FC236}">
                <a16:creationId xmlns:a16="http://schemas.microsoft.com/office/drawing/2014/main" id="{020D2775-5994-A67E-403C-C7639C9FE548}"/>
              </a:ext>
            </a:extLst>
          </p:cNvPr>
          <p:cNvSpPr txBox="1"/>
          <p:nvPr/>
        </p:nvSpPr>
        <p:spPr>
          <a:xfrm>
            <a:off x="806002" y="1133774"/>
            <a:ext cx="10616082" cy="917174"/>
          </a:xfrm>
          <a:prstGeom prst="rect">
            <a:avLst/>
          </a:prstGeom>
          <a:noFill/>
        </p:spPr>
        <p:txBody>
          <a:bodyPr wrap="square"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dirty="0"/>
              <a:t>Building the Model</a:t>
            </a:r>
          </a:p>
        </p:txBody>
      </p:sp>
      <p:pic>
        <p:nvPicPr>
          <p:cNvPr id="15" name="Picture 14">
            <a:extLst>
              <a:ext uri="{FF2B5EF4-FFF2-40B4-BE49-F238E27FC236}">
                <a16:creationId xmlns:a16="http://schemas.microsoft.com/office/drawing/2014/main" id="{EE565EED-6F44-0DEB-6CAD-841F26B78164}"/>
              </a:ext>
            </a:extLst>
          </p:cNvPr>
          <p:cNvPicPr>
            <a:picLocks noChangeAspect="1"/>
          </p:cNvPicPr>
          <p:nvPr/>
        </p:nvPicPr>
        <p:blipFill>
          <a:blip r:embed="rId5"/>
          <a:stretch>
            <a:fillRect/>
          </a:stretch>
        </p:blipFill>
        <p:spPr>
          <a:xfrm>
            <a:off x="2684547" y="2167582"/>
            <a:ext cx="6830993" cy="4404469"/>
          </a:xfrm>
          <a:prstGeom prst="roundRect">
            <a:avLst>
              <a:gd name="adj" fmla="val 16667"/>
            </a:avLst>
          </a:prstGeom>
          <a:ln>
            <a:noFill/>
          </a:ln>
          <a:effectLst>
            <a:glow rad="495300">
              <a:schemeClr val="accent4">
                <a:satMod val="175000"/>
                <a:alpha val="40000"/>
              </a:schemeClr>
            </a:glow>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2" name="Group 11">
            <a:extLst>
              <a:ext uri="{FF2B5EF4-FFF2-40B4-BE49-F238E27FC236}">
                <a16:creationId xmlns:a16="http://schemas.microsoft.com/office/drawing/2014/main" id="{036A7602-6969-E628-0624-CCF6E356D763}"/>
              </a:ext>
            </a:extLst>
          </p:cNvPr>
          <p:cNvGrpSpPr/>
          <p:nvPr/>
        </p:nvGrpSpPr>
        <p:grpSpPr>
          <a:xfrm>
            <a:off x="364858" y="7510945"/>
            <a:ext cx="11754401" cy="5447658"/>
            <a:chOff x="163811" y="1131365"/>
            <a:chExt cx="11754401" cy="5447658"/>
          </a:xfrm>
        </p:grpSpPr>
        <p:sp>
          <p:nvSpPr>
            <p:cNvPr id="5" name="TextBox 4">
              <a:extLst>
                <a:ext uri="{FF2B5EF4-FFF2-40B4-BE49-F238E27FC236}">
                  <a16:creationId xmlns:a16="http://schemas.microsoft.com/office/drawing/2014/main" id="{68D249E5-4E2F-4D36-97DF-F99CEFC0ED1B}"/>
                </a:ext>
              </a:extLst>
            </p:cNvPr>
            <p:cNvSpPr txBox="1"/>
            <p:nvPr/>
          </p:nvSpPr>
          <p:spPr>
            <a:xfrm>
              <a:off x="281744" y="1131365"/>
              <a:ext cx="6516621"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Five-Fold Cross Validation</a:t>
              </a:r>
            </a:p>
          </p:txBody>
        </p:sp>
        <p:grpSp>
          <p:nvGrpSpPr>
            <p:cNvPr id="6" name="Group 5">
              <a:extLst>
                <a:ext uri="{FF2B5EF4-FFF2-40B4-BE49-F238E27FC236}">
                  <a16:creationId xmlns:a16="http://schemas.microsoft.com/office/drawing/2014/main" id="{D22F36FF-3EB7-02C3-9E7A-AA9E48F849C1}"/>
                </a:ext>
              </a:extLst>
            </p:cNvPr>
            <p:cNvGrpSpPr/>
            <p:nvPr/>
          </p:nvGrpSpPr>
          <p:grpSpPr>
            <a:xfrm>
              <a:off x="163811" y="1802049"/>
              <a:ext cx="11644429" cy="2252158"/>
              <a:chOff x="273784" y="1970454"/>
              <a:chExt cx="11644429" cy="2252158"/>
            </a:xfrm>
          </p:grpSpPr>
          <p:grpSp>
            <p:nvGrpSpPr>
              <p:cNvPr id="33" name="Group 32">
                <a:extLst>
                  <a:ext uri="{FF2B5EF4-FFF2-40B4-BE49-F238E27FC236}">
                    <a16:creationId xmlns:a16="http://schemas.microsoft.com/office/drawing/2014/main" id="{9D1CEA12-2941-EBD7-8A95-222A844450A0}"/>
                  </a:ext>
                </a:extLst>
              </p:cNvPr>
              <p:cNvGrpSpPr/>
              <p:nvPr/>
            </p:nvGrpSpPr>
            <p:grpSpPr>
              <a:xfrm>
                <a:off x="273784" y="1970454"/>
                <a:ext cx="3733405" cy="1920950"/>
                <a:chOff x="273785" y="1808361"/>
                <a:chExt cx="3733405" cy="1920950"/>
              </a:xfrm>
            </p:grpSpPr>
            <p:sp>
              <p:nvSpPr>
                <p:cNvPr id="42" name="Rectangle: Rounded Corners 41">
                  <a:extLst>
                    <a:ext uri="{FF2B5EF4-FFF2-40B4-BE49-F238E27FC236}">
                      <a16:creationId xmlns:a16="http://schemas.microsoft.com/office/drawing/2014/main" id="{0D122848-C11B-778A-7B72-610F57ACF088}"/>
                    </a:ext>
                  </a:extLst>
                </p:cNvPr>
                <p:cNvSpPr/>
                <p:nvPr/>
              </p:nvSpPr>
              <p:spPr>
                <a:xfrm>
                  <a:off x="273788" y="1808361"/>
                  <a:ext cx="3733402" cy="1920950"/>
                </a:xfrm>
                <a:prstGeom prst="roundRect">
                  <a:avLst>
                    <a:gd name="adj" fmla="val 12077"/>
                  </a:avLst>
                </a:prstGeom>
                <a:solidFill>
                  <a:srgbClr val="FFFFFF">
                    <a:alpha val="20000"/>
                  </a:srgbClr>
                </a:solidFill>
                <a:ln w="6350">
                  <a:solidFill>
                    <a:schemeClr val="bg1">
                      <a:alpha val="30000"/>
                    </a:schemeClr>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43" name="TextBox 42">
                  <a:extLst>
                    <a:ext uri="{FF2B5EF4-FFF2-40B4-BE49-F238E27FC236}">
                      <a16:creationId xmlns:a16="http://schemas.microsoft.com/office/drawing/2014/main" id="{8495EA46-3510-ACE6-CDAD-5787CE00A9D1}"/>
                    </a:ext>
                  </a:extLst>
                </p:cNvPr>
                <p:cNvSpPr txBox="1"/>
                <p:nvPr/>
              </p:nvSpPr>
              <p:spPr>
                <a:xfrm>
                  <a:off x="273788" y="2115461"/>
                  <a:ext cx="3733400" cy="556755"/>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solidFill>
                        <a:srgbClr val="FFFFFF"/>
                      </a:solidFill>
                      <a:latin typeface="+mj-lt"/>
                    </a:rPr>
                    <a:t>Accuracy</a:t>
                  </a:r>
                  <a:endParaRPr lang="en-GB" sz="5400" dirty="0">
                    <a:solidFill>
                      <a:srgbClr val="FFFFFF"/>
                    </a:solidFill>
                    <a:latin typeface="+mj-lt"/>
                  </a:endParaRPr>
                </a:p>
              </p:txBody>
            </p:sp>
            <p:sp>
              <p:nvSpPr>
                <p:cNvPr id="44" name="TextBox 43">
                  <a:extLst>
                    <a:ext uri="{FF2B5EF4-FFF2-40B4-BE49-F238E27FC236}">
                      <a16:creationId xmlns:a16="http://schemas.microsoft.com/office/drawing/2014/main" id="{21BE1C95-AD9D-C046-5535-5C9FF45912B2}"/>
                    </a:ext>
                  </a:extLst>
                </p:cNvPr>
                <p:cNvSpPr txBox="1"/>
                <p:nvPr/>
              </p:nvSpPr>
              <p:spPr>
                <a:xfrm>
                  <a:off x="273785" y="2828086"/>
                  <a:ext cx="3733402"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US" sz="2800" dirty="0">
                      <a:solidFill>
                        <a:srgbClr val="FFFFFF"/>
                      </a:solidFill>
                    </a:rPr>
                    <a:t>98.34%</a:t>
                  </a:r>
                </a:p>
              </p:txBody>
            </p:sp>
          </p:grpSp>
          <p:grpSp>
            <p:nvGrpSpPr>
              <p:cNvPr id="34" name="Group 33">
                <a:extLst>
                  <a:ext uri="{FF2B5EF4-FFF2-40B4-BE49-F238E27FC236}">
                    <a16:creationId xmlns:a16="http://schemas.microsoft.com/office/drawing/2014/main" id="{B65F6A71-5732-145E-7951-2D36C99A5DF6}"/>
                  </a:ext>
                </a:extLst>
              </p:cNvPr>
              <p:cNvGrpSpPr/>
              <p:nvPr/>
            </p:nvGrpSpPr>
            <p:grpSpPr>
              <a:xfrm>
                <a:off x="8184803" y="1970454"/>
                <a:ext cx="3733410" cy="1920950"/>
                <a:chOff x="273780" y="1808361"/>
                <a:chExt cx="3733410" cy="1920950"/>
              </a:xfrm>
            </p:grpSpPr>
            <p:sp>
              <p:nvSpPr>
                <p:cNvPr id="39" name="Rectangle: Rounded Corners 38">
                  <a:extLst>
                    <a:ext uri="{FF2B5EF4-FFF2-40B4-BE49-F238E27FC236}">
                      <a16:creationId xmlns:a16="http://schemas.microsoft.com/office/drawing/2014/main" id="{7FF4AADE-F9F3-4456-86A5-9EF8DE54D15A}"/>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40" name="TextBox 39">
                  <a:extLst>
                    <a:ext uri="{FF2B5EF4-FFF2-40B4-BE49-F238E27FC236}">
                      <a16:creationId xmlns:a16="http://schemas.microsoft.com/office/drawing/2014/main" id="{2A69048A-C765-742D-BA30-7A18A5732290}"/>
                    </a:ext>
                  </a:extLst>
                </p:cNvPr>
                <p:cNvSpPr txBox="1"/>
                <p:nvPr/>
              </p:nvSpPr>
              <p:spPr>
                <a:xfrm>
                  <a:off x="273786" y="2115461"/>
                  <a:ext cx="3733404" cy="556755"/>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latin typeface="+mj-lt"/>
                    </a:rPr>
                    <a:t>AUC</a:t>
                  </a:r>
                  <a:endParaRPr lang="en-GB" sz="5400" dirty="0">
                    <a:latin typeface="+mj-lt"/>
                  </a:endParaRPr>
                </a:p>
              </p:txBody>
            </p:sp>
            <p:sp>
              <p:nvSpPr>
                <p:cNvPr id="41" name="TextBox 40">
                  <a:extLst>
                    <a:ext uri="{FF2B5EF4-FFF2-40B4-BE49-F238E27FC236}">
                      <a16:creationId xmlns:a16="http://schemas.microsoft.com/office/drawing/2014/main" id="{32EF16C9-9DCA-12DC-70EA-7E5C66BAA7D0}"/>
                    </a:ext>
                  </a:extLst>
                </p:cNvPr>
                <p:cNvSpPr txBox="1"/>
                <p:nvPr/>
              </p:nvSpPr>
              <p:spPr>
                <a:xfrm>
                  <a:off x="273780" y="2804363"/>
                  <a:ext cx="3733402"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US" sz="2800" dirty="0">
                      <a:solidFill>
                        <a:srgbClr val="FFFFFF"/>
                      </a:solidFill>
                      <a:latin typeface="Darker Grotesque Medium"/>
                    </a:rPr>
                    <a:t>0.9992</a:t>
                  </a:r>
                  <a:endParaRPr lang="en-US" dirty="0">
                    <a:solidFill>
                      <a:prstClr val="white">
                        <a:alpha val="50000"/>
                      </a:prstClr>
                    </a:solidFill>
                  </a:endParaRPr>
                </a:p>
              </p:txBody>
            </p:sp>
          </p:grpSp>
          <p:grpSp>
            <p:nvGrpSpPr>
              <p:cNvPr id="35" name="Group 34">
                <a:extLst>
                  <a:ext uri="{FF2B5EF4-FFF2-40B4-BE49-F238E27FC236}">
                    <a16:creationId xmlns:a16="http://schemas.microsoft.com/office/drawing/2014/main" id="{FA588846-A609-07F2-CF99-ED0FC9597B93}"/>
                  </a:ext>
                </a:extLst>
              </p:cNvPr>
              <p:cNvGrpSpPr/>
              <p:nvPr/>
            </p:nvGrpSpPr>
            <p:grpSpPr>
              <a:xfrm>
                <a:off x="4229295" y="1970454"/>
                <a:ext cx="3733405" cy="2252158"/>
                <a:chOff x="273785" y="1808361"/>
                <a:chExt cx="3733405" cy="2252158"/>
              </a:xfrm>
            </p:grpSpPr>
            <p:sp>
              <p:nvSpPr>
                <p:cNvPr id="36" name="Rectangle: Rounded Corners 35">
                  <a:extLst>
                    <a:ext uri="{FF2B5EF4-FFF2-40B4-BE49-F238E27FC236}">
                      <a16:creationId xmlns:a16="http://schemas.microsoft.com/office/drawing/2014/main" id="{2FB709B2-937A-440D-083E-2FC13F888352}"/>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37" name="TextBox 36">
                  <a:extLst>
                    <a:ext uri="{FF2B5EF4-FFF2-40B4-BE49-F238E27FC236}">
                      <a16:creationId xmlns:a16="http://schemas.microsoft.com/office/drawing/2014/main" id="{532FC044-941B-0709-BF07-46E3FF44C1C9}"/>
                    </a:ext>
                  </a:extLst>
                </p:cNvPr>
                <p:cNvSpPr txBox="1"/>
                <p:nvPr/>
              </p:nvSpPr>
              <p:spPr>
                <a:xfrm>
                  <a:off x="273787" y="2115461"/>
                  <a:ext cx="3733402" cy="938077"/>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latin typeface="+mj-lt"/>
                    </a:rPr>
                    <a:t>Precision &amp; Recall</a:t>
                  </a:r>
                  <a:endParaRPr lang="en-GB" sz="4800" dirty="0">
                    <a:latin typeface="+mj-lt"/>
                  </a:endParaRPr>
                </a:p>
              </p:txBody>
            </p:sp>
            <p:sp>
              <p:nvSpPr>
                <p:cNvPr id="38" name="TextBox 37">
                  <a:extLst>
                    <a:ext uri="{FF2B5EF4-FFF2-40B4-BE49-F238E27FC236}">
                      <a16:creationId xmlns:a16="http://schemas.microsoft.com/office/drawing/2014/main" id="{74D39B82-6E8F-03B7-A51E-D1E3DF9A8F12}"/>
                    </a:ext>
                  </a:extLst>
                </p:cNvPr>
                <p:cNvSpPr txBox="1"/>
                <p:nvPr/>
              </p:nvSpPr>
              <p:spPr>
                <a:xfrm>
                  <a:off x="273785" y="3075634"/>
                  <a:ext cx="3733402" cy="984885"/>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defRPr/>
                  </a:pPr>
                  <a:r>
                    <a:rPr kumimoji="0" lang="en-GB" sz="24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kumimoji="0" lang="en-US" sz="2400" b="0" i="0" u="none" strike="noStrike" kern="1200" cap="none" spc="0" normalizeH="0" baseline="0" noProof="0" dirty="0">
                      <a:ln>
                        <a:noFill/>
                      </a:ln>
                      <a:solidFill>
                        <a:srgbClr val="FFFFFF"/>
                      </a:solidFill>
                      <a:effectLst/>
                      <a:uLnTx/>
                      <a:uFillTx/>
                      <a:latin typeface="Darker Grotesque Medium"/>
                      <a:ea typeface="+mn-ea"/>
                      <a:cs typeface="+mn-cs"/>
                    </a:rPr>
                    <a:t>95% ; </a:t>
                  </a:r>
                  <a:r>
                    <a:rPr kumimoji="0" lang="en-GB" sz="24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US" sz="2400" dirty="0">
                      <a:solidFill>
                        <a:srgbClr val="FFFFFF"/>
                      </a:solidFill>
                    </a:rPr>
                    <a:t>98.4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Darker Grotesque Medium"/>
                    <a:ea typeface="+mn-ea"/>
                    <a:cs typeface="+mn-cs"/>
                  </a:endParaRPr>
                </a:p>
                <a:p>
                  <a:endParaRPr lang="en-US" dirty="0">
                    <a:solidFill>
                      <a:prstClr val="white">
                        <a:alpha val="50000"/>
                      </a:prstClr>
                    </a:solidFill>
                  </a:endParaRPr>
                </a:p>
              </p:txBody>
            </p:sp>
          </p:grpSp>
        </p:grpSp>
        <p:grpSp>
          <p:nvGrpSpPr>
            <p:cNvPr id="17" name="Group 16">
              <a:extLst>
                <a:ext uri="{FF2B5EF4-FFF2-40B4-BE49-F238E27FC236}">
                  <a16:creationId xmlns:a16="http://schemas.microsoft.com/office/drawing/2014/main" id="{240F2F7D-73D6-5E6D-71C6-AA004557E425}"/>
                </a:ext>
              </a:extLst>
            </p:cNvPr>
            <p:cNvGrpSpPr/>
            <p:nvPr/>
          </p:nvGrpSpPr>
          <p:grpSpPr>
            <a:xfrm>
              <a:off x="273786" y="4658073"/>
              <a:ext cx="11644426" cy="1920950"/>
              <a:chOff x="273787" y="4115510"/>
              <a:chExt cx="11644426" cy="1920950"/>
            </a:xfrm>
          </p:grpSpPr>
          <p:grpSp>
            <p:nvGrpSpPr>
              <p:cNvPr id="19" name="Group 18">
                <a:extLst>
                  <a:ext uri="{FF2B5EF4-FFF2-40B4-BE49-F238E27FC236}">
                    <a16:creationId xmlns:a16="http://schemas.microsoft.com/office/drawing/2014/main" id="{3DB41FED-6D84-2DE6-21A9-23F86937FF9E}"/>
                  </a:ext>
                </a:extLst>
              </p:cNvPr>
              <p:cNvGrpSpPr/>
              <p:nvPr/>
            </p:nvGrpSpPr>
            <p:grpSpPr>
              <a:xfrm>
                <a:off x="273787" y="4115510"/>
                <a:ext cx="3733402" cy="1920950"/>
                <a:chOff x="273788" y="1808361"/>
                <a:chExt cx="3733402" cy="1920950"/>
              </a:xfrm>
            </p:grpSpPr>
            <p:sp>
              <p:nvSpPr>
                <p:cNvPr id="30" name="Rectangle: Rounded Corners 29">
                  <a:extLst>
                    <a:ext uri="{FF2B5EF4-FFF2-40B4-BE49-F238E27FC236}">
                      <a16:creationId xmlns:a16="http://schemas.microsoft.com/office/drawing/2014/main" id="{E3E717B4-1055-703C-DB72-0DAA076C394B}"/>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31" name="TextBox 30">
                  <a:extLst>
                    <a:ext uri="{FF2B5EF4-FFF2-40B4-BE49-F238E27FC236}">
                      <a16:creationId xmlns:a16="http://schemas.microsoft.com/office/drawing/2014/main" id="{35FCAF17-A001-A26E-4CB4-2E677FD6DE38}"/>
                    </a:ext>
                  </a:extLst>
                </p:cNvPr>
                <p:cNvSpPr txBox="1"/>
                <p:nvPr/>
              </p:nvSpPr>
              <p:spPr>
                <a:xfrm>
                  <a:off x="281746" y="2115461"/>
                  <a:ext cx="3725441" cy="556755"/>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solidFill>
                        <a:srgbClr val="FFFFFF"/>
                      </a:solidFill>
                      <a:latin typeface="+mj-lt"/>
                    </a:rPr>
                    <a:t>Accuracy</a:t>
                  </a:r>
                  <a:endParaRPr lang="en-GB" sz="5400" dirty="0">
                    <a:solidFill>
                      <a:srgbClr val="FFFFFF"/>
                    </a:solidFill>
                    <a:latin typeface="+mj-lt"/>
                  </a:endParaRPr>
                </a:p>
              </p:txBody>
            </p:sp>
            <p:sp>
              <p:nvSpPr>
                <p:cNvPr id="32" name="TextBox 31">
                  <a:extLst>
                    <a:ext uri="{FF2B5EF4-FFF2-40B4-BE49-F238E27FC236}">
                      <a16:creationId xmlns:a16="http://schemas.microsoft.com/office/drawing/2014/main" id="{C1607114-1EC5-2D3E-0045-F7D4F6EDE79E}"/>
                    </a:ext>
                  </a:extLst>
                </p:cNvPr>
                <p:cNvSpPr txBox="1"/>
                <p:nvPr/>
              </p:nvSpPr>
              <p:spPr>
                <a:xfrm>
                  <a:off x="299486" y="2804363"/>
                  <a:ext cx="3707701"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GB" sz="2800" dirty="0">
                      <a:solidFill>
                        <a:srgbClr val="FFFFFF"/>
                      </a:solidFill>
                    </a:rPr>
                    <a:t>98.7%</a:t>
                  </a:r>
                  <a:r>
                    <a:rPr lang="en-GB" sz="2800" dirty="0">
                      <a:solidFill>
                        <a:srgbClr val="616161"/>
                      </a:solidFill>
                    </a:rPr>
                    <a:t> </a:t>
                  </a:r>
                  <a:endParaRPr lang="en-US" sz="2800" dirty="0">
                    <a:solidFill>
                      <a:srgbClr val="616161"/>
                    </a:solidFill>
                  </a:endParaRPr>
                </a:p>
              </p:txBody>
            </p:sp>
          </p:grpSp>
          <p:grpSp>
            <p:nvGrpSpPr>
              <p:cNvPr id="20" name="Group 19">
                <a:extLst>
                  <a:ext uri="{FF2B5EF4-FFF2-40B4-BE49-F238E27FC236}">
                    <a16:creationId xmlns:a16="http://schemas.microsoft.com/office/drawing/2014/main" id="{F9AF9746-2474-6026-1952-9731498E6F87}"/>
                  </a:ext>
                </a:extLst>
              </p:cNvPr>
              <p:cNvGrpSpPr/>
              <p:nvPr/>
            </p:nvGrpSpPr>
            <p:grpSpPr>
              <a:xfrm>
                <a:off x="8184809" y="4115510"/>
                <a:ext cx="3733404" cy="1920950"/>
                <a:chOff x="273786" y="1808361"/>
                <a:chExt cx="3733404" cy="1920950"/>
              </a:xfrm>
            </p:grpSpPr>
            <p:sp>
              <p:nvSpPr>
                <p:cNvPr id="27" name="Rectangle: Rounded Corners 26">
                  <a:extLst>
                    <a:ext uri="{FF2B5EF4-FFF2-40B4-BE49-F238E27FC236}">
                      <a16:creationId xmlns:a16="http://schemas.microsoft.com/office/drawing/2014/main" id="{5325E39F-DD54-43D2-8004-C52793CFC90C}"/>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28" name="TextBox 27">
                  <a:extLst>
                    <a:ext uri="{FF2B5EF4-FFF2-40B4-BE49-F238E27FC236}">
                      <a16:creationId xmlns:a16="http://schemas.microsoft.com/office/drawing/2014/main" id="{38F93C36-0F22-D3F8-FB5F-51C2638D6259}"/>
                    </a:ext>
                  </a:extLst>
                </p:cNvPr>
                <p:cNvSpPr txBox="1"/>
                <p:nvPr/>
              </p:nvSpPr>
              <p:spPr>
                <a:xfrm>
                  <a:off x="273786" y="2115461"/>
                  <a:ext cx="3725447" cy="556755"/>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latin typeface="+mj-lt"/>
                    </a:rPr>
                    <a:t>AUC</a:t>
                  </a:r>
                  <a:endParaRPr lang="en-GB" sz="5400" dirty="0">
                    <a:latin typeface="+mj-lt"/>
                  </a:endParaRPr>
                </a:p>
              </p:txBody>
            </p:sp>
            <p:sp>
              <p:nvSpPr>
                <p:cNvPr id="7" name="TextBox 6">
                  <a:extLst>
                    <a:ext uri="{FF2B5EF4-FFF2-40B4-BE49-F238E27FC236}">
                      <a16:creationId xmlns:a16="http://schemas.microsoft.com/office/drawing/2014/main" id="{56AE854E-D58A-D4A3-DAFC-3CFA421F77C3}"/>
                    </a:ext>
                  </a:extLst>
                </p:cNvPr>
                <p:cNvSpPr txBox="1"/>
                <p:nvPr/>
              </p:nvSpPr>
              <p:spPr>
                <a:xfrm>
                  <a:off x="273786" y="2804363"/>
                  <a:ext cx="3733402"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GB" sz="2800" dirty="0">
                      <a:solidFill>
                        <a:srgbClr val="FFFFFF"/>
                      </a:solidFill>
                      <a:latin typeface="Darker Grotesque Medium"/>
                    </a:rPr>
                    <a:t>0.99978</a:t>
                  </a:r>
                  <a:endParaRPr lang="en-US" dirty="0">
                    <a:solidFill>
                      <a:prstClr val="white">
                        <a:alpha val="50000"/>
                      </a:prstClr>
                    </a:solidFill>
                  </a:endParaRPr>
                </a:p>
              </p:txBody>
            </p:sp>
          </p:grpSp>
          <p:grpSp>
            <p:nvGrpSpPr>
              <p:cNvPr id="23" name="Group 22">
                <a:extLst>
                  <a:ext uri="{FF2B5EF4-FFF2-40B4-BE49-F238E27FC236}">
                    <a16:creationId xmlns:a16="http://schemas.microsoft.com/office/drawing/2014/main" id="{81B1EB05-3C15-BA65-497C-148B65C4DA10}"/>
                  </a:ext>
                </a:extLst>
              </p:cNvPr>
              <p:cNvGrpSpPr/>
              <p:nvPr/>
            </p:nvGrpSpPr>
            <p:grpSpPr>
              <a:xfrm>
                <a:off x="4229297" y="4115510"/>
                <a:ext cx="3733403" cy="1920950"/>
                <a:chOff x="273787" y="1808361"/>
                <a:chExt cx="3733403" cy="1920950"/>
              </a:xfrm>
            </p:grpSpPr>
            <p:sp>
              <p:nvSpPr>
                <p:cNvPr id="24" name="Rectangle: Rounded Corners 23">
                  <a:extLst>
                    <a:ext uri="{FF2B5EF4-FFF2-40B4-BE49-F238E27FC236}">
                      <a16:creationId xmlns:a16="http://schemas.microsoft.com/office/drawing/2014/main" id="{4FE726DC-D364-76EB-AC11-8C7224DE0B1F}"/>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25" name="TextBox 24">
                  <a:extLst>
                    <a:ext uri="{FF2B5EF4-FFF2-40B4-BE49-F238E27FC236}">
                      <a16:creationId xmlns:a16="http://schemas.microsoft.com/office/drawing/2014/main" id="{AB8A831C-0DA2-9708-0639-E26DB6F1DA17}"/>
                    </a:ext>
                  </a:extLst>
                </p:cNvPr>
                <p:cNvSpPr txBox="1"/>
                <p:nvPr/>
              </p:nvSpPr>
              <p:spPr>
                <a:xfrm>
                  <a:off x="273788" y="2115461"/>
                  <a:ext cx="3733402" cy="938077"/>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latin typeface="+mj-lt"/>
                    </a:rPr>
                    <a:t>Precision &amp; Recall</a:t>
                  </a:r>
                  <a:endParaRPr lang="en-GB" sz="4800" dirty="0">
                    <a:latin typeface="+mj-lt"/>
                  </a:endParaRPr>
                </a:p>
              </p:txBody>
            </p:sp>
            <p:sp>
              <p:nvSpPr>
                <p:cNvPr id="26" name="TextBox 25">
                  <a:extLst>
                    <a:ext uri="{FF2B5EF4-FFF2-40B4-BE49-F238E27FC236}">
                      <a16:creationId xmlns:a16="http://schemas.microsoft.com/office/drawing/2014/main" id="{E3744D36-5851-64E9-14BF-3FA0DE9DC49D}"/>
                    </a:ext>
                  </a:extLst>
                </p:cNvPr>
                <p:cNvSpPr txBox="1"/>
                <p:nvPr/>
              </p:nvSpPr>
              <p:spPr>
                <a:xfrm>
                  <a:off x="273787" y="3114416"/>
                  <a:ext cx="3733403"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GB" sz="2800" dirty="0">
                      <a:solidFill>
                        <a:srgbClr val="FFFFFF"/>
                      </a:solidFill>
                      <a:latin typeface="Darker Grotesque Medium"/>
                    </a:rPr>
                    <a:t>96.3% ; </a:t>
                  </a: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GB" sz="2800" dirty="0">
                      <a:solidFill>
                        <a:srgbClr val="FFFFFF"/>
                      </a:solidFill>
                      <a:latin typeface="Darker Grotesque Medium"/>
                    </a:rPr>
                    <a:t>99.31%</a:t>
                  </a:r>
                  <a:endParaRPr lang="en-US" dirty="0">
                    <a:solidFill>
                      <a:prstClr val="white">
                        <a:alpha val="50000"/>
                      </a:prstClr>
                    </a:solidFill>
                  </a:endParaRPr>
                </a:p>
              </p:txBody>
            </p:sp>
          </p:grpSp>
        </p:grpSp>
        <p:sp>
          <p:nvSpPr>
            <p:cNvPr id="18" name="TextBox 17">
              <a:extLst>
                <a:ext uri="{FF2B5EF4-FFF2-40B4-BE49-F238E27FC236}">
                  <a16:creationId xmlns:a16="http://schemas.microsoft.com/office/drawing/2014/main" id="{2235FB4F-4BA7-ADF6-0288-087BDB68EE74}"/>
                </a:ext>
              </a:extLst>
            </p:cNvPr>
            <p:cNvSpPr txBox="1"/>
            <p:nvPr/>
          </p:nvSpPr>
          <p:spPr>
            <a:xfrm>
              <a:off x="273786" y="3972293"/>
              <a:ext cx="6516621"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Test Set Evaluation</a:t>
              </a:r>
            </a:p>
          </p:txBody>
        </p:sp>
      </p:grpSp>
    </p:spTree>
    <p:extLst>
      <p:ext uri="{BB962C8B-B14F-4D97-AF65-F5344CB8AC3E}">
        <p14:creationId xmlns:p14="http://schemas.microsoft.com/office/powerpoint/2010/main" val="381402271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6948EB-3C7B-249A-B29F-BCDDFE1E4E72}"/>
            </a:ext>
          </a:extLst>
        </p:cNvPr>
        <p:cNvGrpSpPr/>
        <p:nvPr/>
      </p:nvGrpSpPr>
      <p:grpSpPr>
        <a:xfrm>
          <a:off x="0" y="0"/>
          <a:ext cx="0" cy="0"/>
          <a:chOff x="0" y="0"/>
          <a:chExt cx="0" cy="0"/>
        </a:xfrm>
      </p:grpSpPr>
      <p:grpSp>
        <p:nvGrpSpPr>
          <p:cNvPr id="21" name="Group 20">
            <a:extLst>
              <a:ext uri="{FF2B5EF4-FFF2-40B4-BE49-F238E27FC236}">
                <a16:creationId xmlns:a16="http://schemas.microsoft.com/office/drawing/2014/main" id="{71A7EC2C-8497-FF9A-8933-AED93A3C429A}"/>
              </a:ext>
            </a:extLst>
          </p:cNvPr>
          <p:cNvGrpSpPr/>
          <p:nvPr/>
        </p:nvGrpSpPr>
        <p:grpSpPr>
          <a:xfrm>
            <a:off x="299484" y="339322"/>
            <a:ext cx="11644423" cy="507586"/>
            <a:chOff x="299484" y="339322"/>
            <a:chExt cx="11644423" cy="507586"/>
          </a:xfrm>
        </p:grpSpPr>
        <p:cxnSp>
          <p:nvCxnSpPr>
            <p:cNvPr id="16" name="Straight Connector 15">
              <a:extLst>
                <a:ext uri="{FF2B5EF4-FFF2-40B4-BE49-F238E27FC236}">
                  <a16:creationId xmlns:a16="http://schemas.microsoft.com/office/drawing/2014/main" id="{659A22FA-6E74-D1BF-2B05-913A163D87F3}"/>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5" name="Group 54">
              <a:extLst>
                <a:ext uri="{FF2B5EF4-FFF2-40B4-BE49-F238E27FC236}">
                  <a16:creationId xmlns:a16="http://schemas.microsoft.com/office/drawing/2014/main" id="{2B45FC5A-27E0-D56A-108C-3E5CFD31CF34}"/>
                </a:ext>
              </a:extLst>
            </p:cNvPr>
            <p:cNvGrpSpPr/>
            <p:nvPr/>
          </p:nvGrpSpPr>
          <p:grpSpPr>
            <a:xfrm>
              <a:off x="5846251" y="339322"/>
              <a:ext cx="507586" cy="507586"/>
              <a:chOff x="5828208" y="1871057"/>
              <a:chExt cx="507586" cy="507586"/>
            </a:xfrm>
          </p:grpSpPr>
          <p:sp useBgFill="1">
            <p:nvSpPr>
              <p:cNvPr id="56" name="Oval 55">
                <a:extLst>
                  <a:ext uri="{FF2B5EF4-FFF2-40B4-BE49-F238E27FC236}">
                    <a16:creationId xmlns:a16="http://schemas.microsoft.com/office/drawing/2014/main" id="{F83CF9EE-FB2A-147F-D9D7-74BB9BE1C4F0}"/>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7" name="Graphic 56">
                <a:extLst>
                  <a:ext uri="{FF2B5EF4-FFF2-40B4-BE49-F238E27FC236}">
                    <a16:creationId xmlns:a16="http://schemas.microsoft.com/office/drawing/2014/main" id="{840E5B25-8BA1-1F79-169C-572EFC1304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7984" y="2005977"/>
                <a:ext cx="256032" cy="256032"/>
              </a:xfrm>
              <a:prstGeom prst="rect">
                <a:avLst/>
              </a:prstGeom>
            </p:spPr>
          </p:pic>
        </p:grpSp>
      </p:grpSp>
      <p:sp>
        <p:nvSpPr>
          <p:cNvPr id="22" name="TextBox 21">
            <a:extLst>
              <a:ext uri="{FF2B5EF4-FFF2-40B4-BE49-F238E27FC236}">
                <a16:creationId xmlns:a16="http://schemas.microsoft.com/office/drawing/2014/main" id="{6FCC2A41-D567-1E24-5934-087D4BD778BC}"/>
              </a:ext>
            </a:extLst>
          </p:cNvPr>
          <p:cNvSpPr txBox="1"/>
          <p:nvPr/>
        </p:nvSpPr>
        <p:spPr>
          <a:xfrm>
            <a:off x="134409" y="339322"/>
            <a:ext cx="1130511"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sult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11" name="Group 10">
            <a:extLst>
              <a:ext uri="{FF2B5EF4-FFF2-40B4-BE49-F238E27FC236}">
                <a16:creationId xmlns:a16="http://schemas.microsoft.com/office/drawing/2014/main" id="{BA51B3A7-336D-FB8C-6B61-AF65526ED617}"/>
              </a:ext>
            </a:extLst>
          </p:cNvPr>
          <p:cNvGrpSpPr/>
          <p:nvPr/>
        </p:nvGrpSpPr>
        <p:grpSpPr>
          <a:xfrm>
            <a:off x="163811" y="1131365"/>
            <a:ext cx="11754401" cy="5447658"/>
            <a:chOff x="163811" y="1131365"/>
            <a:chExt cx="11754401" cy="5447658"/>
          </a:xfrm>
        </p:grpSpPr>
        <p:sp>
          <p:nvSpPr>
            <p:cNvPr id="51" name="TextBox 50">
              <a:extLst>
                <a:ext uri="{FF2B5EF4-FFF2-40B4-BE49-F238E27FC236}">
                  <a16:creationId xmlns:a16="http://schemas.microsoft.com/office/drawing/2014/main" id="{5D3E4C0F-FC3B-3A8A-75C7-116DD74F9252}"/>
                </a:ext>
              </a:extLst>
            </p:cNvPr>
            <p:cNvSpPr txBox="1"/>
            <p:nvPr/>
          </p:nvSpPr>
          <p:spPr>
            <a:xfrm>
              <a:off x="281744" y="1131365"/>
              <a:ext cx="6516621"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Five-Fold Cross Validation</a:t>
              </a:r>
            </a:p>
          </p:txBody>
        </p:sp>
        <p:grpSp>
          <p:nvGrpSpPr>
            <p:cNvPr id="7" name="Group 6">
              <a:extLst>
                <a:ext uri="{FF2B5EF4-FFF2-40B4-BE49-F238E27FC236}">
                  <a16:creationId xmlns:a16="http://schemas.microsoft.com/office/drawing/2014/main" id="{E597CDC9-730A-64B0-6C18-1E3C89FEE01F}"/>
                </a:ext>
              </a:extLst>
            </p:cNvPr>
            <p:cNvGrpSpPr/>
            <p:nvPr/>
          </p:nvGrpSpPr>
          <p:grpSpPr>
            <a:xfrm>
              <a:off x="163811" y="1802049"/>
              <a:ext cx="11644429" cy="2252158"/>
              <a:chOff x="273784" y="1970454"/>
              <a:chExt cx="11644429" cy="2252158"/>
            </a:xfrm>
          </p:grpSpPr>
          <p:grpSp>
            <p:nvGrpSpPr>
              <p:cNvPr id="53" name="Group 52">
                <a:extLst>
                  <a:ext uri="{FF2B5EF4-FFF2-40B4-BE49-F238E27FC236}">
                    <a16:creationId xmlns:a16="http://schemas.microsoft.com/office/drawing/2014/main" id="{7CAF66A9-96AC-2ED7-012B-5F2A5E40BF82}"/>
                  </a:ext>
                </a:extLst>
              </p:cNvPr>
              <p:cNvGrpSpPr/>
              <p:nvPr/>
            </p:nvGrpSpPr>
            <p:grpSpPr>
              <a:xfrm>
                <a:off x="273784" y="1970454"/>
                <a:ext cx="3733405" cy="1920950"/>
                <a:chOff x="273785" y="1808361"/>
                <a:chExt cx="3733405" cy="1920950"/>
              </a:xfrm>
            </p:grpSpPr>
            <p:sp>
              <p:nvSpPr>
                <p:cNvPr id="84" name="Rectangle: Rounded Corners 83">
                  <a:extLst>
                    <a:ext uri="{FF2B5EF4-FFF2-40B4-BE49-F238E27FC236}">
                      <a16:creationId xmlns:a16="http://schemas.microsoft.com/office/drawing/2014/main" id="{5BC76EC0-292D-FEF8-5B0F-2F5F25BDEA7F}"/>
                    </a:ext>
                  </a:extLst>
                </p:cNvPr>
                <p:cNvSpPr/>
                <p:nvPr/>
              </p:nvSpPr>
              <p:spPr>
                <a:xfrm>
                  <a:off x="273788" y="1808361"/>
                  <a:ext cx="3733402" cy="1920950"/>
                </a:xfrm>
                <a:prstGeom prst="roundRect">
                  <a:avLst>
                    <a:gd name="adj" fmla="val 12077"/>
                  </a:avLst>
                </a:prstGeom>
                <a:solidFill>
                  <a:srgbClr val="FFFFFF">
                    <a:alpha val="20000"/>
                  </a:srgbClr>
                </a:solidFill>
                <a:ln w="6350">
                  <a:solidFill>
                    <a:schemeClr val="bg1">
                      <a:alpha val="30000"/>
                    </a:schemeClr>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87" name="TextBox 86">
                  <a:extLst>
                    <a:ext uri="{FF2B5EF4-FFF2-40B4-BE49-F238E27FC236}">
                      <a16:creationId xmlns:a16="http://schemas.microsoft.com/office/drawing/2014/main" id="{B71F0252-730E-57E7-E61B-67A7EABEF815}"/>
                    </a:ext>
                  </a:extLst>
                </p:cNvPr>
                <p:cNvSpPr txBox="1"/>
                <p:nvPr/>
              </p:nvSpPr>
              <p:spPr>
                <a:xfrm>
                  <a:off x="273788" y="2115461"/>
                  <a:ext cx="3733400" cy="556755"/>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solidFill>
                        <a:srgbClr val="FFFFFF"/>
                      </a:solidFill>
                      <a:latin typeface="+mj-lt"/>
                    </a:rPr>
                    <a:t>Accuracy</a:t>
                  </a:r>
                  <a:endParaRPr lang="en-GB" sz="5400" dirty="0">
                    <a:solidFill>
                      <a:srgbClr val="FFFFFF"/>
                    </a:solidFill>
                    <a:latin typeface="+mj-lt"/>
                  </a:endParaRPr>
                </a:p>
              </p:txBody>
            </p:sp>
            <p:sp>
              <p:nvSpPr>
                <p:cNvPr id="88" name="TextBox 87">
                  <a:extLst>
                    <a:ext uri="{FF2B5EF4-FFF2-40B4-BE49-F238E27FC236}">
                      <a16:creationId xmlns:a16="http://schemas.microsoft.com/office/drawing/2014/main" id="{D07F80E1-3D1A-7ABD-78F8-90CF1974A296}"/>
                    </a:ext>
                  </a:extLst>
                </p:cNvPr>
                <p:cNvSpPr txBox="1"/>
                <p:nvPr/>
              </p:nvSpPr>
              <p:spPr>
                <a:xfrm>
                  <a:off x="273785" y="2828086"/>
                  <a:ext cx="3733402"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US" sz="2800" dirty="0">
                      <a:solidFill>
                        <a:srgbClr val="FFFFFF"/>
                      </a:solidFill>
                    </a:rPr>
                    <a:t>98.34%</a:t>
                  </a:r>
                </a:p>
              </p:txBody>
            </p:sp>
          </p:grpSp>
          <p:grpSp>
            <p:nvGrpSpPr>
              <p:cNvPr id="54" name="Group 53">
                <a:extLst>
                  <a:ext uri="{FF2B5EF4-FFF2-40B4-BE49-F238E27FC236}">
                    <a16:creationId xmlns:a16="http://schemas.microsoft.com/office/drawing/2014/main" id="{8F730538-205D-0B9C-6D84-764818C7C438}"/>
                  </a:ext>
                </a:extLst>
              </p:cNvPr>
              <p:cNvGrpSpPr/>
              <p:nvPr/>
            </p:nvGrpSpPr>
            <p:grpSpPr>
              <a:xfrm>
                <a:off x="8184803" y="1970454"/>
                <a:ext cx="3733410" cy="1920950"/>
                <a:chOff x="273780" y="1808361"/>
                <a:chExt cx="3733410" cy="1920950"/>
              </a:xfrm>
            </p:grpSpPr>
            <p:sp>
              <p:nvSpPr>
                <p:cNvPr id="79" name="Rectangle: Rounded Corners 78">
                  <a:extLst>
                    <a:ext uri="{FF2B5EF4-FFF2-40B4-BE49-F238E27FC236}">
                      <a16:creationId xmlns:a16="http://schemas.microsoft.com/office/drawing/2014/main" id="{08ABCF36-F542-EE98-D8F0-68C4DF877444}"/>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82" name="TextBox 81">
                  <a:extLst>
                    <a:ext uri="{FF2B5EF4-FFF2-40B4-BE49-F238E27FC236}">
                      <a16:creationId xmlns:a16="http://schemas.microsoft.com/office/drawing/2014/main" id="{573ACBD1-7D9C-EC58-3E03-1197EFB6A7A8}"/>
                    </a:ext>
                  </a:extLst>
                </p:cNvPr>
                <p:cNvSpPr txBox="1"/>
                <p:nvPr/>
              </p:nvSpPr>
              <p:spPr>
                <a:xfrm>
                  <a:off x="273786" y="2115461"/>
                  <a:ext cx="3733404" cy="556755"/>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latin typeface="+mj-lt"/>
                    </a:rPr>
                    <a:t>AUC</a:t>
                  </a:r>
                  <a:endParaRPr lang="en-GB" sz="5400" dirty="0">
                    <a:latin typeface="+mj-lt"/>
                  </a:endParaRPr>
                </a:p>
              </p:txBody>
            </p:sp>
            <p:sp>
              <p:nvSpPr>
                <p:cNvPr id="83" name="TextBox 82">
                  <a:extLst>
                    <a:ext uri="{FF2B5EF4-FFF2-40B4-BE49-F238E27FC236}">
                      <a16:creationId xmlns:a16="http://schemas.microsoft.com/office/drawing/2014/main" id="{4DD689BD-3557-D487-6DE2-16F686914BB6}"/>
                    </a:ext>
                  </a:extLst>
                </p:cNvPr>
                <p:cNvSpPr txBox="1"/>
                <p:nvPr/>
              </p:nvSpPr>
              <p:spPr>
                <a:xfrm>
                  <a:off x="273780" y="2804363"/>
                  <a:ext cx="3733402"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US" sz="2800" dirty="0">
                      <a:solidFill>
                        <a:srgbClr val="FFFFFF"/>
                      </a:solidFill>
                      <a:latin typeface="Darker Grotesque Medium"/>
                    </a:rPr>
                    <a:t>0.9992</a:t>
                  </a:r>
                  <a:endParaRPr lang="en-US" dirty="0">
                    <a:solidFill>
                      <a:prstClr val="white">
                        <a:alpha val="50000"/>
                      </a:prstClr>
                    </a:solidFill>
                  </a:endParaRPr>
                </a:p>
              </p:txBody>
            </p:sp>
          </p:grpSp>
          <p:grpSp>
            <p:nvGrpSpPr>
              <p:cNvPr id="2" name="Group 1">
                <a:extLst>
                  <a:ext uri="{FF2B5EF4-FFF2-40B4-BE49-F238E27FC236}">
                    <a16:creationId xmlns:a16="http://schemas.microsoft.com/office/drawing/2014/main" id="{69D12F26-4D99-1D29-4E84-0E99D4D2FD86}"/>
                  </a:ext>
                </a:extLst>
              </p:cNvPr>
              <p:cNvGrpSpPr/>
              <p:nvPr/>
            </p:nvGrpSpPr>
            <p:grpSpPr>
              <a:xfrm>
                <a:off x="4229295" y="1970454"/>
                <a:ext cx="3733405" cy="2252158"/>
                <a:chOff x="273785" y="1808361"/>
                <a:chExt cx="3733405" cy="2252158"/>
              </a:xfrm>
            </p:grpSpPr>
            <p:sp>
              <p:nvSpPr>
                <p:cNvPr id="74" name="Rectangle: Rounded Corners 73">
                  <a:extLst>
                    <a:ext uri="{FF2B5EF4-FFF2-40B4-BE49-F238E27FC236}">
                      <a16:creationId xmlns:a16="http://schemas.microsoft.com/office/drawing/2014/main" id="{DACF0A22-B500-6A9E-1D24-1C989F2F54FA}"/>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77" name="TextBox 76">
                  <a:extLst>
                    <a:ext uri="{FF2B5EF4-FFF2-40B4-BE49-F238E27FC236}">
                      <a16:creationId xmlns:a16="http://schemas.microsoft.com/office/drawing/2014/main" id="{E24BC47B-7759-3658-A1D3-F67E0BA0731F}"/>
                    </a:ext>
                  </a:extLst>
                </p:cNvPr>
                <p:cNvSpPr txBox="1"/>
                <p:nvPr/>
              </p:nvSpPr>
              <p:spPr>
                <a:xfrm>
                  <a:off x="273787" y="2115461"/>
                  <a:ext cx="3733402" cy="938077"/>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latin typeface="+mj-lt"/>
                    </a:rPr>
                    <a:t>Precision &amp; Recall</a:t>
                  </a:r>
                  <a:endParaRPr lang="en-GB" sz="4800" dirty="0">
                    <a:latin typeface="+mj-lt"/>
                  </a:endParaRPr>
                </a:p>
              </p:txBody>
            </p:sp>
            <p:sp>
              <p:nvSpPr>
                <p:cNvPr id="78" name="TextBox 77">
                  <a:extLst>
                    <a:ext uri="{FF2B5EF4-FFF2-40B4-BE49-F238E27FC236}">
                      <a16:creationId xmlns:a16="http://schemas.microsoft.com/office/drawing/2014/main" id="{A71B6A03-79E7-432C-584D-A3A2C81BEBAA}"/>
                    </a:ext>
                  </a:extLst>
                </p:cNvPr>
                <p:cNvSpPr txBox="1"/>
                <p:nvPr/>
              </p:nvSpPr>
              <p:spPr>
                <a:xfrm>
                  <a:off x="273785" y="3075634"/>
                  <a:ext cx="3733402" cy="984885"/>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defRPr/>
                  </a:pPr>
                  <a:r>
                    <a:rPr kumimoji="0" lang="en-GB" sz="24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kumimoji="0" lang="en-US" sz="2400" b="0" i="0" u="none" strike="noStrike" kern="1200" cap="none" spc="0" normalizeH="0" baseline="0" noProof="0" dirty="0">
                      <a:ln>
                        <a:noFill/>
                      </a:ln>
                      <a:solidFill>
                        <a:srgbClr val="FFFFFF"/>
                      </a:solidFill>
                      <a:effectLst/>
                      <a:uLnTx/>
                      <a:uFillTx/>
                      <a:latin typeface="Darker Grotesque Medium"/>
                      <a:ea typeface="+mn-ea"/>
                      <a:cs typeface="+mn-cs"/>
                    </a:rPr>
                    <a:t>95% ; </a:t>
                  </a:r>
                  <a:r>
                    <a:rPr kumimoji="0" lang="en-GB" sz="24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US" sz="2400" dirty="0">
                      <a:solidFill>
                        <a:srgbClr val="FFFFFF"/>
                      </a:solidFill>
                    </a:rPr>
                    <a:t>98.4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Darker Grotesque Medium"/>
                    <a:ea typeface="+mn-ea"/>
                    <a:cs typeface="+mn-cs"/>
                  </a:endParaRPr>
                </a:p>
                <a:p>
                  <a:endParaRPr lang="en-US" dirty="0">
                    <a:solidFill>
                      <a:prstClr val="white">
                        <a:alpha val="50000"/>
                      </a:prstClr>
                    </a:solidFill>
                  </a:endParaRPr>
                </a:p>
              </p:txBody>
            </p:sp>
          </p:grpSp>
        </p:grpSp>
        <p:grpSp>
          <p:nvGrpSpPr>
            <p:cNvPr id="6" name="Group 5">
              <a:extLst>
                <a:ext uri="{FF2B5EF4-FFF2-40B4-BE49-F238E27FC236}">
                  <a16:creationId xmlns:a16="http://schemas.microsoft.com/office/drawing/2014/main" id="{C723D432-1F2D-EC50-5690-CBC75DE731FC}"/>
                </a:ext>
              </a:extLst>
            </p:cNvPr>
            <p:cNvGrpSpPr/>
            <p:nvPr/>
          </p:nvGrpSpPr>
          <p:grpSpPr>
            <a:xfrm>
              <a:off x="273786" y="4658073"/>
              <a:ext cx="11644426" cy="1920950"/>
              <a:chOff x="273787" y="4115510"/>
              <a:chExt cx="11644426" cy="1920950"/>
            </a:xfrm>
          </p:grpSpPr>
          <p:grpSp>
            <p:nvGrpSpPr>
              <p:cNvPr id="3" name="Group 2">
                <a:extLst>
                  <a:ext uri="{FF2B5EF4-FFF2-40B4-BE49-F238E27FC236}">
                    <a16:creationId xmlns:a16="http://schemas.microsoft.com/office/drawing/2014/main" id="{6C27343D-FB93-35AF-40F5-BDAFC5AAD602}"/>
                  </a:ext>
                </a:extLst>
              </p:cNvPr>
              <p:cNvGrpSpPr/>
              <p:nvPr/>
            </p:nvGrpSpPr>
            <p:grpSpPr>
              <a:xfrm>
                <a:off x="273787" y="4115510"/>
                <a:ext cx="3733402" cy="1920950"/>
                <a:chOff x="273788" y="1808361"/>
                <a:chExt cx="3733402" cy="1920950"/>
              </a:xfrm>
            </p:grpSpPr>
            <p:sp>
              <p:nvSpPr>
                <p:cNvPr id="69" name="Rectangle: Rounded Corners 68">
                  <a:extLst>
                    <a:ext uri="{FF2B5EF4-FFF2-40B4-BE49-F238E27FC236}">
                      <a16:creationId xmlns:a16="http://schemas.microsoft.com/office/drawing/2014/main" id="{01131CC5-EF57-894E-506A-CD8454BC3355}"/>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72" name="TextBox 71">
                  <a:extLst>
                    <a:ext uri="{FF2B5EF4-FFF2-40B4-BE49-F238E27FC236}">
                      <a16:creationId xmlns:a16="http://schemas.microsoft.com/office/drawing/2014/main" id="{D8B92B2D-5231-3CC0-1091-C7C78B0D9346}"/>
                    </a:ext>
                  </a:extLst>
                </p:cNvPr>
                <p:cNvSpPr txBox="1"/>
                <p:nvPr/>
              </p:nvSpPr>
              <p:spPr>
                <a:xfrm>
                  <a:off x="281746" y="2115461"/>
                  <a:ext cx="3725441" cy="556755"/>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solidFill>
                        <a:srgbClr val="FFFFFF"/>
                      </a:solidFill>
                      <a:latin typeface="+mj-lt"/>
                    </a:rPr>
                    <a:t>Accuracy</a:t>
                  </a:r>
                  <a:endParaRPr lang="en-GB" sz="5400" dirty="0">
                    <a:solidFill>
                      <a:srgbClr val="FFFFFF"/>
                    </a:solidFill>
                    <a:latin typeface="+mj-lt"/>
                  </a:endParaRPr>
                </a:p>
              </p:txBody>
            </p:sp>
            <p:sp>
              <p:nvSpPr>
                <p:cNvPr id="73" name="TextBox 72">
                  <a:extLst>
                    <a:ext uri="{FF2B5EF4-FFF2-40B4-BE49-F238E27FC236}">
                      <a16:creationId xmlns:a16="http://schemas.microsoft.com/office/drawing/2014/main" id="{50451393-37A2-55DA-1FC9-3FD0C3F4D5BD}"/>
                    </a:ext>
                  </a:extLst>
                </p:cNvPr>
                <p:cNvSpPr txBox="1"/>
                <p:nvPr/>
              </p:nvSpPr>
              <p:spPr>
                <a:xfrm>
                  <a:off x="299486" y="2804363"/>
                  <a:ext cx="3707701"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GB" sz="2800" dirty="0">
                      <a:solidFill>
                        <a:srgbClr val="FFFFFF"/>
                      </a:solidFill>
                    </a:rPr>
                    <a:t>98.7%</a:t>
                  </a:r>
                  <a:r>
                    <a:rPr lang="en-GB" sz="2800" dirty="0">
                      <a:solidFill>
                        <a:srgbClr val="616161"/>
                      </a:solidFill>
                    </a:rPr>
                    <a:t> </a:t>
                  </a:r>
                  <a:endParaRPr lang="en-US" sz="2800" dirty="0">
                    <a:solidFill>
                      <a:srgbClr val="616161"/>
                    </a:solidFill>
                  </a:endParaRPr>
                </a:p>
              </p:txBody>
            </p:sp>
          </p:grpSp>
          <p:grpSp>
            <p:nvGrpSpPr>
              <p:cNvPr id="5" name="Group 4">
                <a:extLst>
                  <a:ext uri="{FF2B5EF4-FFF2-40B4-BE49-F238E27FC236}">
                    <a16:creationId xmlns:a16="http://schemas.microsoft.com/office/drawing/2014/main" id="{73D45429-700C-28FE-C3C7-7C70A049C3E9}"/>
                  </a:ext>
                </a:extLst>
              </p:cNvPr>
              <p:cNvGrpSpPr/>
              <p:nvPr/>
            </p:nvGrpSpPr>
            <p:grpSpPr>
              <a:xfrm>
                <a:off x="8184809" y="4115510"/>
                <a:ext cx="3733404" cy="1920950"/>
                <a:chOff x="273786" y="1808361"/>
                <a:chExt cx="3733404" cy="1920950"/>
              </a:xfrm>
            </p:grpSpPr>
            <p:sp>
              <p:nvSpPr>
                <p:cNvPr id="64" name="Rectangle: Rounded Corners 63">
                  <a:extLst>
                    <a:ext uri="{FF2B5EF4-FFF2-40B4-BE49-F238E27FC236}">
                      <a16:creationId xmlns:a16="http://schemas.microsoft.com/office/drawing/2014/main" id="{BA23A1AB-1FAC-0038-3E32-052EC9101E5D}"/>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67" name="TextBox 66">
                  <a:extLst>
                    <a:ext uri="{FF2B5EF4-FFF2-40B4-BE49-F238E27FC236}">
                      <a16:creationId xmlns:a16="http://schemas.microsoft.com/office/drawing/2014/main" id="{0A5EA7DE-034D-EA3E-67E6-D11682B8A78C}"/>
                    </a:ext>
                  </a:extLst>
                </p:cNvPr>
                <p:cNvSpPr txBox="1"/>
                <p:nvPr/>
              </p:nvSpPr>
              <p:spPr>
                <a:xfrm>
                  <a:off x="273786" y="2115461"/>
                  <a:ext cx="3725447" cy="556755"/>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5400" dirty="0">
                      <a:latin typeface="+mj-lt"/>
                    </a:rPr>
                    <a:t>AUC</a:t>
                  </a:r>
                  <a:endParaRPr lang="en-GB" sz="5400" dirty="0">
                    <a:latin typeface="+mj-lt"/>
                  </a:endParaRPr>
                </a:p>
              </p:txBody>
            </p:sp>
            <p:sp>
              <p:nvSpPr>
                <p:cNvPr id="68" name="TextBox 67">
                  <a:extLst>
                    <a:ext uri="{FF2B5EF4-FFF2-40B4-BE49-F238E27FC236}">
                      <a16:creationId xmlns:a16="http://schemas.microsoft.com/office/drawing/2014/main" id="{AADFA3A1-3A8A-7E32-8952-1E14FF68B99B}"/>
                    </a:ext>
                  </a:extLst>
                </p:cNvPr>
                <p:cNvSpPr txBox="1"/>
                <p:nvPr/>
              </p:nvSpPr>
              <p:spPr>
                <a:xfrm>
                  <a:off x="273786" y="2804363"/>
                  <a:ext cx="3733402"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GB" sz="2800" dirty="0">
                      <a:solidFill>
                        <a:srgbClr val="FFFFFF"/>
                      </a:solidFill>
                      <a:latin typeface="Darker Grotesque Medium"/>
                    </a:rPr>
                    <a:t>0.99978</a:t>
                  </a:r>
                  <a:endParaRPr lang="en-US" dirty="0">
                    <a:solidFill>
                      <a:prstClr val="white">
                        <a:alpha val="50000"/>
                      </a:prstClr>
                    </a:solidFill>
                  </a:endParaRPr>
                </a:p>
              </p:txBody>
            </p:sp>
          </p:grpSp>
          <p:grpSp>
            <p:nvGrpSpPr>
              <p:cNvPr id="58" name="Group 57">
                <a:extLst>
                  <a:ext uri="{FF2B5EF4-FFF2-40B4-BE49-F238E27FC236}">
                    <a16:creationId xmlns:a16="http://schemas.microsoft.com/office/drawing/2014/main" id="{7C05DF1C-9FEC-2AAA-C749-6F7F61BDAAB6}"/>
                  </a:ext>
                </a:extLst>
              </p:cNvPr>
              <p:cNvGrpSpPr/>
              <p:nvPr/>
            </p:nvGrpSpPr>
            <p:grpSpPr>
              <a:xfrm>
                <a:off x="4229297" y="4115510"/>
                <a:ext cx="3733403" cy="1920950"/>
                <a:chOff x="273787" y="1808361"/>
                <a:chExt cx="3733403" cy="1920950"/>
              </a:xfrm>
            </p:grpSpPr>
            <p:sp>
              <p:nvSpPr>
                <p:cNvPr id="59" name="Rectangle: Rounded Corners 58">
                  <a:extLst>
                    <a:ext uri="{FF2B5EF4-FFF2-40B4-BE49-F238E27FC236}">
                      <a16:creationId xmlns:a16="http://schemas.microsoft.com/office/drawing/2014/main" id="{C62122E4-73FC-083C-3CE7-2D9F394E4CBE}"/>
                    </a:ext>
                  </a:extLst>
                </p:cNvPr>
                <p:cNvSpPr/>
                <p:nvPr/>
              </p:nvSpPr>
              <p:spPr>
                <a:xfrm>
                  <a:off x="273788" y="1808361"/>
                  <a:ext cx="3733402" cy="1920950"/>
                </a:xfrm>
                <a:prstGeom prst="roundRect">
                  <a:avLst>
                    <a:gd name="adj" fmla="val 12077"/>
                  </a:avLst>
                </a:prstGeom>
                <a:solidFill>
                  <a:schemeClr val="bg1">
                    <a:alpha val="20000"/>
                  </a:schemeClr>
                </a:solidFill>
                <a:ln w="6350" cap="rnd">
                  <a:solidFill>
                    <a:schemeClr val="bg1">
                      <a:alpha val="3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62" name="TextBox 61">
                  <a:extLst>
                    <a:ext uri="{FF2B5EF4-FFF2-40B4-BE49-F238E27FC236}">
                      <a16:creationId xmlns:a16="http://schemas.microsoft.com/office/drawing/2014/main" id="{3469D3ED-46E6-5564-50EA-6D819A2F0C96}"/>
                    </a:ext>
                  </a:extLst>
                </p:cNvPr>
                <p:cNvSpPr txBox="1"/>
                <p:nvPr/>
              </p:nvSpPr>
              <p:spPr>
                <a:xfrm>
                  <a:off x="273788" y="2115461"/>
                  <a:ext cx="3733402" cy="938077"/>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4800" dirty="0">
                      <a:latin typeface="+mj-lt"/>
                    </a:rPr>
                    <a:t>Precision &amp; Recall</a:t>
                  </a:r>
                  <a:endParaRPr lang="en-GB" sz="4800" dirty="0">
                    <a:latin typeface="+mj-lt"/>
                  </a:endParaRPr>
                </a:p>
              </p:txBody>
            </p:sp>
            <p:sp>
              <p:nvSpPr>
                <p:cNvPr id="63" name="TextBox 62">
                  <a:extLst>
                    <a:ext uri="{FF2B5EF4-FFF2-40B4-BE49-F238E27FC236}">
                      <a16:creationId xmlns:a16="http://schemas.microsoft.com/office/drawing/2014/main" id="{15E7E710-06FF-39C6-2C66-90FEF65B31E8}"/>
                    </a:ext>
                  </a:extLst>
                </p:cNvPr>
                <p:cNvSpPr txBox="1"/>
                <p:nvPr/>
              </p:nvSpPr>
              <p:spPr>
                <a:xfrm>
                  <a:off x="273787" y="3114416"/>
                  <a:ext cx="3733403" cy="43088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GB" sz="2800" dirty="0">
                      <a:solidFill>
                        <a:srgbClr val="FFFFFF"/>
                      </a:solidFill>
                      <a:latin typeface="Darker Grotesque Medium"/>
                    </a:rPr>
                    <a:t>96.3% ; </a:t>
                  </a:r>
                  <a:r>
                    <a:rPr kumimoji="0" lang="en-GB" sz="2800" b="0"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t>
                  </a:r>
                  <a:r>
                    <a:rPr lang="en-GB" sz="2800" dirty="0">
                      <a:solidFill>
                        <a:srgbClr val="FFFFFF"/>
                      </a:solidFill>
                      <a:latin typeface="Darker Grotesque Medium"/>
                    </a:rPr>
                    <a:t>99.31%</a:t>
                  </a:r>
                  <a:endParaRPr lang="en-US" dirty="0">
                    <a:solidFill>
                      <a:prstClr val="white">
                        <a:alpha val="50000"/>
                      </a:prstClr>
                    </a:solidFill>
                  </a:endParaRPr>
                </a:p>
              </p:txBody>
            </p:sp>
          </p:grpSp>
        </p:grpSp>
        <p:sp>
          <p:nvSpPr>
            <p:cNvPr id="8" name="TextBox 7">
              <a:extLst>
                <a:ext uri="{FF2B5EF4-FFF2-40B4-BE49-F238E27FC236}">
                  <a16:creationId xmlns:a16="http://schemas.microsoft.com/office/drawing/2014/main" id="{33DEC37C-9415-3575-6D31-78841C471687}"/>
                </a:ext>
              </a:extLst>
            </p:cNvPr>
            <p:cNvSpPr txBox="1"/>
            <p:nvPr/>
          </p:nvSpPr>
          <p:spPr>
            <a:xfrm>
              <a:off x="273786" y="3972293"/>
              <a:ext cx="6516621"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t>Test Set Evaluation</a:t>
              </a:r>
            </a:p>
          </p:txBody>
        </p:sp>
      </p:grpSp>
      <p:pic>
        <p:nvPicPr>
          <p:cNvPr id="45" name="Picture 44" descr="A screenshot of a computer&#10;&#10;AI-generated content may be incorrect.">
            <a:extLst>
              <a:ext uri="{FF2B5EF4-FFF2-40B4-BE49-F238E27FC236}">
                <a16:creationId xmlns:a16="http://schemas.microsoft.com/office/drawing/2014/main" id="{6C00850C-C3AF-B031-1475-80C13B82EF33}"/>
              </a:ext>
            </a:extLst>
          </p:cNvPr>
          <p:cNvPicPr>
            <a:picLocks noChangeAspect="1"/>
          </p:cNvPicPr>
          <p:nvPr/>
        </p:nvPicPr>
        <p:blipFill>
          <a:blip r:embed="rId5"/>
          <a:srcRect l="1460" t="11466" r="8341" b="3652"/>
          <a:stretch/>
        </p:blipFill>
        <p:spPr>
          <a:xfrm>
            <a:off x="3604493" y="7832528"/>
            <a:ext cx="4763060" cy="4313112"/>
          </a:xfrm>
          <a:prstGeom prst="round2DiagRect">
            <a:avLst>
              <a:gd name="adj1" fmla="val 16667"/>
              <a:gd name="adj2" fmla="val 0"/>
            </a:avLst>
          </a:prstGeom>
          <a:ln w="88900" cap="sq">
            <a:solidFill>
              <a:srgbClr val="FFFFFF"/>
            </a:solidFill>
            <a:miter lim="800000"/>
          </a:ln>
          <a:effectLst>
            <a:glow rad="444500">
              <a:schemeClr val="accent3">
                <a:satMod val="175000"/>
                <a:alpha val="40000"/>
              </a:schemeClr>
            </a:glow>
            <a:outerShdw blurRad="254000" algn="tl" rotWithShape="0">
              <a:srgbClr val="000000">
                <a:alpha val="43000"/>
              </a:srgbClr>
            </a:outerShdw>
          </a:effectLst>
        </p:spPr>
      </p:pic>
    </p:spTree>
    <p:extLst>
      <p:ext uri="{BB962C8B-B14F-4D97-AF65-F5344CB8AC3E}">
        <p14:creationId xmlns:p14="http://schemas.microsoft.com/office/powerpoint/2010/main" val="276564315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A3D359-BF0C-C5DE-3B4E-BFCB205A5A10}"/>
            </a:ext>
          </a:extLst>
        </p:cNvPr>
        <p:cNvGrpSpPr/>
        <p:nvPr/>
      </p:nvGrpSpPr>
      <p:grpSpPr>
        <a:xfrm>
          <a:off x="0" y="0"/>
          <a:ext cx="0" cy="0"/>
          <a:chOff x="0" y="0"/>
          <a:chExt cx="0" cy="0"/>
        </a:xfrm>
      </p:grpSpPr>
      <p:grpSp>
        <p:nvGrpSpPr>
          <p:cNvPr id="21" name="Group 20">
            <a:extLst>
              <a:ext uri="{FF2B5EF4-FFF2-40B4-BE49-F238E27FC236}">
                <a16:creationId xmlns:a16="http://schemas.microsoft.com/office/drawing/2014/main" id="{6B74FAF4-385A-B7A0-6CBF-048C3FB0836A}"/>
              </a:ext>
            </a:extLst>
          </p:cNvPr>
          <p:cNvGrpSpPr/>
          <p:nvPr/>
        </p:nvGrpSpPr>
        <p:grpSpPr>
          <a:xfrm>
            <a:off x="299484" y="339322"/>
            <a:ext cx="11644423" cy="507586"/>
            <a:chOff x="299484" y="339322"/>
            <a:chExt cx="11644423" cy="507586"/>
          </a:xfrm>
        </p:grpSpPr>
        <p:cxnSp>
          <p:nvCxnSpPr>
            <p:cNvPr id="16" name="Straight Connector 15">
              <a:extLst>
                <a:ext uri="{FF2B5EF4-FFF2-40B4-BE49-F238E27FC236}">
                  <a16:creationId xmlns:a16="http://schemas.microsoft.com/office/drawing/2014/main" id="{4AF6D1BF-5ACA-0DE6-AC14-916409B5F8DD}"/>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5" name="Group 54">
              <a:extLst>
                <a:ext uri="{FF2B5EF4-FFF2-40B4-BE49-F238E27FC236}">
                  <a16:creationId xmlns:a16="http://schemas.microsoft.com/office/drawing/2014/main" id="{93A11607-2B1F-77B5-EDAB-2BB67F581020}"/>
                </a:ext>
              </a:extLst>
            </p:cNvPr>
            <p:cNvGrpSpPr/>
            <p:nvPr/>
          </p:nvGrpSpPr>
          <p:grpSpPr>
            <a:xfrm>
              <a:off x="5846251" y="339322"/>
              <a:ext cx="507586" cy="507586"/>
              <a:chOff x="5828208" y="1871057"/>
              <a:chExt cx="507586" cy="507586"/>
            </a:xfrm>
          </p:grpSpPr>
          <p:sp useBgFill="1">
            <p:nvSpPr>
              <p:cNvPr id="56" name="Oval 55">
                <a:extLst>
                  <a:ext uri="{FF2B5EF4-FFF2-40B4-BE49-F238E27FC236}">
                    <a16:creationId xmlns:a16="http://schemas.microsoft.com/office/drawing/2014/main" id="{BEE8C02D-CFBD-9571-933C-B2CE64A62A10}"/>
                  </a:ext>
                </a:extLst>
              </p:cNvPr>
              <p:cNvSpPr/>
              <p:nvPr/>
            </p:nvSpPr>
            <p:spPr>
              <a:xfrm>
                <a:off x="5828208" y="187105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7" name="Graphic 56">
                <a:extLst>
                  <a:ext uri="{FF2B5EF4-FFF2-40B4-BE49-F238E27FC236}">
                    <a16:creationId xmlns:a16="http://schemas.microsoft.com/office/drawing/2014/main" id="{FE33B6CB-F590-34E6-9EEB-5852A45D4C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7984" y="2005977"/>
                <a:ext cx="256032" cy="256032"/>
              </a:xfrm>
              <a:prstGeom prst="rect">
                <a:avLst/>
              </a:prstGeom>
            </p:spPr>
          </p:pic>
        </p:grpSp>
      </p:grpSp>
      <p:sp>
        <p:nvSpPr>
          <p:cNvPr id="22" name="TextBox 21">
            <a:extLst>
              <a:ext uri="{FF2B5EF4-FFF2-40B4-BE49-F238E27FC236}">
                <a16:creationId xmlns:a16="http://schemas.microsoft.com/office/drawing/2014/main" id="{77A5AE8D-D193-FF17-4D1D-8FC3972B9D0D}"/>
              </a:ext>
            </a:extLst>
          </p:cNvPr>
          <p:cNvSpPr txBox="1"/>
          <p:nvPr/>
        </p:nvSpPr>
        <p:spPr>
          <a:xfrm>
            <a:off x="134409" y="339322"/>
            <a:ext cx="1130511"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sults</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pic>
        <p:nvPicPr>
          <p:cNvPr id="2" name="Picture 1" descr="A screenshot of a computer&#10;&#10;AI-generated content may be incorrect.">
            <a:extLst>
              <a:ext uri="{FF2B5EF4-FFF2-40B4-BE49-F238E27FC236}">
                <a16:creationId xmlns:a16="http://schemas.microsoft.com/office/drawing/2014/main" id="{80BF15D3-72FE-5A38-E66D-DA1063B235F7}"/>
              </a:ext>
            </a:extLst>
          </p:cNvPr>
          <p:cNvPicPr>
            <a:picLocks noChangeAspect="1"/>
          </p:cNvPicPr>
          <p:nvPr/>
        </p:nvPicPr>
        <p:blipFill>
          <a:blip r:embed="rId5"/>
          <a:srcRect l="1460" t="11466" r="8341" b="3652"/>
          <a:stretch/>
        </p:blipFill>
        <p:spPr>
          <a:xfrm>
            <a:off x="3532801" y="1470991"/>
            <a:ext cx="4763060" cy="4313112"/>
          </a:xfrm>
          <a:prstGeom prst="round2DiagRect">
            <a:avLst>
              <a:gd name="adj1" fmla="val 16667"/>
              <a:gd name="adj2" fmla="val 0"/>
            </a:avLst>
          </a:prstGeom>
          <a:ln w="88900" cap="sq">
            <a:solidFill>
              <a:srgbClr val="FFFFFF"/>
            </a:solidFill>
            <a:miter lim="800000"/>
          </a:ln>
          <a:effectLst>
            <a:glow rad="444500">
              <a:schemeClr val="accent3">
                <a:satMod val="175000"/>
                <a:alpha val="40000"/>
              </a:schemeClr>
            </a:glow>
            <a:outerShdw blurRad="254000" algn="tl" rotWithShape="0">
              <a:srgbClr val="000000">
                <a:alpha val="43000"/>
              </a:srgbClr>
            </a:outerShdw>
          </a:effectLst>
        </p:spPr>
      </p:pic>
    </p:spTree>
    <p:extLst>
      <p:ext uri="{BB962C8B-B14F-4D97-AF65-F5344CB8AC3E}">
        <p14:creationId xmlns:p14="http://schemas.microsoft.com/office/powerpoint/2010/main" val="389949919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06932" y="2157053"/>
            <a:ext cx="11778133" cy="25530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Discussions</a:t>
            </a:r>
          </a:p>
        </p:txBody>
      </p:sp>
      <p:grpSp>
        <p:nvGrpSpPr>
          <p:cNvPr id="5" name="Group 4">
            <a:extLst>
              <a:ext uri="{FF2B5EF4-FFF2-40B4-BE49-F238E27FC236}">
                <a16:creationId xmlns:a16="http://schemas.microsoft.com/office/drawing/2014/main" id="{D600E262-C803-E1C0-41A6-96B42FC26725}"/>
              </a:ext>
            </a:extLst>
          </p:cNvPr>
          <p:cNvGrpSpPr/>
          <p:nvPr/>
        </p:nvGrpSpPr>
        <p:grpSpPr>
          <a:xfrm>
            <a:off x="340642" y="7521431"/>
            <a:ext cx="11644423" cy="507586"/>
            <a:chOff x="299484" y="358631"/>
            <a:chExt cx="11644423" cy="507586"/>
          </a:xfrm>
        </p:grpSpPr>
        <p:cxnSp>
          <p:nvCxnSpPr>
            <p:cNvPr id="6" name="Straight Connector 5">
              <a:extLst>
                <a:ext uri="{FF2B5EF4-FFF2-40B4-BE49-F238E27FC236}">
                  <a16:creationId xmlns:a16="http://schemas.microsoft.com/office/drawing/2014/main" id="{13FE1246-FEFC-5294-6C0E-A39DE1670BAD}"/>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7" name="Group 6">
              <a:extLst>
                <a:ext uri="{FF2B5EF4-FFF2-40B4-BE49-F238E27FC236}">
                  <a16:creationId xmlns:a16="http://schemas.microsoft.com/office/drawing/2014/main" id="{738A9035-1298-421C-D423-CE949B7E7705}"/>
                </a:ext>
              </a:extLst>
            </p:cNvPr>
            <p:cNvGrpSpPr/>
            <p:nvPr/>
          </p:nvGrpSpPr>
          <p:grpSpPr>
            <a:xfrm>
              <a:off x="5803303" y="358631"/>
              <a:ext cx="507586" cy="507586"/>
              <a:chOff x="6835197" y="4535801"/>
              <a:chExt cx="507586" cy="507586"/>
            </a:xfrm>
          </p:grpSpPr>
          <p:sp useBgFill="1">
            <p:nvSpPr>
              <p:cNvPr id="23" name="Oval 22">
                <a:extLst>
                  <a:ext uri="{FF2B5EF4-FFF2-40B4-BE49-F238E27FC236}">
                    <a16:creationId xmlns:a16="http://schemas.microsoft.com/office/drawing/2014/main" id="{C1243B6D-F967-DFDA-5EB9-DDAF40EB09FC}"/>
                  </a:ext>
                </a:extLst>
              </p:cNvPr>
              <p:cNvSpPr/>
              <p:nvPr/>
            </p:nvSpPr>
            <p:spPr>
              <a:xfrm>
                <a:off x="6835197" y="453580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24" name="Graphic 23">
                <a:extLst>
                  <a:ext uri="{FF2B5EF4-FFF2-40B4-BE49-F238E27FC236}">
                    <a16:creationId xmlns:a16="http://schemas.microsoft.com/office/drawing/2014/main" id="{EAE40C54-5A27-5A44-B31C-6752C5D5F13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64217" y="4667369"/>
                <a:ext cx="256032" cy="256032"/>
              </a:xfrm>
              <a:prstGeom prst="rect">
                <a:avLst/>
              </a:prstGeom>
            </p:spPr>
          </p:pic>
        </p:grpSp>
      </p:grpSp>
      <p:sp>
        <p:nvSpPr>
          <p:cNvPr id="25" name="Oval 24">
            <a:extLst>
              <a:ext uri="{FF2B5EF4-FFF2-40B4-BE49-F238E27FC236}">
                <a16:creationId xmlns:a16="http://schemas.microsoft.com/office/drawing/2014/main" id="{717D1C74-0570-2C66-991D-FE212CE84B98}"/>
              </a:ext>
            </a:extLst>
          </p:cNvPr>
          <p:cNvSpPr/>
          <p:nvPr/>
        </p:nvSpPr>
        <p:spPr>
          <a:xfrm>
            <a:off x="4903283" y="9664845"/>
            <a:ext cx="1722120" cy="1630678"/>
          </a:xfrm>
          <a:prstGeom prst="ellipse">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26" name="Oval 25">
            <a:extLst>
              <a:ext uri="{FF2B5EF4-FFF2-40B4-BE49-F238E27FC236}">
                <a16:creationId xmlns:a16="http://schemas.microsoft.com/office/drawing/2014/main" id="{98FF08A6-517C-FED4-8FA5-E2E5DF89334E}"/>
              </a:ext>
            </a:extLst>
          </p:cNvPr>
          <p:cNvSpPr/>
          <p:nvPr/>
        </p:nvSpPr>
        <p:spPr>
          <a:xfrm>
            <a:off x="4903283" y="9739861"/>
            <a:ext cx="1990500" cy="1952530"/>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27" name="Oval 26">
            <a:extLst>
              <a:ext uri="{FF2B5EF4-FFF2-40B4-BE49-F238E27FC236}">
                <a16:creationId xmlns:a16="http://schemas.microsoft.com/office/drawing/2014/main" id="{0DAB279A-A7C4-0A93-2F06-9EBACE7BA4DE}"/>
              </a:ext>
            </a:extLst>
          </p:cNvPr>
          <p:cNvSpPr/>
          <p:nvPr/>
        </p:nvSpPr>
        <p:spPr>
          <a:xfrm>
            <a:off x="4579939" y="8846714"/>
            <a:ext cx="2840083" cy="3135577"/>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28" name="Oval 27">
            <a:extLst>
              <a:ext uri="{FF2B5EF4-FFF2-40B4-BE49-F238E27FC236}">
                <a16:creationId xmlns:a16="http://schemas.microsoft.com/office/drawing/2014/main" id="{A93DFD63-5098-514D-E88A-71DCC0FA5522}"/>
              </a:ext>
            </a:extLst>
          </p:cNvPr>
          <p:cNvSpPr/>
          <p:nvPr/>
        </p:nvSpPr>
        <p:spPr>
          <a:xfrm>
            <a:off x="4761896" y="9041123"/>
            <a:ext cx="2599125" cy="2293539"/>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29" name="Oval 28">
            <a:extLst>
              <a:ext uri="{FF2B5EF4-FFF2-40B4-BE49-F238E27FC236}">
                <a16:creationId xmlns:a16="http://schemas.microsoft.com/office/drawing/2014/main" id="{C942DB85-A129-6BD5-82D0-A4995044BFEA}"/>
              </a:ext>
            </a:extLst>
          </p:cNvPr>
          <p:cNvSpPr/>
          <p:nvPr/>
        </p:nvSpPr>
        <p:spPr>
          <a:xfrm>
            <a:off x="4227621" y="9027402"/>
            <a:ext cx="3667673" cy="2801136"/>
          </a:xfrm>
          <a:prstGeom prst="ellipse">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dirty="0"/>
          </a:p>
        </p:txBody>
      </p:sp>
      <p:sp>
        <p:nvSpPr>
          <p:cNvPr id="30" name="Oval 29">
            <a:extLst>
              <a:ext uri="{FF2B5EF4-FFF2-40B4-BE49-F238E27FC236}">
                <a16:creationId xmlns:a16="http://schemas.microsoft.com/office/drawing/2014/main" id="{A4669159-0DC3-7A4C-C8AF-89511F99DDA4}"/>
              </a:ext>
            </a:extLst>
          </p:cNvPr>
          <p:cNvSpPr/>
          <p:nvPr/>
        </p:nvSpPr>
        <p:spPr>
          <a:xfrm>
            <a:off x="4327154" y="8842638"/>
            <a:ext cx="3345649" cy="3008981"/>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31" name="Oval 30">
            <a:extLst>
              <a:ext uri="{FF2B5EF4-FFF2-40B4-BE49-F238E27FC236}">
                <a16:creationId xmlns:a16="http://schemas.microsoft.com/office/drawing/2014/main" id="{0BDD59E8-DDF7-5D4B-2EFE-F6308462685A}"/>
              </a:ext>
            </a:extLst>
          </p:cNvPr>
          <p:cNvSpPr/>
          <p:nvPr/>
        </p:nvSpPr>
        <p:spPr>
          <a:xfrm>
            <a:off x="5138918" y="9625705"/>
            <a:ext cx="1722120" cy="1630678"/>
          </a:xfrm>
          <a:prstGeom prst="ellipse">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dirty="0"/>
          </a:p>
        </p:txBody>
      </p:sp>
      <p:sp>
        <p:nvSpPr>
          <p:cNvPr id="32" name="Oval 31">
            <a:extLst>
              <a:ext uri="{FF2B5EF4-FFF2-40B4-BE49-F238E27FC236}">
                <a16:creationId xmlns:a16="http://schemas.microsoft.com/office/drawing/2014/main" id="{F74E1E34-2023-D6A1-2289-8005B6EFB244}"/>
              </a:ext>
            </a:extLst>
          </p:cNvPr>
          <p:cNvSpPr/>
          <p:nvPr/>
        </p:nvSpPr>
        <p:spPr>
          <a:xfrm>
            <a:off x="5250758" y="9730323"/>
            <a:ext cx="1433400" cy="1404801"/>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33" name="Oval 32">
            <a:extLst>
              <a:ext uri="{FF2B5EF4-FFF2-40B4-BE49-F238E27FC236}">
                <a16:creationId xmlns:a16="http://schemas.microsoft.com/office/drawing/2014/main" id="{75794F42-C293-D510-C0CB-8B0BE8E5CF04}"/>
              </a:ext>
            </a:extLst>
          </p:cNvPr>
          <p:cNvSpPr/>
          <p:nvPr/>
        </p:nvSpPr>
        <p:spPr>
          <a:xfrm>
            <a:off x="5329963" y="9812798"/>
            <a:ext cx="1306312" cy="1302864"/>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34" name="Oval 33">
            <a:extLst>
              <a:ext uri="{FF2B5EF4-FFF2-40B4-BE49-F238E27FC236}">
                <a16:creationId xmlns:a16="http://schemas.microsoft.com/office/drawing/2014/main" id="{0671BB91-86B0-7082-8BFC-AA172E5E678E}"/>
              </a:ext>
            </a:extLst>
          </p:cNvPr>
          <p:cNvSpPr/>
          <p:nvPr/>
        </p:nvSpPr>
        <p:spPr>
          <a:xfrm>
            <a:off x="5570332" y="9937216"/>
            <a:ext cx="982255" cy="1003189"/>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35" name="Oval 34">
            <a:extLst>
              <a:ext uri="{FF2B5EF4-FFF2-40B4-BE49-F238E27FC236}">
                <a16:creationId xmlns:a16="http://schemas.microsoft.com/office/drawing/2014/main" id="{DAABA8FC-E811-F676-4C68-E69AB1CE6EFD}"/>
              </a:ext>
            </a:extLst>
          </p:cNvPr>
          <p:cNvSpPr/>
          <p:nvPr/>
        </p:nvSpPr>
        <p:spPr>
          <a:xfrm>
            <a:off x="5161727" y="9739861"/>
            <a:ext cx="1676505" cy="1297673"/>
          </a:xfrm>
          <a:prstGeom prst="ellipse">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36" name="Oval 35">
            <a:extLst>
              <a:ext uri="{FF2B5EF4-FFF2-40B4-BE49-F238E27FC236}">
                <a16:creationId xmlns:a16="http://schemas.microsoft.com/office/drawing/2014/main" id="{E1C0EE0B-07DB-E2DD-EA5E-6168B75A419C}"/>
              </a:ext>
            </a:extLst>
          </p:cNvPr>
          <p:cNvSpPr/>
          <p:nvPr/>
        </p:nvSpPr>
        <p:spPr>
          <a:xfrm>
            <a:off x="3983195" y="8696121"/>
            <a:ext cx="3968526" cy="3764877"/>
          </a:xfrm>
          <a:prstGeom prst="ellipse">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Tree>
    <p:extLst>
      <p:ext uri="{BB962C8B-B14F-4D97-AF65-F5344CB8AC3E}">
        <p14:creationId xmlns:p14="http://schemas.microsoft.com/office/powerpoint/2010/main" val="2319019701"/>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E148DC-FBC7-28A8-86F4-45D3EC395778}"/>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33C2D54E-ED08-2FF0-73E7-6FBE61A69C39}"/>
              </a:ext>
            </a:extLst>
          </p:cNvPr>
          <p:cNvGrpSpPr/>
          <p:nvPr/>
        </p:nvGrpSpPr>
        <p:grpSpPr>
          <a:xfrm>
            <a:off x="299484" y="358631"/>
            <a:ext cx="11644423" cy="507586"/>
            <a:chOff x="299484" y="358631"/>
            <a:chExt cx="11644423" cy="507586"/>
          </a:xfrm>
        </p:grpSpPr>
        <p:cxnSp>
          <p:nvCxnSpPr>
            <p:cNvPr id="9" name="Straight Connector 8">
              <a:extLst>
                <a:ext uri="{FF2B5EF4-FFF2-40B4-BE49-F238E27FC236}">
                  <a16:creationId xmlns:a16="http://schemas.microsoft.com/office/drawing/2014/main" id="{2DAC3005-BEC2-3E1F-9EC3-15A715E007B0}"/>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35" name="Group 34">
              <a:extLst>
                <a:ext uri="{FF2B5EF4-FFF2-40B4-BE49-F238E27FC236}">
                  <a16:creationId xmlns:a16="http://schemas.microsoft.com/office/drawing/2014/main" id="{248F87C4-B4D5-BCF8-9CA1-702131E88EC5}"/>
                </a:ext>
              </a:extLst>
            </p:cNvPr>
            <p:cNvGrpSpPr/>
            <p:nvPr/>
          </p:nvGrpSpPr>
          <p:grpSpPr>
            <a:xfrm>
              <a:off x="5803303" y="358631"/>
              <a:ext cx="507586" cy="507586"/>
              <a:chOff x="6835197" y="4535801"/>
              <a:chExt cx="507586" cy="507586"/>
            </a:xfrm>
          </p:grpSpPr>
          <p:sp useBgFill="1">
            <p:nvSpPr>
              <p:cNvPr id="38" name="Oval 37">
                <a:extLst>
                  <a:ext uri="{FF2B5EF4-FFF2-40B4-BE49-F238E27FC236}">
                    <a16:creationId xmlns:a16="http://schemas.microsoft.com/office/drawing/2014/main" id="{23DFA900-1B21-B9EA-F596-18F8E0A2B72E}"/>
                  </a:ext>
                </a:extLst>
              </p:cNvPr>
              <p:cNvSpPr/>
              <p:nvPr/>
            </p:nvSpPr>
            <p:spPr>
              <a:xfrm>
                <a:off x="6835197" y="453580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9" name="Graphic 38">
                <a:extLst>
                  <a:ext uri="{FF2B5EF4-FFF2-40B4-BE49-F238E27FC236}">
                    <a16:creationId xmlns:a16="http://schemas.microsoft.com/office/drawing/2014/main" id="{95222C45-F41A-904D-9683-05D3EFC1D7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64217" y="4667369"/>
                <a:ext cx="256032" cy="256032"/>
              </a:xfrm>
              <a:prstGeom prst="rect">
                <a:avLst/>
              </a:prstGeom>
            </p:spPr>
          </p:pic>
        </p:grpSp>
      </p:grpSp>
      <p:sp>
        <p:nvSpPr>
          <p:cNvPr id="40" name="TextBox 39">
            <a:extLst>
              <a:ext uri="{FF2B5EF4-FFF2-40B4-BE49-F238E27FC236}">
                <a16:creationId xmlns:a16="http://schemas.microsoft.com/office/drawing/2014/main" id="{27CDF10D-FB78-65B7-8B57-D55337FD504F}"/>
              </a:ext>
            </a:extLst>
          </p:cNvPr>
          <p:cNvSpPr txBox="1"/>
          <p:nvPr/>
        </p:nvSpPr>
        <p:spPr>
          <a:xfrm>
            <a:off x="113755" y="371869"/>
            <a:ext cx="1504192"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iscussions</a:t>
            </a:r>
          </a:p>
        </p:txBody>
      </p:sp>
      <p:sp>
        <p:nvSpPr>
          <p:cNvPr id="56" name="Oval 55">
            <a:extLst>
              <a:ext uri="{FF2B5EF4-FFF2-40B4-BE49-F238E27FC236}">
                <a16:creationId xmlns:a16="http://schemas.microsoft.com/office/drawing/2014/main" id="{25C1717C-C3F9-1F6F-E4CE-7299EC3D1390}"/>
              </a:ext>
            </a:extLst>
          </p:cNvPr>
          <p:cNvSpPr/>
          <p:nvPr/>
        </p:nvSpPr>
        <p:spPr>
          <a:xfrm>
            <a:off x="4862125" y="2502045"/>
            <a:ext cx="1722120" cy="1630678"/>
          </a:xfrm>
          <a:prstGeom prst="ellipse">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57" name="Oval 56">
            <a:extLst>
              <a:ext uri="{FF2B5EF4-FFF2-40B4-BE49-F238E27FC236}">
                <a16:creationId xmlns:a16="http://schemas.microsoft.com/office/drawing/2014/main" id="{64C46658-3D6B-383C-A392-91475CC76732}"/>
              </a:ext>
            </a:extLst>
          </p:cNvPr>
          <p:cNvSpPr/>
          <p:nvPr/>
        </p:nvSpPr>
        <p:spPr>
          <a:xfrm>
            <a:off x="4862125" y="2577061"/>
            <a:ext cx="1990500" cy="1952530"/>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58" name="Oval 57">
            <a:extLst>
              <a:ext uri="{FF2B5EF4-FFF2-40B4-BE49-F238E27FC236}">
                <a16:creationId xmlns:a16="http://schemas.microsoft.com/office/drawing/2014/main" id="{5F791675-B7ED-996C-4966-9074EC705714}"/>
              </a:ext>
            </a:extLst>
          </p:cNvPr>
          <p:cNvSpPr/>
          <p:nvPr/>
        </p:nvSpPr>
        <p:spPr>
          <a:xfrm>
            <a:off x="4538781" y="1683914"/>
            <a:ext cx="2840083" cy="3135577"/>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59" name="Oval 58">
            <a:extLst>
              <a:ext uri="{FF2B5EF4-FFF2-40B4-BE49-F238E27FC236}">
                <a16:creationId xmlns:a16="http://schemas.microsoft.com/office/drawing/2014/main" id="{ACB47FFF-71AC-5F9B-5E60-709CFD5DD491}"/>
              </a:ext>
            </a:extLst>
          </p:cNvPr>
          <p:cNvSpPr/>
          <p:nvPr/>
        </p:nvSpPr>
        <p:spPr>
          <a:xfrm>
            <a:off x="4720738" y="1878323"/>
            <a:ext cx="2599125" cy="2293539"/>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60" name="Oval 59">
            <a:extLst>
              <a:ext uri="{FF2B5EF4-FFF2-40B4-BE49-F238E27FC236}">
                <a16:creationId xmlns:a16="http://schemas.microsoft.com/office/drawing/2014/main" id="{4DE36AD0-F9E3-E909-433A-5CFAFEF43C37}"/>
              </a:ext>
            </a:extLst>
          </p:cNvPr>
          <p:cNvSpPr/>
          <p:nvPr/>
        </p:nvSpPr>
        <p:spPr>
          <a:xfrm>
            <a:off x="4186463" y="1864602"/>
            <a:ext cx="3667673" cy="2801136"/>
          </a:xfrm>
          <a:prstGeom prst="ellipse">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dirty="0"/>
          </a:p>
        </p:txBody>
      </p:sp>
      <p:sp>
        <p:nvSpPr>
          <p:cNvPr id="61" name="Oval 60">
            <a:extLst>
              <a:ext uri="{FF2B5EF4-FFF2-40B4-BE49-F238E27FC236}">
                <a16:creationId xmlns:a16="http://schemas.microsoft.com/office/drawing/2014/main" id="{F610008F-5655-459E-B465-C21D4BB42B97}"/>
              </a:ext>
            </a:extLst>
          </p:cNvPr>
          <p:cNvSpPr/>
          <p:nvPr/>
        </p:nvSpPr>
        <p:spPr>
          <a:xfrm>
            <a:off x="4285996" y="1679838"/>
            <a:ext cx="3345649" cy="3008981"/>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62" name="Oval 61">
            <a:extLst>
              <a:ext uri="{FF2B5EF4-FFF2-40B4-BE49-F238E27FC236}">
                <a16:creationId xmlns:a16="http://schemas.microsoft.com/office/drawing/2014/main" id="{10724E3D-FA13-A505-A07C-48CDC68BB323}"/>
              </a:ext>
            </a:extLst>
          </p:cNvPr>
          <p:cNvSpPr/>
          <p:nvPr/>
        </p:nvSpPr>
        <p:spPr>
          <a:xfrm>
            <a:off x="5097760" y="2462905"/>
            <a:ext cx="1722120" cy="1630678"/>
          </a:xfrm>
          <a:prstGeom prst="ellipse">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dirty="0"/>
          </a:p>
        </p:txBody>
      </p:sp>
      <p:sp>
        <p:nvSpPr>
          <p:cNvPr id="63" name="Oval 62">
            <a:extLst>
              <a:ext uri="{FF2B5EF4-FFF2-40B4-BE49-F238E27FC236}">
                <a16:creationId xmlns:a16="http://schemas.microsoft.com/office/drawing/2014/main" id="{E1D859A7-AB1D-7543-3D8E-47DDA595EDFD}"/>
              </a:ext>
            </a:extLst>
          </p:cNvPr>
          <p:cNvSpPr/>
          <p:nvPr/>
        </p:nvSpPr>
        <p:spPr>
          <a:xfrm>
            <a:off x="5209600" y="2567523"/>
            <a:ext cx="1433400" cy="1404801"/>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64" name="Oval 63">
            <a:extLst>
              <a:ext uri="{FF2B5EF4-FFF2-40B4-BE49-F238E27FC236}">
                <a16:creationId xmlns:a16="http://schemas.microsoft.com/office/drawing/2014/main" id="{8D064FBC-DF22-B491-58F7-BB1E5A21408B}"/>
              </a:ext>
            </a:extLst>
          </p:cNvPr>
          <p:cNvSpPr/>
          <p:nvPr/>
        </p:nvSpPr>
        <p:spPr>
          <a:xfrm>
            <a:off x="5288805" y="2649998"/>
            <a:ext cx="1306312" cy="1302864"/>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65" name="Oval 64">
            <a:extLst>
              <a:ext uri="{FF2B5EF4-FFF2-40B4-BE49-F238E27FC236}">
                <a16:creationId xmlns:a16="http://schemas.microsoft.com/office/drawing/2014/main" id="{2A8AB775-CCE4-9F30-2248-29668672893C}"/>
              </a:ext>
            </a:extLst>
          </p:cNvPr>
          <p:cNvSpPr/>
          <p:nvPr/>
        </p:nvSpPr>
        <p:spPr>
          <a:xfrm>
            <a:off x="5529174" y="2774416"/>
            <a:ext cx="982255" cy="1003189"/>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66" name="Oval 65">
            <a:extLst>
              <a:ext uri="{FF2B5EF4-FFF2-40B4-BE49-F238E27FC236}">
                <a16:creationId xmlns:a16="http://schemas.microsoft.com/office/drawing/2014/main" id="{EE846801-B5AF-CD9B-4A3F-8FA5F921A12F}"/>
              </a:ext>
            </a:extLst>
          </p:cNvPr>
          <p:cNvSpPr/>
          <p:nvPr/>
        </p:nvSpPr>
        <p:spPr>
          <a:xfrm>
            <a:off x="5120569" y="2577061"/>
            <a:ext cx="1676505" cy="1297673"/>
          </a:xfrm>
          <a:prstGeom prst="ellipse">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67" name="Oval 66">
            <a:extLst>
              <a:ext uri="{FF2B5EF4-FFF2-40B4-BE49-F238E27FC236}">
                <a16:creationId xmlns:a16="http://schemas.microsoft.com/office/drawing/2014/main" id="{26817E8E-BCA5-3115-C026-71B20A9BD8F9}"/>
              </a:ext>
            </a:extLst>
          </p:cNvPr>
          <p:cNvSpPr/>
          <p:nvPr/>
        </p:nvSpPr>
        <p:spPr>
          <a:xfrm>
            <a:off x="3942037" y="1533321"/>
            <a:ext cx="3968526" cy="3764877"/>
          </a:xfrm>
          <a:prstGeom prst="ellipse">
            <a:avLst/>
          </a:prstGeom>
          <a:solidFill>
            <a:schemeClr val="tx2">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Tree>
    <p:extLst>
      <p:ext uri="{BB962C8B-B14F-4D97-AF65-F5344CB8AC3E}">
        <p14:creationId xmlns:p14="http://schemas.microsoft.com/office/powerpoint/2010/main" val="285637703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785E9-45B7-6FEC-84B4-EA9B86668555}"/>
            </a:ext>
          </a:extLst>
        </p:cNvPr>
        <p:cNvGrpSpPr/>
        <p:nvPr/>
      </p:nvGrpSpPr>
      <p:grpSpPr>
        <a:xfrm>
          <a:off x="0" y="0"/>
          <a:ext cx="0" cy="0"/>
          <a:chOff x="0" y="0"/>
          <a:chExt cx="0" cy="0"/>
        </a:xfrm>
      </p:grpSpPr>
      <p:sp>
        <p:nvSpPr>
          <p:cNvPr id="6" name="Oval 5">
            <a:extLst>
              <a:ext uri="{FF2B5EF4-FFF2-40B4-BE49-F238E27FC236}">
                <a16:creationId xmlns:a16="http://schemas.microsoft.com/office/drawing/2014/main" id="{55631E7B-685C-35B1-FCE4-C2A2ED866FFF}"/>
              </a:ext>
            </a:extLst>
          </p:cNvPr>
          <p:cNvSpPr/>
          <p:nvPr/>
        </p:nvSpPr>
        <p:spPr>
          <a:xfrm>
            <a:off x="286039" y="830934"/>
            <a:ext cx="1722120" cy="1630678"/>
          </a:xfrm>
          <a:prstGeom prst="ellipse">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14" name="Oval 13">
            <a:extLst>
              <a:ext uri="{FF2B5EF4-FFF2-40B4-BE49-F238E27FC236}">
                <a16:creationId xmlns:a16="http://schemas.microsoft.com/office/drawing/2014/main" id="{40FA65DF-39F9-661A-ED65-8BF159A627D8}"/>
              </a:ext>
            </a:extLst>
          </p:cNvPr>
          <p:cNvSpPr/>
          <p:nvPr/>
        </p:nvSpPr>
        <p:spPr>
          <a:xfrm>
            <a:off x="449691" y="4667091"/>
            <a:ext cx="1990500" cy="1952530"/>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24" name="Oval 23">
            <a:extLst>
              <a:ext uri="{FF2B5EF4-FFF2-40B4-BE49-F238E27FC236}">
                <a16:creationId xmlns:a16="http://schemas.microsoft.com/office/drawing/2014/main" id="{9373BFB6-EA3D-B7EF-99D4-A4FA958A6AD5}"/>
              </a:ext>
            </a:extLst>
          </p:cNvPr>
          <p:cNvSpPr/>
          <p:nvPr/>
        </p:nvSpPr>
        <p:spPr>
          <a:xfrm>
            <a:off x="2408254" y="1141917"/>
            <a:ext cx="2840083" cy="3135577"/>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25" name="TextBox 24">
            <a:extLst>
              <a:ext uri="{FF2B5EF4-FFF2-40B4-BE49-F238E27FC236}">
                <a16:creationId xmlns:a16="http://schemas.microsoft.com/office/drawing/2014/main" id="{7F92E211-C4FA-6792-EC75-0C909BBE8A2A}"/>
              </a:ext>
            </a:extLst>
          </p:cNvPr>
          <p:cNvSpPr txBox="1"/>
          <p:nvPr/>
        </p:nvSpPr>
        <p:spPr>
          <a:xfrm>
            <a:off x="3059845" y="1640486"/>
            <a:ext cx="1711217" cy="2246768"/>
          </a:xfrm>
          <a:prstGeom prst="rect">
            <a:avLst/>
          </a:prstGeom>
          <a:solidFill>
            <a:schemeClr val="accent4">
              <a:lumMod val="60000"/>
              <a:lumOff val="40000"/>
            </a:schemeClr>
          </a:solidFill>
        </p:spPr>
        <p:txBody>
          <a:bodyPr wrap="square" rtlCol="0">
            <a:spAutoFit/>
          </a:bodyPr>
          <a:lstStyle/>
          <a:p>
            <a:r>
              <a:rPr lang="en-US" sz="2000" dirty="0">
                <a:solidFill>
                  <a:schemeClr val="accent4">
                    <a:lumMod val="50000"/>
                  </a:schemeClr>
                </a:solidFill>
              </a:rPr>
              <a:t>Demonstrates how rigorous preprocessing elevates simple models to high accuracy.</a:t>
            </a:r>
            <a:endParaRPr lang="LID4096" dirty="0">
              <a:solidFill>
                <a:schemeClr val="accent4">
                  <a:lumMod val="50000"/>
                </a:schemeClr>
              </a:solidFill>
            </a:endParaRPr>
          </a:p>
        </p:txBody>
      </p:sp>
      <p:sp>
        <p:nvSpPr>
          <p:cNvPr id="27" name="Oval 26">
            <a:extLst>
              <a:ext uri="{FF2B5EF4-FFF2-40B4-BE49-F238E27FC236}">
                <a16:creationId xmlns:a16="http://schemas.microsoft.com/office/drawing/2014/main" id="{00B46956-BCF5-43F7-39FB-463A418E6A39}"/>
              </a:ext>
            </a:extLst>
          </p:cNvPr>
          <p:cNvSpPr/>
          <p:nvPr/>
        </p:nvSpPr>
        <p:spPr>
          <a:xfrm>
            <a:off x="3550021" y="4446273"/>
            <a:ext cx="2599125" cy="2293539"/>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28" name="TextBox 27">
            <a:extLst>
              <a:ext uri="{FF2B5EF4-FFF2-40B4-BE49-F238E27FC236}">
                <a16:creationId xmlns:a16="http://schemas.microsoft.com/office/drawing/2014/main" id="{F1C779B4-DF0F-38B2-DC59-E5F0F9D5A332}"/>
              </a:ext>
            </a:extLst>
          </p:cNvPr>
          <p:cNvSpPr txBox="1"/>
          <p:nvPr/>
        </p:nvSpPr>
        <p:spPr>
          <a:xfrm>
            <a:off x="3976460" y="4777434"/>
            <a:ext cx="2013824" cy="1631216"/>
          </a:xfrm>
          <a:prstGeom prst="rect">
            <a:avLst/>
          </a:prstGeom>
          <a:noFill/>
        </p:spPr>
        <p:txBody>
          <a:bodyPr wrap="square" rtlCol="0">
            <a:spAutoFit/>
          </a:bodyPr>
          <a:lstStyle/>
          <a:p>
            <a:r>
              <a:rPr lang="en-US" sz="2000" b="1" dirty="0">
                <a:solidFill>
                  <a:schemeClr val="tx2">
                    <a:lumMod val="25000"/>
                    <a:lumOff val="75000"/>
                  </a:schemeClr>
                </a:solidFill>
              </a:rPr>
              <a:t>Limitations Noted</a:t>
            </a:r>
            <a:r>
              <a:rPr lang="en-US" sz="2000" dirty="0">
                <a:solidFill>
                  <a:schemeClr val="tx2">
                    <a:lumMod val="25000"/>
                    <a:lumOff val="75000"/>
                  </a:schemeClr>
                </a:solidFill>
              </a:rPr>
              <a:t>: dataset homogeneity and lack of external validation.</a:t>
            </a:r>
            <a:endParaRPr lang="LID4096" dirty="0">
              <a:solidFill>
                <a:schemeClr val="tx2">
                  <a:lumMod val="25000"/>
                  <a:lumOff val="75000"/>
                </a:schemeClr>
              </a:solidFill>
            </a:endParaRPr>
          </a:p>
        </p:txBody>
      </p:sp>
      <p:sp>
        <p:nvSpPr>
          <p:cNvPr id="30" name="Oval 29">
            <a:extLst>
              <a:ext uri="{FF2B5EF4-FFF2-40B4-BE49-F238E27FC236}">
                <a16:creationId xmlns:a16="http://schemas.microsoft.com/office/drawing/2014/main" id="{9A40123F-297C-19F2-DF7C-D62F0B3556A8}"/>
              </a:ext>
            </a:extLst>
          </p:cNvPr>
          <p:cNvSpPr/>
          <p:nvPr/>
        </p:nvSpPr>
        <p:spPr>
          <a:xfrm>
            <a:off x="6198710" y="796417"/>
            <a:ext cx="3667673" cy="2801136"/>
          </a:xfrm>
          <a:prstGeom prst="ellipse">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dirty="0"/>
          </a:p>
        </p:txBody>
      </p:sp>
      <p:sp>
        <p:nvSpPr>
          <p:cNvPr id="31" name="TextBox 30">
            <a:extLst>
              <a:ext uri="{FF2B5EF4-FFF2-40B4-BE49-F238E27FC236}">
                <a16:creationId xmlns:a16="http://schemas.microsoft.com/office/drawing/2014/main" id="{46FAD6FE-BB85-0F4C-4E43-F04495A046B1}"/>
              </a:ext>
            </a:extLst>
          </p:cNvPr>
          <p:cNvSpPr txBox="1"/>
          <p:nvPr/>
        </p:nvSpPr>
        <p:spPr>
          <a:xfrm>
            <a:off x="6680853" y="1565480"/>
            <a:ext cx="2870144" cy="1323439"/>
          </a:xfrm>
          <a:prstGeom prst="rect">
            <a:avLst/>
          </a:prstGeom>
          <a:solidFill>
            <a:schemeClr val="accent4">
              <a:lumMod val="40000"/>
              <a:lumOff val="60000"/>
            </a:schemeClr>
          </a:solidFill>
        </p:spPr>
        <p:txBody>
          <a:bodyPr wrap="square" rtlCol="0">
            <a:spAutoFit/>
          </a:bodyPr>
          <a:lstStyle/>
          <a:p>
            <a:r>
              <a:rPr lang="en-US" sz="2000" dirty="0">
                <a:solidFill>
                  <a:schemeClr val="tx2">
                    <a:lumMod val="90000"/>
                    <a:lumOff val="10000"/>
                  </a:schemeClr>
                </a:solidFill>
              </a:rPr>
              <a:t>Our model’s performance is consistent with prior work (e.g., Mørch et al., 2018; </a:t>
            </a:r>
            <a:r>
              <a:rPr lang="en-GB" sz="2000" dirty="0" err="1"/>
              <a:t>Orrù</a:t>
            </a:r>
            <a:r>
              <a:rPr lang="en-GB" sz="2000" dirty="0"/>
              <a:t> et al., 2020)</a:t>
            </a:r>
            <a:r>
              <a:rPr lang="en-US" sz="2000" dirty="0">
                <a:solidFill>
                  <a:schemeClr val="tx2">
                    <a:lumMod val="90000"/>
                    <a:lumOff val="10000"/>
                  </a:schemeClr>
                </a:solidFill>
              </a:rPr>
              <a:t> </a:t>
            </a:r>
            <a:endParaRPr lang="LID4096" dirty="0">
              <a:solidFill>
                <a:schemeClr val="tx2">
                  <a:lumMod val="90000"/>
                  <a:lumOff val="10000"/>
                </a:schemeClr>
              </a:solidFill>
            </a:endParaRPr>
          </a:p>
        </p:txBody>
      </p:sp>
      <p:sp>
        <p:nvSpPr>
          <p:cNvPr id="33" name="Oval 32">
            <a:extLst>
              <a:ext uri="{FF2B5EF4-FFF2-40B4-BE49-F238E27FC236}">
                <a16:creationId xmlns:a16="http://schemas.microsoft.com/office/drawing/2014/main" id="{508E9D94-4B83-2771-A384-FAB4B7DB8D58}"/>
              </a:ext>
            </a:extLst>
          </p:cNvPr>
          <p:cNvSpPr/>
          <p:nvPr/>
        </p:nvSpPr>
        <p:spPr>
          <a:xfrm>
            <a:off x="8236276" y="3625205"/>
            <a:ext cx="3345649" cy="3008981"/>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34" name="TextBox 33">
            <a:extLst>
              <a:ext uri="{FF2B5EF4-FFF2-40B4-BE49-F238E27FC236}">
                <a16:creationId xmlns:a16="http://schemas.microsoft.com/office/drawing/2014/main" id="{D8B8D100-51C4-3258-4AEB-F4985F4A913D}"/>
              </a:ext>
            </a:extLst>
          </p:cNvPr>
          <p:cNvSpPr txBox="1"/>
          <p:nvPr/>
        </p:nvSpPr>
        <p:spPr>
          <a:xfrm>
            <a:off x="8684058" y="4185202"/>
            <a:ext cx="2450084" cy="1938992"/>
          </a:xfrm>
          <a:prstGeom prst="rect">
            <a:avLst/>
          </a:prstGeom>
          <a:solidFill>
            <a:schemeClr val="accent4">
              <a:lumMod val="60000"/>
              <a:lumOff val="40000"/>
            </a:schemeClr>
          </a:solidFill>
        </p:spPr>
        <p:txBody>
          <a:bodyPr wrap="square" rtlCol="0">
            <a:spAutoFit/>
          </a:bodyPr>
          <a:lstStyle/>
          <a:p>
            <a:r>
              <a:rPr lang="en-US" sz="2000" b="1" dirty="0">
                <a:solidFill>
                  <a:schemeClr val="tx2">
                    <a:lumMod val="90000"/>
                    <a:lumOff val="10000"/>
                  </a:schemeClr>
                </a:solidFill>
              </a:rPr>
              <a:t>Implications:</a:t>
            </a:r>
            <a:r>
              <a:rPr lang="en-US" sz="2000" dirty="0">
                <a:solidFill>
                  <a:schemeClr val="tx2">
                    <a:lumMod val="90000"/>
                    <a:lumOff val="10000"/>
                  </a:schemeClr>
                </a:solidFill>
              </a:rPr>
              <a:t>  Supports integration of data-driven tools in clinical practice with interpretable outputs.</a:t>
            </a:r>
            <a:endParaRPr lang="LID4096" dirty="0">
              <a:solidFill>
                <a:schemeClr val="tx2">
                  <a:lumMod val="90000"/>
                  <a:lumOff val="10000"/>
                </a:schemeClr>
              </a:solidFill>
            </a:endParaRPr>
          </a:p>
        </p:txBody>
      </p:sp>
      <p:sp>
        <p:nvSpPr>
          <p:cNvPr id="36" name="Oval 35">
            <a:extLst>
              <a:ext uri="{FF2B5EF4-FFF2-40B4-BE49-F238E27FC236}">
                <a16:creationId xmlns:a16="http://schemas.microsoft.com/office/drawing/2014/main" id="{A6FD9A39-8BEF-3F6B-76C2-A3B90DBD7349}"/>
              </a:ext>
            </a:extLst>
          </p:cNvPr>
          <p:cNvSpPr/>
          <p:nvPr/>
        </p:nvSpPr>
        <p:spPr>
          <a:xfrm>
            <a:off x="10033140" y="712099"/>
            <a:ext cx="1722120" cy="1630678"/>
          </a:xfrm>
          <a:prstGeom prst="ellipse">
            <a:avLst/>
          </a:prstGeom>
          <a:solidFill>
            <a:schemeClr val="accent4">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dirty="0"/>
          </a:p>
        </p:txBody>
      </p:sp>
      <p:sp>
        <p:nvSpPr>
          <p:cNvPr id="43" name="Oval 42">
            <a:extLst>
              <a:ext uri="{FF2B5EF4-FFF2-40B4-BE49-F238E27FC236}">
                <a16:creationId xmlns:a16="http://schemas.microsoft.com/office/drawing/2014/main" id="{34921F0F-5144-F043-A954-5C9A3673BC09}"/>
              </a:ext>
            </a:extLst>
          </p:cNvPr>
          <p:cNvSpPr/>
          <p:nvPr/>
        </p:nvSpPr>
        <p:spPr>
          <a:xfrm>
            <a:off x="865851" y="2872693"/>
            <a:ext cx="1433400" cy="1404801"/>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45" name="Oval 44">
            <a:extLst>
              <a:ext uri="{FF2B5EF4-FFF2-40B4-BE49-F238E27FC236}">
                <a16:creationId xmlns:a16="http://schemas.microsoft.com/office/drawing/2014/main" id="{CD7A2CEE-61C9-2FB2-62A2-FC33B31E70EC}"/>
              </a:ext>
            </a:extLst>
          </p:cNvPr>
          <p:cNvSpPr/>
          <p:nvPr/>
        </p:nvSpPr>
        <p:spPr>
          <a:xfrm>
            <a:off x="6706073" y="5057223"/>
            <a:ext cx="1306312" cy="1302864"/>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47" name="Oval 46">
            <a:extLst>
              <a:ext uri="{FF2B5EF4-FFF2-40B4-BE49-F238E27FC236}">
                <a16:creationId xmlns:a16="http://schemas.microsoft.com/office/drawing/2014/main" id="{28DA97C9-E5FF-DFAF-8CE7-4C6162FE5A13}"/>
              </a:ext>
            </a:extLst>
          </p:cNvPr>
          <p:cNvSpPr/>
          <p:nvPr/>
        </p:nvSpPr>
        <p:spPr>
          <a:xfrm>
            <a:off x="10151887" y="2571904"/>
            <a:ext cx="982255" cy="1003189"/>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49" name="Oval 48">
            <a:extLst>
              <a:ext uri="{FF2B5EF4-FFF2-40B4-BE49-F238E27FC236}">
                <a16:creationId xmlns:a16="http://schemas.microsoft.com/office/drawing/2014/main" id="{D5B50DD9-94EB-B7DE-0C4F-427DFDC09D9C}"/>
              </a:ext>
            </a:extLst>
          </p:cNvPr>
          <p:cNvSpPr/>
          <p:nvPr/>
        </p:nvSpPr>
        <p:spPr>
          <a:xfrm>
            <a:off x="5218844" y="3236968"/>
            <a:ext cx="1676505" cy="1297673"/>
          </a:xfrm>
          <a:prstGeom prst="ellipse">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10" name="Oval 9">
            <a:extLst>
              <a:ext uri="{FF2B5EF4-FFF2-40B4-BE49-F238E27FC236}">
                <a16:creationId xmlns:a16="http://schemas.microsoft.com/office/drawing/2014/main" id="{A1645999-CC4C-A677-0E49-EE05EF4D9A33}"/>
              </a:ext>
            </a:extLst>
          </p:cNvPr>
          <p:cNvSpPr/>
          <p:nvPr/>
        </p:nvSpPr>
        <p:spPr>
          <a:xfrm>
            <a:off x="5139440" y="1031797"/>
            <a:ext cx="982255" cy="1003189"/>
          </a:xfrm>
          <a:prstGeom prst="ellipse">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ID4096"/>
          </a:p>
        </p:txBody>
      </p:sp>
      <p:grpSp>
        <p:nvGrpSpPr>
          <p:cNvPr id="13" name="Group 12">
            <a:extLst>
              <a:ext uri="{FF2B5EF4-FFF2-40B4-BE49-F238E27FC236}">
                <a16:creationId xmlns:a16="http://schemas.microsoft.com/office/drawing/2014/main" id="{AB8F24D9-3C57-5C84-3435-4D47CFBF4C51}"/>
              </a:ext>
            </a:extLst>
          </p:cNvPr>
          <p:cNvGrpSpPr/>
          <p:nvPr/>
        </p:nvGrpSpPr>
        <p:grpSpPr>
          <a:xfrm>
            <a:off x="299484" y="358631"/>
            <a:ext cx="11644423" cy="507586"/>
            <a:chOff x="299484" y="358631"/>
            <a:chExt cx="11644423" cy="507586"/>
          </a:xfrm>
        </p:grpSpPr>
        <p:cxnSp>
          <p:nvCxnSpPr>
            <p:cNvPr id="9" name="Straight Connector 8">
              <a:extLst>
                <a:ext uri="{FF2B5EF4-FFF2-40B4-BE49-F238E27FC236}">
                  <a16:creationId xmlns:a16="http://schemas.microsoft.com/office/drawing/2014/main" id="{921818C2-57CA-291F-4D9A-5AC437B66B80}"/>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35" name="Group 34">
              <a:extLst>
                <a:ext uri="{FF2B5EF4-FFF2-40B4-BE49-F238E27FC236}">
                  <a16:creationId xmlns:a16="http://schemas.microsoft.com/office/drawing/2014/main" id="{DD93BDFF-77ED-6D15-A633-CFBE52D191A2}"/>
                </a:ext>
              </a:extLst>
            </p:cNvPr>
            <p:cNvGrpSpPr/>
            <p:nvPr/>
          </p:nvGrpSpPr>
          <p:grpSpPr>
            <a:xfrm>
              <a:off x="5803303" y="358631"/>
              <a:ext cx="507586" cy="507586"/>
              <a:chOff x="6835197" y="4535801"/>
              <a:chExt cx="507586" cy="507586"/>
            </a:xfrm>
          </p:grpSpPr>
          <p:sp useBgFill="1">
            <p:nvSpPr>
              <p:cNvPr id="38" name="Oval 37">
                <a:extLst>
                  <a:ext uri="{FF2B5EF4-FFF2-40B4-BE49-F238E27FC236}">
                    <a16:creationId xmlns:a16="http://schemas.microsoft.com/office/drawing/2014/main" id="{A0766869-2106-A191-C52A-3CD91AFF0C6C}"/>
                  </a:ext>
                </a:extLst>
              </p:cNvPr>
              <p:cNvSpPr/>
              <p:nvPr/>
            </p:nvSpPr>
            <p:spPr>
              <a:xfrm>
                <a:off x="6835197" y="453580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9" name="Graphic 38">
                <a:extLst>
                  <a:ext uri="{FF2B5EF4-FFF2-40B4-BE49-F238E27FC236}">
                    <a16:creationId xmlns:a16="http://schemas.microsoft.com/office/drawing/2014/main" id="{8A59D800-57C6-ACBF-D9E5-3F7EDD5E53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64217" y="4667369"/>
                <a:ext cx="256032" cy="256032"/>
              </a:xfrm>
              <a:prstGeom prst="rect">
                <a:avLst/>
              </a:prstGeom>
            </p:spPr>
          </p:pic>
        </p:grpSp>
      </p:grpSp>
      <p:sp>
        <p:nvSpPr>
          <p:cNvPr id="40" name="TextBox 39">
            <a:extLst>
              <a:ext uri="{FF2B5EF4-FFF2-40B4-BE49-F238E27FC236}">
                <a16:creationId xmlns:a16="http://schemas.microsoft.com/office/drawing/2014/main" id="{3C878066-2B57-64AE-1765-5188DE6771F0}"/>
              </a:ext>
            </a:extLst>
          </p:cNvPr>
          <p:cNvSpPr txBox="1"/>
          <p:nvPr/>
        </p:nvSpPr>
        <p:spPr>
          <a:xfrm>
            <a:off x="113755" y="371869"/>
            <a:ext cx="1504192"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Discussions</a:t>
            </a:r>
          </a:p>
        </p:txBody>
      </p:sp>
    </p:spTree>
    <p:extLst>
      <p:ext uri="{BB962C8B-B14F-4D97-AF65-F5344CB8AC3E}">
        <p14:creationId xmlns:p14="http://schemas.microsoft.com/office/powerpoint/2010/main" val="361409972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randombar(horizontal)">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randombar(horizontal)">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randombar(horizontal)">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grpId="0"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randombar(horizontal)">
                                      <p:cBhvr>
                                        <p:cTn id="2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p:bldP spid="31" grpId="0" animBg="1"/>
      <p:bldP spid="3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40348A4-0996-F30E-B712-42D5397924F2}"/>
              </a:ext>
            </a:extLst>
          </p:cNvPr>
          <p:cNvSpPr txBox="1"/>
          <p:nvPr/>
        </p:nvSpPr>
        <p:spPr>
          <a:xfrm>
            <a:off x="837821" y="1187315"/>
            <a:ext cx="10450010" cy="4953664"/>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Recommendations</a:t>
            </a:r>
          </a:p>
        </p:txBody>
      </p:sp>
      <p:sp>
        <p:nvSpPr>
          <p:cNvPr id="4" name="TextBox 3">
            <a:extLst>
              <a:ext uri="{FF2B5EF4-FFF2-40B4-BE49-F238E27FC236}">
                <a16:creationId xmlns:a16="http://schemas.microsoft.com/office/drawing/2014/main" id="{FE0689E9-C03A-FBD5-01BB-4DCC85C05948}"/>
              </a:ext>
            </a:extLst>
          </p:cNvPr>
          <p:cNvSpPr txBox="1"/>
          <p:nvPr/>
        </p:nvSpPr>
        <p:spPr>
          <a:xfrm>
            <a:off x="834833" y="8329642"/>
            <a:ext cx="11018520" cy="5201424"/>
          </a:xfrm>
          <a:prstGeom prst="rect">
            <a:avLst/>
          </a:prstGeom>
          <a:noFill/>
        </p:spPr>
        <p:txBody>
          <a:bodyPr wrap="square" rtlCol="0">
            <a:spAutoFit/>
          </a:bodyPr>
          <a:lstStyle/>
          <a:p>
            <a:r>
              <a:rPr lang="en-US" sz="4000" dirty="0">
                <a:solidFill>
                  <a:schemeClr val="bg1"/>
                </a:solidFill>
              </a:rPr>
              <a:t>Recommendations: </a:t>
            </a:r>
          </a:p>
          <a:p>
            <a:pPr marL="457200" indent="-457200">
              <a:buFont typeface="Arial" panose="020B0604020202020204" pitchFamily="34" charset="0"/>
              <a:buChar char="•"/>
            </a:pPr>
            <a:r>
              <a:rPr lang="en-US" sz="2800" dirty="0">
                <a:solidFill>
                  <a:schemeClr val="bg1"/>
                </a:solidFill>
              </a:rPr>
              <a:t>Integrate interpretable models into clinical workflows. </a:t>
            </a:r>
          </a:p>
          <a:p>
            <a:pPr marL="457200" indent="-457200">
              <a:buFont typeface="Arial" panose="020B0604020202020204" pitchFamily="34" charset="0"/>
              <a:buChar char="•"/>
            </a:pPr>
            <a:r>
              <a:rPr lang="en-US" sz="2800" dirty="0">
                <a:solidFill>
                  <a:schemeClr val="bg1"/>
                </a:solidFill>
              </a:rPr>
              <a:t>Encourage collaborative data sharing for more diverse datasets.</a:t>
            </a:r>
          </a:p>
          <a:p>
            <a:endParaRPr lang="en-US" sz="2800" dirty="0">
              <a:solidFill>
                <a:schemeClr val="bg1"/>
              </a:solidFill>
            </a:endParaRPr>
          </a:p>
          <a:p>
            <a:r>
              <a:rPr lang="en-US" sz="4000" dirty="0">
                <a:solidFill>
                  <a:schemeClr val="bg1"/>
                </a:solidFill>
              </a:rPr>
              <a:t>Future Work:</a:t>
            </a:r>
          </a:p>
          <a:p>
            <a:pPr marL="457200" indent="-457200">
              <a:buFont typeface="Arial" panose="020B0604020202020204" pitchFamily="34" charset="0"/>
              <a:buChar char="•"/>
            </a:pPr>
            <a:r>
              <a:rPr lang="en-US" sz="2800" dirty="0">
                <a:solidFill>
                  <a:schemeClr val="bg1"/>
                </a:solidFill>
              </a:rPr>
              <a:t>Perform external validations across different cohorts.</a:t>
            </a:r>
          </a:p>
          <a:p>
            <a:pPr marL="457200" indent="-457200">
              <a:buFont typeface="Arial" panose="020B0604020202020204" pitchFamily="34" charset="0"/>
              <a:buChar char="•"/>
            </a:pPr>
            <a:r>
              <a:rPr lang="en-US" sz="2800" dirty="0">
                <a:solidFill>
                  <a:schemeClr val="bg1"/>
                </a:solidFill>
              </a:rPr>
              <a:t>Explore advanced or ensemble models while maintaining interpretability.</a:t>
            </a:r>
          </a:p>
          <a:p>
            <a:pPr marL="457200" indent="-457200">
              <a:buFont typeface="Arial" panose="020B0604020202020204" pitchFamily="34" charset="0"/>
              <a:buChar char="•"/>
            </a:pPr>
            <a:r>
              <a:rPr lang="en-US" sz="2800" dirty="0">
                <a:solidFill>
                  <a:schemeClr val="bg1"/>
                </a:solidFill>
              </a:rPr>
              <a:t>Incorporate Explainable AI (XAI) methods for deeper insight.</a:t>
            </a:r>
          </a:p>
          <a:p>
            <a:endParaRPr lang="en-US" sz="2800" dirty="0">
              <a:solidFill>
                <a:schemeClr val="bg1"/>
              </a:solidFill>
            </a:endParaRPr>
          </a:p>
          <a:p>
            <a:endParaRPr lang="en-US" sz="2800" dirty="0">
              <a:solidFill>
                <a:schemeClr val="bg1"/>
              </a:solidFill>
            </a:endParaRPr>
          </a:p>
        </p:txBody>
      </p:sp>
      <p:grpSp>
        <p:nvGrpSpPr>
          <p:cNvPr id="5" name="Group 4">
            <a:extLst>
              <a:ext uri="{FF2B5EF4-FFF2-40B4-BE49-F238E27FC236}">
                <a16:creationId xmlns:a16="http://schemas.microsoft.com/office/drawing/2014/main" id="{35C3FE39-97C8-3DEF-8B87-975C13665599}"/>
              </a:ext>
            </a:extLst>
          </p:cNvPr>
          <p:cNvGrpSpPr/>
          <p:nvPr/>
        </p:nvGrpSpPr>
        <p:grpSpPr>
          <a:xfrm>
            <a:off x="547577" y="7532786"/>
            <a:ext cx="11644423" cy="507586"/>
            <a:chOff x="299484" y="369986"/>
            <a:chExt cx="11644423" cy="507586"/>
          </a:xfrm>
        </p:grpSpPr>
        <p:cxnSp>
          <p:nvCxnSpPr>
            <p:cNvPr id="6" name="Straight Connector 5">
              <a:extLst>
                <a:ext uri="{FF2B5EF4-FFF2-40B4-BE49-F238E27FC236}">
                  <a16:creationId xmlns:a16="http://schemas.microsoft.com/office/drawing/2014/main" id="{C866AA1C-13E8-D74B-8521-D1A6138F6F6D}"/>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13" name="Group 12">
              <a:extLst>
                <a:ext uri="{FF2B5EF4-FFF2-40B4-BE49-F238E27FC236}">
                  <a16:creationId xmlns:a16="http://schemas.microsoft.com/office/drawing/2014/main" id="{9FCB156F-4AA2-E8E4-E76C-0E1793CF3533}"/>
                </a:ext>
              </a:extLst>
            </p:cNvPr>
            <p:cNvGrpSpPr/>
            <p:nvPr/>
          </p:nvGrpSpPr>
          <p:grpSpPr>
            <a:xfrm>
              <a:off x="5842207" y="369986"/>
              <a:ext cx="507586" cy="507586"/>
              <a:chOff x="7770322" y="1861571"/>
              <a:chExt cx="507586" cy="507586"/>
            </a:xfrm>
          </p:grpSpPr>
          <p:sp useBgFill="1">
            <p:nvSpPr>
              <p:cNvPr id="14" name="Oval 13">
                <a:extLst>
                  <a:ext uri="{FF2B5EF4-FFF2-40B4-BE49-F238E27FC236}">
                    <a16:creationId xmlns:a16="http://schemas.microsoft.com/office/drawing/2014/main" id="{9C285349-02B4-A070-51B0-DE4D98D1E5DD}"/>
                  </a:ext>
                </a:extLst>
              </p:cNvPr>
              <p:cNvSpPr/>
              <p:nvPr/>
            </p:nvSpPr>
            <p:spPr>
              <a:xfrm>
                <a:off x="7770322" y="186157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5" name="Graphic 14">
                <a:extLst>
                  <a:ext uri="{FF2B5EF4-FFF2-40B4-BE49-F238E27FC236}">
                    <a16:creationId xmlns:a16="http://schemas.microsoft.com/office/drawing/2014/main" id="{62AA9672-221D-A4BE-3E7B-45C7A511E6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98115" y="1989364"/>
                <a:ext cx="252000" cy="252000"/>
              </a:xfrm>
              <a:prstGeom prst="rect">
                <a:avLst/>
              </a:prstGeom>
            </p:spPr>
          </p:pic>
        </p:grpSp>
      </p:grpSp>
    </p:spTree>
    <p:extLst>
      <p:ext uri="{BB962C8B-B14F-4D97-AF65-F5344CB8AC3E}">
        <p14:creationId xmlns:p14="http://schemas.microsoft.com/office/powerpoint/2010/main" val="271102743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8661F-0405-4936-C2F9-96B84BE1DBA3}"/>
            </a:ext>
          </a:extLst>
        </p:cNvPr>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580CE106-2EE8-81C5-B58B-601AD8F953E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3" name="TextBox 12">
            <a:extLst>
              <a:ext uri="{FF2B5EF4-FFF2-40B4-BE49-F238E27FC236}">
                <a16:creationId xmlns:a16="http://schemas.microsoft.com/office/drawing/2014/main" id="{28551889-D181-CD3A-96CF-52B7FE6F5381}"/>
              </a:ext>
            </a:extLst>
          </p:cNvPr>
          <p:cNvSpPr txBox="1"/>
          <p:nvPr/>
        </p:nvSpPr>
        <p:spPr>
          <a:xfrm>
            <a:off x="586740" y="1166842"/>
            <a:ext cx="11018520" cy="6494085"/>
          </a:xfrm>
          <a:prstGeom prst="rect">
            <a:avLst/>
          </a:prstGeom>
          <a:noFill/>
        </p:spPr>
        <p:txBody>
          <a:bodyPr wrap="square" rtlCol="0">
            <a:spAutoFit/>
          </a:bodyPr>
          <a:lstStyle/>
          <a:p>
            <a:r>
              <a:rPr lang="en-US" sz="4000" dirty="0">
                <a:solidFill>
                  <a:schemeClr val="bg1"/>
                </a:solidFill>
              </a:rPr>
              <a:t>Recommendations: </a:t>
            </a:r>
          </a:p>
          <a:p>
            <a:pPr marL="457200" indent="-457200">
              <a:buFont typeface="Arial" panose="020B0604020202020204" pitchFamily="34" charset="0"/>
              <a:buChar char="•"/>
            </a:pPr>
            <a:r>
              <a:rPr lang="en-US" sz="2800" dirty="0">
                <a:solidFill>
                  <a:schemeClr val="bg1"/>
                </a:solidFill>
              </a:rPr>
              <a:t>Integrate interpretable models into clinical workflows. </a:t>
            </a:r>
          </a:p>
          <a:p>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Encourage collaborative data sharing for more diverse datasets.</a:t>
            </a:r>
          </a:p>
          <a:p>
            <a:endParaRPr lang="en-US" sz="2800" dirty="0">
              <a:solidFill>
                <a:schemeClr val="bg1"/>
              </a:solidFill>
            </a:endParaRPr>
          </a:p>
          <a:p>
            <a:r>
              <a:rPr lang="en-US" sz="4000" dirty="0">
                <a:solidFill>
                  <a:schemeClr val="bg1"/>
                </a:solidFill>
              </a:rPr>
              <a:t>Future Work:</a:t>
            </a:r>
          </a:p>
          <a:p>
            <a:pPr marL="457200" indent="-457200">
              <a:buFont typeface="Arial" panose="020B0604020202020204" pitchFamily="34" charset="0"/>
              <a:buChar char="•"/>
            </a:pPr>
            <a:r>
              <a:rPr lang="en-US" sz="2800" dirty="0">
                <a:solidFill>
                  <a:schemeClr val="bg1"/>
                </a:solidFill>
              </a:rPr>
              <a:t>Perform external validations across different cohorts.</a:t>
            </a:r>
          </a:p>
          <a:p>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Explore advanced or ensemble models while maintaining interpretability.</a:t>
            </a:r>
          </a:p>
          <a:p>
            <a:endParaRPr lang="en-US" sz="2800" dirty="0">
              <a:solidFill>
                <a:schemeClr val="bg1"/>
              </a:solidFill>
            </a:endParaRPr>
          </a:p>
          <a:p>
            <a:pPr marL="457200" indent="-457200">
              <a:buFont typeface="Arial" panose="020B0604020202020204" pitchFamily="34" charset="0"/>
              <a:buChar char="•"/>
            </a:pPr>
            <a:r>
              <a:rPr lang="en-US" sz="2800" dirty="0">
                <a:solidFill>
                  <a:schemeClr val="bg1"/>
                </a:solidFill>
              </a:rPr>
              <a:t>Incorporate Explainable AI (XAI) methods for deeper insight.</a:t>
            </a:r>
          </a:p>
          <a:p>
            <a:endParaRPr lang="en-US" sz="2800" dirty="0">
              <a:solidFill>
                <a:schemeClr val="bg1"/>
              </a:solidFill>
            </a:endParaRPr>
          </a:p>
          <a:p>
            <a:endParaRPr lang="en-US" sz="2800" dirty="0">
              <a:solidFill>
                <a:schemeClr val="bg1"/>
              </a:solidFill>
            </a:endParaRPr>
          </a:p>
        </p:txBody>
      </p:sp>
      <p:grpSp>
        <p:nvGrpSpPr>
          <p:cNvPr id="12" name="Group 11">
            <a:extLst>
              <a:ext uri="{FF2B5EF4-FFF2-40B4-BE49-F238E27FC236}">
                <a16:creationId xmlns:a16="http://schemas.microsoft.com/office/drawing/2014/main" id="{A47E2917-8B77-0C9D-0D1D-4E51A251B00D}"/>
              </a:ext>
            </a:extLst>
          </p:cNvPr>
          <p:cNvGrpSpPr/>
          <p:nvPr/>
        </p:nvGrpSpPr>
        <p:grpSpPr>
          <a:xfrm>
            <a:off x="299484" y="369986"/>
            <a:ext cx="11644423" cy="507586"/>
            <a:chOff x="299484" y="369986"/>
            <a:chExt cx="11644423" cy="507586"/>
          </a:xfrm>
        </p:grpSpPr>
        <p:cxnSp>
          <p:nvCxnSpPr>
            <p:cNvPr id="6" name="Straight Connector 5">
              <a:extLst>
                <a:ext uri="{FF2B5EF4-FFF2-40B4-BE49-F238E27FC236}">
                  <a16:creationId xmlns:a16="http://schemas.microsoft.com/office/drawing/2014/main" id="{69EF1704-523F-60A7-17F1-DE9EA5356E19}"/>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3" name="Group 22">
              <a:extLst>
                <a:ext uri="{FF2B5EF4-FFF2-40B4-BE49-F238E27FC236}">
                  <a16:creationId xmlns:a16="http://schemas.microsoft.com/office/drawing/2014/main" id="{2DC86CFD-7059-6639-15A8-CABAA8696484}"/>
                </a:ext>
              </a:extLst>
            </p:cNvPr>
            <p:cNvGrpSpPr/>
            <p:nvPr/>
          </p:nvGrpSpPr>
          <p:grpSpPr>
            <a:xfrm>
              <a:off x="5842207" y="369986"/>
              <a:ext cx="507586" cy="507586"/>
              <a:chOff x="7770322" y="1861571"/>
              <a:chExt cx="507586" cy="507586"/>
            </a:xfrm>
          </p:grpSpPr>
          <p:sp useBgFill="1">
            <p:nvSpPr>
              <p:cNvPr id="24" name="Oval 23">
                <a:extLst>
                  <a:ext uri="{FF2B5EF4-FFF2-40B4-BE49-F238E27FC236}">
                    <a16:creationId xmlns:a16="http://schemas.microsoft.com/office/drawing/2014/main" id="{479FF6A1-1244-628B-EEA0-CFDFB6DC33B6}"/>
                  </a:ext>
                </a:extLst>
              </p:cNvPr>
              <p:cNvSpPr/>
              <p:nvPr/>
            </p:nvSpPr>
            <p:spPr>
              <a:xfrm>
                <a:off x="7770322" y="186157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5" name="Graphic 34">
                <a:extLst>
                  <a:ext uri="{FF2B5EF4-FFF2-40B4-BE49-F238E27FC236}">
                    <a16:creationId xmlns:a16="http://schemas.microsoft.com/office/drawing/2014/main" id="{C3A8CAF6-49F3-352E-B8F0-0E6F9B7D0B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98115" y="1989364"/>
                <a:ext cx="252000" cy="252000"/>
              </a:xfrm>
              <a:prstGeom prst="rect">
                <a:avLst/>
              </a:prstGeom>
            </p:spPr>
          </p:pic>
        </p:grpSp>
      </p:grpSp>
      <p:sp>
        <p:nvSpPr>
          <p:cNvPr id="11" name="TextBox 10">
            <a:extLst>
              <a:ext uri="{FF2B5EF4-FFF2-40B4-BE49-F238E27FC236}">
                <a16:creationId xmlns:a16="http://schemas.microsoft.com/office/drawing/2014/main" id="{2D0ACD58-3521-D214-6C61-FC8F5D90FF9D}"/>
              </a:ext>
            </a:extLst>
          </p:cNvPr>
          <p:cNvSpPr txBox="1"/>
          <p:nvPr/>
        </p:nvSpPr>
        <p:spPr>
          <a:xfrm>
            <a:off x="124507" y="358945"/>
            <a:ext cx="2118739"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commendations</a:t>
            </a:r>
          </a:p>
        </p:txBody>
      </p:sp>
      <p:sp>
        <p:nvSpPr>
          <p:cNvPr id="14" name="TextBox 13">
            <a:extLst>
              <a:ext uri="{FF2B5EF4-FFF2-40B4-BE49-F238E27FC236}">
                <a16:creationId xmlns:a16="http://schemas.microsoft.com/office/drawing/2014/main" id="{E993774E-7F0B-26B8-696B-79C6CA394836}"/>
              </a:ext>
            </a:extLst>
          </p:cNvPr>
          <p:cNvSpPr txBox="1"/>
          <p:nvPr/>
        </p:nvSpPr>
        <p:spPr>
          <a:xfrm>
            <a:off x="925387" y="7582882"/>
            <a:ext cx="11018520" cy="2000548"/>
          </a:xfrm>
          <a:prstGeom prst="rect">
            <a:avLst/>
          </a:prstGeom>
          <a:noFill/>
        </p:spPr>
        <p:txBody>
          <a:bodyPr wrap="square" rtlCol="0">
            <a:spAutoFit/>
          </a:bodyPr>
          <a:lstStyle/>
          <a:p>
            <a:r>
              <a:rPr lang="en-US" sz="4000" dirty="0">
                <a:solidFill>
                  <a:schemeClr val="bg1"/>
                </a:solidFill>
              </a:rPr>
              <a:t>Limitations: </a:t>
            </a:r>
          </a:p>
          <a:p>
            <a:pPr marL="457200" indent="-457200">
              <a:buFont typeface="Arial" panose="020B0604020202020204" pitchFamily="34" charset="0"/>
              <a:buChar char="•"/>
            </a:pPr>
            <a:r>
              <a:rPr lang="en-US" sz="2800" dirty="0">
                <a:solidFill>
                  <a:schemeClr val="bg1"/>
                </a:solidFill>
              </a:rPr>
              <a:t>Dataset homogeneity</a:t>
            </a:r>
          </a:p>
          <a:p>
            <a:pPr marL="457200" indent="-457200">
              <a:buFont typeface="Arial" panose="020B0604020202020204" pitchFamily="34" charset="0"/>
              <a:buChar char="•"/>
            </a:pPr>
            <a:r>
              <a:rPr lang="en-US" sz="2800" dirty="0">
                <a:solidFill>
                  <a:schemeClr val="bg1"/>
                </a:solidFill>
              </a:rPr>
              <a:t>Overfitting risk due to controlled data environments</a:t>
            </a:r>
          </a:p>
          <a:p>
            <a:endParaRPr lang="en-US" sz="2800" dirty="0">
              <a:solidFill>
                <a:schemeClr val="bg1"/>
              </a:solidFill>
            </a:endParaRPr>
          </a:p>
        </p:txBody>
      </p:sp>
    </p:spTree>
    <p:extLst>
      <p:ext uri="{BB962C8B-B14F-4D97-AF65-F5344CB8AC3E}">
        <p14:creationId xmlns:p14="http://schemas.microsoft.com/office/powerpoint/2010/main" val="36023751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C97997D-6A89-07FE-B8A4-549C95BE7784}"/>
            </a:ext>
          </a:extLst>
        </p:cNvPr>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26597A0-8714-9B98-8BCD-1932932A5D55}"/>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sp>
        <p:nvSpPr>
          <p:cNvPr id="13" name="TextBox 12">
            <a:extLst>
              <a:ext uri="{FF2B5EF4-FFF2-40B4-BE49-F238E27FC236}">
                <a16:creationId xmlns:a16="http://schemas.microsoft.com/office/drawing/2014/main" id="{EF0159F1-EDA7-80DE-403E-647103C28C40}"/>
              </a:ext>
            </a:extLst>
          </p:cNvPr>
          <p:cNvSpPr txBox="1"/>
          <p:nvPr/>
        </p:nvSpPr>
        <p:spPr>
          <a:xfrm>
            <a:off x="586740" y="1166842"/>
            <a:ext cx="11018520" cy="2000548"/>
          </a:xfrm>
          <a:prstGeom prst="rect">
            <a:avLst/>
          </a:prstGeom>
          <a:noFill/>
        </p:spPr>
        <p:txBody>
          <a:bodyPr wrap="square" rtlCol="0">
            <a:spAutoFit/>
          </a:bodyPr>
          <a:lstStyle/>
          <a:p>
            <a:r>
              <a:rPr lang="en-US" sz="4000" dirty="0">
                <a:solidFill>
                  <a:schemeClr val="bg1"/>
                </a:solidFill>
              </a:rPr>
              <a:t>Limitations: </a:t>
            </a:r>
          </a:p>
          <a:p>
            <a:pPr marL="457200" indent="-457200">
              <a:buFont typeface="Arial" panose="020B0604020202020204" pitchFamily="34" charset="0"/>
              <a:buChar char="•"/>
            </a:pPr>
            <a:r>
              <a:rPr lang="en-US" sz="2800" dirty="0">
                <a:solidFill>
                  <a:schemeClr val="bg1"/>
                </a:solidFill>
              </a:rPr>
              <a:t>Dataset homogeneity</a:t>
            </a:r>
          </a:p>
          <a:p>
            <a:pPr marL="457200" indent="-457200">
              <a:buFont typeface="Arial" panose="020B0604020202020204" pitchFamily="34" charset="0"/>
              <a:buChar char="•"/>
            </a:pPr>
            <a:r>
              <a:rPr lang="en-US" sz="2800" dirty="0">
                <a:solidFill>
                  <a:schemeClr val="bg1"/>
                </a:solidFill>
              </a:rPr>
              <a:t>Overfitting risk due to controlled data environments</a:t>
            </a:r>
          </a:p>
          <a:p>
            <a:endParaRPr lang="en-US" sz="2800" dirty="0">
              <a:solidFill>
                <a:schemeClr val="bg1"/>
              </a:solidFill>
            </a:endParaRPr>
          </a:p>
        </p:txBody>
      </p:sp>
      <p:grpSp>
        <p:nvGrpSpPr>
          <p:cNvPr id="12" name="Group 11">
            <a:extLst>
              <a:ext uri="{FF2B5EF4-FFF2-40B4-BE49-F238E27FC236}">
                <a16:creationId xmlns:a16="http://schemas.microsoft.com/office/drawing/2014/main" id="{074FB3A6-7E98-B745-2AC9-982EF833DDEC}"/>
              </a:ext>
            </a:extLst>
          </p:cNvPr>
          <p:cNvGrpSpPr/>
          <p:nvPr/>
        </p:nvGrpSpPr>
        <p:grpSpPr>
          <a:xfrm>
            <a:off x="299484" y="369986"/>
            <a:ext cx="11644423" cy="507586"/>
            <a:chOff x="299484" y="369986"/>
            <a:chExt cx="11644423" cy="507586"/>
          </a:xfrm>
        </p:grpSpPr>
        <p:cxnSp>
          <p:nvCxnSpPr>
            <p:cNvPr id="6" name="Straight Connector 5">
              <a:extLst>
                <a:ext uri="{FF2B5EF4-FFF2-40B4-BE49-F238E27FC236}">
                  <a16:creationId xmlns:a16="http://schemas.microsoft.com/office/drawing/2014/main" id="{97C54ACB-750D-E934-9773-52A0F3D4438C}"/>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23" name="Group 22">
              <a:extLst>
                <a:ext uri="{FF2B5EF4-FFF2-40B4-BE49-F238E27FC236}">
                  <a16:creationId xmlns:a16="http://schemas.microsoft.com/office/drawing/2014/main" id="{A9F46D7B-921F-5D3E-7C7C-30BE80164EF7}"/>
                </a:ext>
              </a:extLst>
            </p:cNvPr>
            <p:cNvGrpSpPr/>
            <p:nvPr/>
          </p:nvGrpSpPr>
          <p:grpSpPr>
            <a:xfrm>
              <a:off x="5842207" y="369986"/>
              <a:ext cx="507586" cy="507586"/>
              <a:chOff x="7770322" y="1861571"/>
              <a:chExt cx="507586" cy="507586"/>
            </a:xfrm>
          </p:grpSpPr>
          <p:sp useBgFill="1">
            <p:nvSpPr>
              <p:cNvPr id="24" name="Oval 23">
                <a:extLst>
                  <a:ext uri="{FF2B5EF4-FFF2-40B4-BE49-F238E27FC236}">
                    <a16:creationId xmlns:a16="http://schemas.microsoft.com/office/drawing/2014/main" id="{CF835A77-F631-1063-34CF-1CEADCAA2FA4}"/>
                  </a:ext>
                </a:extLst>
              </p:cNvPr>
              <p:cNvSpPr/>
              <p:nvPr/>
            </p:nvSpPr>
            <p:spPr>
              <a:xfrm>
                <a:off x="7770322" y="186157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35" name="Graphic 34">
                <a:extLst>
                  <a:ext uri="{FF2B5EF4-FFF2-40B4-BE49-F238E27FC236}">
                    <a16:creationId xmlns:a16="http://schemas.microsoft.com/office/drawing/2014/main" id="{1283405A-AA82-A718-8DA1-24FE10AF9A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98115" y="1989364"/>
                <a:ext cx="252000" cy="252000"/>
              </a:xfrm>
              <a:prstGeom prst="rect">
                <a:avLst/>
              </a:prstGeom>
            </p:spPr>
          </p:pic>
        </p:grpSp>
      </p:grpSp>
      <p:sp>
        <p:nvSpPr>
          <p:cNvPr id="11" name="TextBox 10">
            <a:extLst>
              <a:ext uri="{FF2B5EF4-FFF2-40B4-BE49-F238E27FC236}">
                <a16:creationId xmlns:a16="http://schemas.microsoft.com/office/drawing/2014/main" id="{5DF30388-37EC-4F40-B16C-24472029250F}"/>
              </a:ext>
            </a:extLst>
          </p:cNvPr>
          <p:cNvSpPr txBox="1"/>
          <p:nvPr/>
        </p:nvSpPr>
        <p:spPr>
          <a:xfrm>
            <a:off x="124507" y="358945"/>
            <a:ext cx="2118739"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commendations</a:t>
            </a:r>
          </a:p>
        </p:txBody>
      </p:sp>
    </p:spTree>
    <p:extLst>
      <p:ext uri="{BB962C8B-B14F-4D97-AF65-F5344CB8AC3E}">
        <p14:creationId xmlns:p14="http://schemas.microsoft.com/office/powerpoint/2010/main" val="410185704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References</a:t>
            </a:r>
          </a:p>
        </p:txBody>
      </p:sp>
      <p:grpSp>
        <p:nvGrpSpPr>
          <p:cNvPr id="2" name="Group 1">
            <a:extLst>
              <a:ext uri="{FF2B5EF4-FFF2-40B4-BE49-F238E27FC236}">
                <a16:creationId xmlns:a16="http://schemas.microsoft.com/office/drawing/2014/main" id="{F153420A-C5D2-19A3-D334-698ADDEF1B56}"/>
              </a:ext>
            </a:extLst>
          </p:cNvPr>
          <p:cNvGrpSpPr/>
          <p:nvPr/>
        </p:nvGrpSpPr>
        <p:grpSpPr>
          <a:xfrm>
            <a:off x="287867" y="7341751"/>
            <a:ext cx="11644423" cy="507586"/>
            <a:chOff x="299484" y="407551"/>
            <a:chExt cx="11644423" cy="507586"/>
          </a:xfrm>
        </p:grpSpPr>
        <p:cxnSp>
          <p:nvCxnSpPr>
            <p:cNvPr id="7" name="Straight Connector 6">
              <a:extLst>
                <a:ext uri="{FF2B5EF4-FFF2-40B4-BE49-F238E27FC236}">
                  <a16:creationId xmlns:a16="http://schemas.microsoft.com/office/drawing/2014/main" id="{29841BB8-7971-3312-EADA-76C59E556CE0}"/>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8" name="Group 7">
              <a:extLst>
                <a:ext uri="{FF2B5EF4-FFF2-40B4-BE49-F238E27FC236}">
                  <a16:creationId xmlns:a16="http://schemas.microsoft.com/office/drawing/2014/main" id="{F40F8C51-BBFB-60D4-BD1A-57ECF31D7194}"/>
                </a:ext>
              </a:extLst>
            </p:cNvPr>
            <p:cNvGrpSpPr/>
            <p:nvPr/>
          </p:nvGrpSpPr>
          <p:grpSpPr>
            <a:xfrm>
              <a:off x="5867902" y="407551"/>
              <a:ext cx="507586" cy="507586"/>
              <a:chOff x="7858113" y="1596782"/>
              <a:chExt cx="507586" cy="507586"/>
            </a:xfrm>
          </p:grpSpPr>
          <p:sp useBgFill="1">
            <p:nvSpPr>
              <p:cNvPr id="9" name="Oval 8">
                <a:extLst>
                  <a:ext uri="{FF2B5EF4-FFF2-40B4-BE49-F238E27FC236}">
                    <a16:creationId xmlns:a16="http://schemas.microsoft.com/office/drawing/2014/main" id="{76828E98-C814-5552-CA49-743D65F75FB7}"/>
                  </a:ext>
                </a:extLst>
              </p:cNvPr>
              <p:cNvSpPr/>
              <p:nvPr/>
            </p:nvSpPr>
            <p:spPr>
              <a:xfrm>
                <a:off x="7858113" y="1596782"/>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10" name="Graphic 17">
                <a:extLst>
                  <a:ext uri="{FF2B5EF4-FFF2-40B4-BE49-F238E27FC236}">
                    <a16:creationId xmlns:a16="http://schemas.microsoft.com/office/drawing/2014/main" id="{90867B8F-C550-5F8A-9AFB-54D75D285DE2}"/>
                  </a:ext>
                </a:extLst>
              </p:cNvPr>
              <p:cNvSpPr/>
              <p:nvPr/>
            </p:nvSpPr>
            <p:spPr>
              <a:xfrm>
                <a:off x="8020233" y="1760715"/>
                <a:ext cx="160020" cy="208026"/>
              </a:xfrm>
              <a:custGeom>
                <a:avLst/>
                <a:gdLst>
                  <a:gd name="connsiteX0" fmla="*/ 144018 w 160020"/>
                  <a:gd name="connsiteY0" fmla="*/ 0 h 208026"/>
                  <a:gd name="connsiteX1" fmla="*/ 48006 w 160020"/>
                  <a:gd name="connsiteY1" fmla="*/ 0 h 208026"/>
                  <a:gd name="connsiteX2" fmla="*/ 32004 w 160020"/>
                  <a:gd name="connsiteY2" fmla="*/ 16002 h 208026"/>
                  <a:gd name="connsiteX3" fmla="*/ 32004 w 160020"/>
                  <a:gd name="connsiteY3" fmla="*/ 32004 h 208026"/>
                  <a:gd name="connsiteX4" fmla="*/ 16002 w 160020"/>
                  <a:gd name="connsiteY4" fmla="*/ 32004 h 208026"/>
                  <a:gd name="connsiteX5" fmla="*/ 0 w 160020"/>
                  <a:gd name="connsiteY5" fmla="*/ 48006 h 208026"/>
                  <a:gd name="connsiteX6" fmla="*/ 0 w 160020"/>
                  <a:gd name="connsiteY6" fmla="*/ 200025 h 208026"/>
                  <a:gd name="connsiteX7" fmla="*/ 8001 w 160020"/>
                  <a:gd name="connsiteY7" fmla="*/ 208026 h 208026"/>
                  <a:gd name="connsiteX8" fmla="*/ 12652 w 160020"/>
                  <a:gd name="connsiteY8" fmla="*/ 206536 h 208026"/>
                  <a:gd name="connsiteX9" fmla="*/ 64008 w 160020"/>
                  <a:gd name="connsiteY9" fmla="*/ 169851 h 208026"/>
                  <a:gd name="connsiteX10" fmla="*/ 115374 w 160020"/>
                  <a:gd name="connsiteY10" fmla="*/ 206536 h 208026"/>
                  <a:gd name="connsiteX11" fmla="*/ 126533 w 160020"/>
                  <a:gd name="connsiteY11" fmla="*/ 204659 h 208026"/>
                  <a:gd name="connsiteX12" fmla="*/ 128016 w 160020"/>
                  <a:gd name="connsiteY12" fmla="*/ 200025 h 208026"/>
                  <a:gd name="connsiteX13" fmla="*/ 128016 w 160020"/>
                  <a:gd name="connsiteY13" fmla="*/ 160710 h 208026"/>
                  <a:gd name="connsiteX14" fmla="*/ 147368 w 160020"/>
                  <a:gd name="connsiteY14" fmla="*/ 174532 h 208026"/>
                  <a:gd name="connsiteX15" fmla="*/ 158530 w 160020"/>
                  <a:gd name="connsiteY15" fmla="*/ 172672 h 208026"/>
                  <a:gd name="connsiteX16" fmla="*/ 160020 w 160020"/>
                  <a:gd name="connsiteY16" fmla="*/ 168021 h 208026"/>
                  <a:gd name="connsiteX17" fmla="*/ 160020 w 160020"/>
                  <a:gd name="connsiteY17" fmla="*/ 16002 h 208026"/>
                  <a:gd name="connsiteX18" fmla="*/ 144018 w 160020"/>
                  <a:gd name="connsiteY18" fmla="*/ 0 h 208026"/>
                  <a:gd name="connsiteX19" fmla="*/ 112014 w 160020"/>
                  <a:gd name="connsiteY19" fmla="*/ 184483 h 208026"/>
                  <a:gd name="connsiteX20" fmla="*/ 68649 w 160020"/>
                  <a:gd name="connsiteY20" fmla="*/ 153479 h 208026"/>
                  <a:gd name="connsiteX21" fmla="*/ 59347 w 160020"/>
                  <a:gd name="connsiteY21" fmla="*/ 153479 h 208026"/>
                  <a:gd name="connsiteX22" fmla="*/ 16002 w 160020"/>
                  <a:gd name="connsiteY22" fmla="*/ 184473 h 208026"/>
                  <a:gd name="connsiteX23" fmla="*/ 16002 w 160020"/>
                  <a:gd name="connsiteY23" fmla="*/ 48006 h 208026"/>
                  <a:gd name="connsiteX24" fmla="*/ 112014 w 160020"/>
                  <a:gd name="connsiteY24" fmla="*/ 48006 h 208026"/>
                  <a:gd name="connsiteX25" fmla="*/ 144018 w 160020"/>
                  <a:gd name="connsiteY25" fmla="*/ 152479 h 208026"/>
                  <a:gd name="connsiteX26" fmla="*/ 128016 w 160020"/>
                  <a:gd name="connsiteY26" fmla="*/ 141018 h 208026"/>
                  <a:gd name="connsiteX27" fmla="*/ 128016 w 160020"/>
                  <a:gd name="connsiteY27" fmla="*/ 48006 h 208026"/>
                  <a:gd name="connsiteX28" fmla="*/ 112014 w 160020"/>
                  <a:gd name="connsiteY28" fmla="*/ 32004 h 208026"/>
                  <a:gd name="connsiteX29" fmla="*/ 48006 w 160020"/>
                  <a:gd name="connsiteY29" fmla="*/ 32004 h 208026"/>
                  <a:gd name="connsiteX30" fmla="*/ 48006 w 160020"/>
                  <a:gd name="connsiteY30" fmla="*/ 16002 h 208026"/>
                  <a:gd name="connsiteX31" fmla="*/ 144018 w 160020"/>
                  <a:gd name="connsiteY31" fmla="*/ 16002 h 20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0020" h="208026">
                    <a:moveTo>
                      <a:pt x="144018" y="0"/>
                    </a:moveTo>
                    <a:lnTo>
                      <a:pt x="48006" y="0"/>
                    </a:lnTo>
                    <a:cubicBezTo>
                      <a:pt x="39168" y="0"/>
                      <a:pt x="32004" y="7164"/>
                      <a:pt x="32004" y="16002"/>
                    </a:cubicBezTo>
                    <a:lnTo>
                      <a:pt x="32004" y="32004"/>
                    </a:lnTo>
                    <a:lnTo>
                      <a:pt x="16002" y="32004"/>
                    </a:lnTo>
                    <a:cubicBezTo>
                      <a:pt x="7164" y="32004"/>
                      <a:pt x="0" y="39168"/>
                      <a:pt x="0" y="48006"/>
                    </a:cubicBezTo>
                    <a:lnTo>
                      <a:pt x="0" y="200025"/>
                    </a:lnTo>
                    <a:cubicBezTo>
                      <a:pt x="0" y="204444"/>
                      <a:pt x="3582" y="208026"/>
                      <a:pt x="8001" y="208026"/>
                    </a:cubicBezTo>
                    <a:cubicBezTo>
                      <a:pt x="9669" y="208026"/>
                      <a:pt x="11295" y="207505"/>
                      <a:pt x="12652" y="206536"/>
                    </a:cubicBezTo>
                    <a:lnTo>
                      <a:pt x="64008" y="169851"/>
                    </a:lnTo>
                    <a:lnTo>
                      <a:pt x="115374" y="206536"/>
                    </a:lnTo>
                    <a:cubicBezTo>
                      <a:pt x="118974" y="209099"/>
                      <a:pt x="123969" y="208258"/>
                      <a:pt x="126533" y="204659"/>
                    </a:cubicBezTo>
                    <a:cubicBezTo>
                      <a:pt x="127496" y="203305"/>
                      <a:pt x="128015" y="201686"/>
                      <a:pt x="128016" y="200025"/>
                    </a:cubicBezTo>
                    <a:lnTo>
                      <a:pt x="128016" y="160710"/>
                    </a:lnTo>
                    <a:lnTo>
                      <a:pt x="147368" y="174532"/>
                    </a:lnTo>
                    <a:cubicBezTo>
                      <a:pt x="150964" y="177100"/>
                      <a:pt x="155962" y="176267"/>
                      <a:pt x="158530" y="172672"/>
                    </a:cubicBezTo>
                    <a:cubicBezTo>
                      <a:pt x="159499" y="171314"/>
                      <a:pt x="160020" y="169688"/>
                      <a:pt x="160020" y="168021"/>
                    </a:cubicBezTo>
                    <a:lnTo>
                      <a:pt x="160020" y="16002"/>
                    </a:lnTo>
                    <a:cubicBezTo>
                      <a:pt x="160020" y="7164"/>
                      <a:pt x="152856" y="0"/>
                      <a:pt x="144018" y="0"/>
                    </a:cubicBezTo>
                    <a:close/>
                    <a:moveTo>
                      <a:pt x="112014" y="184483"/>
                    </a:moveTo>
                    <a:lnTo>
                      <a:pt x="68649" y="153479"/>
                    </a:lnTo>
                    <a:cubicBezTo>
                      <a:pt x="65866" y="151492"/>
                      <a:pt x="62130" y="151492"/>
                      <a:pt x="59347" y="153479"/>
                    </a:cubicBezTo>
                    <a:lnTo>
                      <a:pt x="16002" y="184473"/>
                    </a:lnTo>
                    <a:lnTo>
                      <a:pt x="16002" y="48006"/>
                    </a:lnTo>
                    <a:lnTo>
                      <a:pt x="112014" y="48006"/>
                    </a:lnTo>
                    <a:close/>
                    <a:moveTo>
                      <a:pt x="144018" y="152479"/>
                    </a:moveTo>
                    <a:lnTo>
                      <a:pt x="128016" y="141018"/>
                    </a:lnTo>
                    <a:lnTo>
                      <a:pt x="128016" y="48006"/>
                    </a:lnTo>
                    <a:cubicBezTo>
                      <a:pt x="128016" y="39168"/>
                      <a:pt x="120852" y="32004"/>
                      <a:pt x="112014" y="32004"/>
                    </a:cubicBezTo>
                    <a:lnTo>
                      <a:pt x="48006" y="32004"/>
                    </a:lnTo>
                    <a:lnTo>
                      <a:pt x="48006" y="16002"/>
                    </a:lnTo>
                    <a:lnTo>
                      <a:pt x="144018" y="16002"/>
                    </a:lnTo>
                    <a:close/>
                  </a:path>
                </a:pathLst>
              </a:custGeom>
              <a:solidFill>
                <a:schemeClr val="bg1">
                  <a:lumMod val="85000"/>
                </a:schemeClr>
              </a:solidFill>
              <a:ln w="967" cap="flat">
                <a:noFill/>
                <a:prstDash val="solid"/>
                <a:miter/>
              </a:ln>
            </p:spPr>
            <p:txBody>
              <a:bodyPr rtlCol="0" anchor="ctr"/>
              <a:lstStyle/>
              <a:p>
                <a:endParaRPr lang="en-IN"/>
              </a:p>
            </p:txBody>
          </p:sp>
        </p:grpSp>
      </p:grpSp>
      <p:grpSp>
        <p:nvGrpSpPr>
          <p:cNvPr id="11" name="Group 10">
            <a:extLst>
              <a:ext uri="{FF2B5EF4-FFF2-40B4-BE49-F238E27FC236}">
                <a16:creationId xmlns:a16="http://schemas.microsoft.com/office/drawing/2014/main" id="{C66ECE85-8329-061E-300A-5B62B69A833D}"/>
              </a:ext>
            </a:extLst>
          </p:cNvPr>
          <p:cNvGrpSpPr/>
          <p:nvPr/>
        </p:nvGrpSpPr>
        <p:grpSpPr>
          <a:xfrm>
            <a:off x="813114" y="9281814"/>
            <a:ext cx="1695279" cy="2389305"/>
            <a:chOff x="5427843" y="2850534"/>
            <a:chExt cx="1695279" cy="2389305"/>
          </a:xfrm>
        </p:grpSpPr>
        <p:sp>
          <p:nvSpPr>
            <p:cNvPr id="12" name="Rounded Rectangle 4">
              <a:extLst>
                <a:ext uri="{FF2B5EF4-FFF2-40B4-BE49-F238E27FC236}">
                  <a16:creationId xmlns:a16="http://schemas.microsoft.com/office/drawing/2014/main" id="{EA1419F4-0256-2AFC-DB91-97F69AE52223}"/>
                </a:ext>
              </a:extLst>
            </p:cNvPr>
            <p:cNvSpPr/>
            <p:nvPr/>
          </p:nvSpPr>
          <p:spPr>
            <a:xfrm>
              <a:off x="5427843"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13" name="TextBox 12">
              <a:extLst>
                <a:ext uri="{FF2B5EF4-FFF2-40B4-BE49-F238E27FC236}">
                  <a16:creationId xmlns:a16="http://schemas.microsoft.com/office/drawing/2014/main" id="{74C615C1-4300-C93A-D716-5B6032F950E1}"/>
                </a:ext>
              </a:extLst>
            </p:cNvPr>
            <p:cNvSpPr txBox="1"/>
            <p:nvPr/>
          </p:nvSpPr>
          <p:spPr>
            <a:xfrm>
              <a:off x="5643903" y="4901285"/>
              <a:ext cx="934582" cy="338554"/>
            </a:xfrm>
            <a:prstGeom prst="rect">
              <a:avLst/>
            </a:prstGeom>
            <a:noFill/>
          </p:spPr>
          <p:txBody>
            <a:bodyPr wrap="square" rtlCol="0">
              <a:spAutoFit/>
            </a:bodyPr>
            <a:lstStyle/>
            <a:p>
              <a:pPr algn="ctr"/>
              <a:endParaRPr lang="en-GB" sz="1600" dirty="0">
                <a:solidFill>
                  <a:schemeClr val="bg1"/>
                </a:solidFill>
                <a:latin typeface="Darker Grotesque" pitchFamily="2" charset="0"/>
              </a:endParaRPr>
            </a:p>
          </p:txBody>
        </p:sp>
        <p:sp>
          <p:nvSpPr>
            <p:cNvPr id="14" name="Freeform: Shape 13">
              <a:extLst>
                <a:ext uri="{FF2B5EF4-FFF2-40B4-BE49-F238E27FC236}">
                  <a16:creationId xmlns:a16="http://schemas.microsoft.com/office/drawing/2014/main" id="{D23483CB-EC18-0DD7-A889-93F14B316BC1}"/>
                </a:ext>
              </a:extLst>
            </p:cNvPr>
            <p:cNvSpPr/>
            <p:nvPr/>
          </p:nvSpPr>
          <p:spPr>
            <a:xfrm>
              <a:off x="5560132" y="3364558"/>
              <a:ext cx="1557220" cy="1071945"/>
            </a:xfrm>
            <a:custGeom>
              <a:avLst/>
              <a:gdLst>
                <a:gd name="connsiteX0" fmla="*/ 414401 w 1557220"/>
                <a:gd name="connsiteY0" fmla="*/ 11183 h 1071945"/>
                <a:gd name="connsiteX1" fmla="*/ 424236 w 1557220"/>
                <a:gd name="connsiteY1" fmla="*/ 91224 h 1071945"/>
                <a:gd name="connsiteX2" fmla="*/ 377420 w 1557220"/>
                <a:gd name="connsiteY2" fmla="*/ 134882 h 1071945"/>
                <a:gd name="connsiteX3" fmla="*/ 366961 w 1557220"/>
                <a:gd name="connsiteY3" fmla="*/ 129901 h 1071945"/>
                <a:gd name="connsiteX4" fmla="*/ 157790 w 1557220"/>
                <a:gd name="connsiteY4" fmla="*/ 207692 h 1071945"/>
                <a:gd name="connsiteX5" fmla="*/ 77512 w 1557220"/>
                <a:gd name="connsiteY5" fmla="*/ 282175 h 1071945"/>
                <a:gd name="connsiteX6" fmla="*/ 1208 w 1557220"/>
                <a:gd name="connsiteY6" fmla="*/ 673790 h 1071945"/>
                <a:gd name="connsiteX7" fmla="*/ 29868 w 1557220"/>
                <a:gd name="connsiteY7" fmla="*/ 931478 h 1071945"/>
                <a:gd name="connsiteX8" fmla="*/ 107615 w 1557220"/>
                <a:gd name="connsiteY8" fmla="*/ 980632 h 1071945"/>
                <a:gd name="connsiteX9" fmla="*/ 116711 w 1557220"/>
                <a:gd name="connsiteY9" fmla="*/ 992247 h 1071945"/>
                <a:gd name="connsiteX10" fmla="*/ 106929 w 1557220"/>
                <a:gd name="connsiteY10" fmla="*/ 1050481 h 1071945"/>
                <a:gd name="connsiteX11" fmla="*/ 118146 w 1557220"/>
                <a:gd name="connsiteY11" fmla="*/ 1064373 h 1071945"/>
                <a:gd name="connsiteX12" fmla="*/ 542430 w 1557220"/>
                <a:gd name="connsiteY12" fmla="*/ 1066827 h 1071945"/>
                <a:gd name="connsiteX13" fmla="*/ 911756 w 1557220"/>
                <a:gd name="connsiteY13" fmla="*/ 1011892 h 1071945"/>
                <a:gd name="connsiteX14" fmla="*/ 905680 w 1557220"/>
                <a:gd name="connsiteY14" fmla="*/ 899408 h 1071945"/>
                <a:gd name="connsiteX15" fmla="*/ 911827 w 1557220"/>
                <a:gd name="connsiteY15" fmla="*/ 893565 h 1071945"/>
                <a:gd name="connsiteX16" fmla="*/ 1142941 w 1557220"/>
                <a:gd name="connsiteY16" fmla="*/ 854460 h 1071945"/>
                <a:gd name="connsiteX17" fmla="*/ 1348593 w 1557220"/>
                <a:gd name="connsiteY17" fmla="*/ 813399 h 1071945"/>
                <a:gd name="connsiteX18" fmla="*/ 1373627 w 1557220"/>
                <a:gd name="connsiteY18" fmla="*/ 724340 h 1071945"/>
                <a:gd name="connsiteX19" fmla="*/ 1379685 w 1557220"/>
                <a:gd name="connsiteY19" fmla="*/ 715046 h 1071945"/>
                <a:gd name="connsiteX20" fmla="*/ 1428015 w 1557220"/>
                <a:gd name="connsiteY20" fmla="*/ 654820 h 1071945"/>
                <a:gd name="connsiteX21" fmla="*/ 1543813 w 1557220"/>
                <a:gd name="connsiteY21" fmla="*/ 306134 h 1071945"/>
                <a:gd name="connsiteX22" fmla="*/ 1552071 w 1557220"/>
                <a:gd name="connsiteY22" fmla="*/ 221104 h 1071945"/>
                <a:gd name="connsiteX23" fmla="*/ 1490805 w 1557220"/>
                <a:gd name="connsiteY23" fmla="*/ 207515 h 1071945"/>
                <a:gd name="connsiteX24" fmla="*/ 1239673 w 1557220"/>
                <a:gd name="connsiteY24" fmla="*/ 208840 h 1071945"/>
                <a:gd name="connsiteX25" fmla="*/ 1097844 w 1557220"/>
                <a:gd name="connsiteY25" fmla="*/ 254143 h 1071945"/>
                <a:gd name="connsiteX26" fmla="*/ 1007348 w 1557220"/>
                <a:gd name="connsiteY26" fmla="*/ 586794 h 1071945"/>
                <a:gd name="connsiteX27" fmla="*/ 997753 w 1557220"/>
                <a:gd name="connsiteY27" fmla="*/ 586243 h 1071945"/>
                <a:gd name="connsiteX28" fmla="*/ 967356 w 1557220"/>
                <a:gd name="connsiteY28" fmla="*/ 400254 h 1071945"/>
                <a:gd name="connsiteX29" fmla="*/ 865029 w 1557220"/>
                <a:gd name="connsiteY29" fmla="*/ 258385 h 1071945"/>
                <a:gd name="connsiteX30" fmla="*/ 718870 w 1557220"/>
                <a:gd name="connsiteY30" fmla="*/ 181083 h 1071945"/>
                <a:gd name="connsiteX31" fmla="*/ 661381 w 1557220"/>
                <a:gd name="connsiteY31" fmla="*/ 177303 h 1071945"/>
                <a:gd name="connsiteX32" fmla="*/ 647671 w 1557220"/>
                <a:gd name="connsiteY32" fmla="*/ 100535 h 1071945"/>
                <a:gd name="connsiteX33" fmla="*/ 643706 w 1557220"/>
                <a:gd name="connsiteY33" fmla="*/ 65744 h 1071945"/>
                <a:gd name="connsiteX34" fmla="*/ 421225 w 1557220"/>
                <a:gd name="connsiteY34" fmla="*/ 235 h 1071945"/>
                <a:gd name="connsiteX35" fmla="*/ 414401 w 1557220"/>
                <a:gd name="connsiteY35" fmla="*/ 11183 h 107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57220" h="1071945">
                  <a:moveTo>
                    <a:pt x="414401" y="11183"/>
                  </a:moveTo>
                  <a:cubicBezTo>
                    <a:pt x="414401" y="11183"/>
                    <a:pt x="437475" y="54600"/>
                    <a:pt x="424236" y="91224"/>
                  </a:cubicBezTo>
                  <a:cubicBezTo>
                    <a:pt x="411586" y="126228"/>
                    <a:pt x="394436" y="188491"/>
                    <a:pt x="377420" y="134882"/>
                  </a:cubicBezTo>
                  <a:cubicBezTo>
                    <a:pt x="376030" y="130515"/>
                    <a:pt x="371229" y="128229"/>
                    <a:pt x="366961" y="129901"/>
                  </a:cubicBezTo>
                  <a:cubicBezTo>
                    <a:pt x="344573" y="138661"/>
                    <a:pt x="275645" y="165288"/>
                    <a:pt x="157790" y="207692"/>
                  </a:cubicBezTo>
                  <a:cubicBezTo>
                    <a:pt x="116408" y="222580"/>
                    <a:pt x="89432" y="260573"/>
                    <a:pt x="77512" y="282175"/>
                  </a:cubicBezTo>
                  <a:cubicBezTo>
                    <a:pt x="44701" y="341637"/>
                    <a:pt x="6669" y="507011"/>
                    <a:pt x="1208" y="673790"/>
                  </a:cubicBezTo>
                  <a:cubicBezTo>
                    <a:pt x="-1785" y="765117"/>
                    <a:pt x="-1509" y="858018"/>
                    <a:pt x="29868" y="931478"/>
                  </a:cubicBezTo>
                  <a:cubicBezTo>
                    <a:pt x="29868" y="931478"/>
                    <a:pt x="54465" y="977217"/>
                    <a:pt x="107615" y="980632"/>
                  </a:cubicBezTo>
                  <a:cubicBezTo>
                    <a:pt x="113477" y="981005"/>
                    <a:pt x="117682" y="986457"/>
                    <a:pt x="116711" y="992247"/>
                  </a:cubicBezTo>
                  <a:lnTo>
                    <a:pt x="106929" y="1050481"/>
                  </a:lnTo>
                  <a:cubicBezTo>
                    <a:pt x="105905" y="1057489"/>
                    <a:pt x="111063" y="1063892"/>
                    <a:pt x="118146" y="1064373"/>
                  </a:cubicBezTo>
                  <a:cubicBezTo>
                    <a:pt x="167358" y="1067699"/>
                    <a:pt x="348172" y="1078113"/>
                    <a:pt x="542430" y="1066827"/>
                  </a:cubicBezTo>
                  <a:cubicBezTo>
                    <a:pt x="670887" y="1059366"/>
                    <a:pt x="806631" y="1053078"/>
                    <a:pt x="911756" y="1011892"/>
                  </a:cubicBezTo>
                  <a:lnTo>
                    <a:pt x="905680" y="899408"/>
                  </a:lnTo>
                  <a:cubicBezTo>
                    <a:pt x="905493" y="895984"/>
                    <a:pt x="908397" y="893369"/>
                    <a:pt x="911827" y="893565"/>
                  </a:cubicBezTo>
                  <a:cubicBezTo>
                    <a:pt x="964897" y="896553"/>
                    <a:pt x="1039170" y="902716"/>
                    <a:pt x="1142941" y="854460"/>
                  </a:cubicBezTo>
                  <a:cubicBezTo>
                    <a:pt x="1142941" y="854460"/>
                    <a:pt x="1314552" y="863523"/>
                    <a:pt x="1348593" y="813399"/>
                  </a:cubicBezTo>
                  <a:cubicBezTo>
                    <a:pt x="1382634" y="763276"/>
                    <a:pt x="1373627" y="724340"/>
                    <a:pt x="1373627" y="724340"/>
                  </a:cubicBezTo>
                  <a:cubicBezTo>
                    <a:pt x="1374651" y="720694"/>
                    <a:pt x="1376772" y="717465"/>
                    <a:pt x="1379685" y="715046"/>
                  </a:cubicBezTo>
                  <a:cubicBezTo>
                    <a:pt x="1389244" y="707140"/>
                    <a:pt x="1412220" y="686089"/>
                    <a:pt x="1428015" y="654820"/>
                  </a:cubicBezTo>
                  <a:cubicBezTo>
                    <a:pt x="1477941" y="555996"/>
                    <a:pt x="1543813" y="306134"/>
                    <a:pt x="1543813" y="306134"/>
                  </a:cubicBezTo>
                  <a:cubicBezTo>
                    <a:pt x="1543813" y="306134"/>
                    <a:pt x="1567332" y="252035"/>
                    <a:pt x="1552071" y="221104"/>
                  </a:cubicBezTo>
                  <a:cubicBezTo>
                    <a:pt x="1544294" y="205345"/>
                    <a:pt x="1524694" y="207034"/>
                    <a:pt x="1490805" y="207515"/>
                  </a:cubicBezTo>
                  <a:cubicBezTo>
                    <a:pt x="1430510" y="208368"/>
                    <a:pt x="1328744" y="206572"/>
                    <a:pt x="1239673" y="208840"/>
                  </a:cubicBezTo>
                  <a:cubicBezTo>
                    <a:pt x="1169748" y="210618"/>
                    <a:pt x="1117907" y="217431"/>
                    <a:pt x="1097844" y="254143"/>
                  </a:cubicBezTo>
                  <a:lnTo>
                    <a:pt x="1007348" y="586794"/>
                  </a:lnTo>
                  <a:cubicBezTo>
                    <a:pt x="1005914" y="591854"/>
                    <a:pt x="998600" y="591436"/>
                    <a:pt x="997753" y="586243"/>
                  </a:cubicBezTo>
                  <a:lnTo>
                    <a:pt x="967356" y="400254"/>
                  </a:lnTo>
                  <a:cubicBezTo>
                    <a:pt x="967356" y="400254"/>
                    <a:pt x="958242" y="304765"/>
                    <a:pt x="865029" y="258385"/>
                  </a:cubicBezTo>
                  <a:cubicBezTo>
                    <a:pt x="771816" y="212015"/>
                    <a:pt x="732866" y="192405"/>
                    <a:pt x="718870" y="181083"/>
                  </a:cubicBezTo>
                  <a:cubicBezTo>
                    <a:pt x="704874" y="169753"/>
                    <a:pt x="661381" y="177303"/>
                    <a:pt x="661381" y="177303"/>
                  </a:cubicBezTo>
                  <a:cubicBezTo>
                    <a:pt x="657996" y="173773"/>
                    <a:pt x="648223" y="105391"/>
                    <a:pt x="647671" y="100535"/>
                  </a:cubicBezTo>
                  <a:lnTo>
                    <a:pt x="643706" y="65744"/>
                  </a:lnTo>
                  <a:lnTo>
                    <a:pt x="421225" y="235"/>
                  </a:lnTo>
                  <a:cubicBezTo>
                    <a:pt x="415693" y="-1357"/>
                    <a:pt x="414775" y="5464"/>
                    <a:pt x="414401" y="1118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5" name="Freeform: Shape 14">
              <a:extLst>
                <a:ext uri="{FF2B5EF4-FFF2-40B4-BE49-F238E27FC236}">
                  <a16:creationId xmlns:a16="http://schemas.microsoft.com/office/drawing/2014/main" id="{526D91E0-ABEE-51B8-B287-B14BAB5E1B18}"/>
                </a:ext>
              </a:extLst>
            </p:cNvPr>
            <p:cNvSpPr/>
            <p:nvPr/>
          </p:nvSpPr>
          <p:spPr>
            <a:xfrm>
              <a:off x="5566507" y="4097137"/>
              <a:ext cx="202010" cy="180602"/>
            </a:xfrm>
            <a:custGeom>
              <a:avLst/>
              <a:gdLst>
                <a:gd name="connsiteX0" fmla="*/ 202009 w 202010"/>
                <a:gd name="connsiteY0" fmla="*/ 9619 h 180602"/>
                <a:gd name="connsiteX1" fmla="*/ 2557 w 202010"/>
                <a:gd name="connsiteY1" fmla="*/ 29345 h 180602"/>
                <a:gd name="connsiteX2" fmla="*/ 9 w 202010"/>
                <a:gd name="connsiteY2" fmla="*/ 34779 h 180602"/>
                <a:gd name="connsiteX3" fmla="*/ 8598 w 202010"/>
                <a:gd name="connsiteY3" fmla="*/ 118422 h 180602"/>
                <a:gd name="connsiteX4" fmla="*/ 22050 w 202010"/>
                <a:gd name="connsiteY4" fmla="*/ 176416 h 180602"/>
                <a:gd name="connsiteX5" fmla="*/ 33721 w 202010"/>
                <a:gd name="connsiteY5" fmla="*/ 177252 h 180602"/>
                <a:gd name="connsiteX6" fmla="*/ 153188 w 202010"/>
                <a:gd name="connsiteY6" fmla="*/ 45896 h 180602"/>
                <a:gd name="connsiteX7" fmla="*/ 202009 w 202010"/>
                <a:gd name="connsiteY7" fmla="*/ 9619 h 1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010" h="180602">
                  <a:moveTo>
                    <a:pt x="202009" y="9619"/>
                  </a:moveTo>
                  <a:cubicBezTo>
                    <a:pt x="189857" y="-12134"/>
                    <a:pt x="20010" y="6729"/>
                    <a:pt x="2557" y="29345"/>
                  </a:cubicBezTo>
                  <a:cubicBezTo>
                    <a:pt x="856" y="30617"/>
                    <a:pt x="-106" y="32662"/>
                    <a:pt x="9" y="34779"/>
                  </a:cubicBezTo>
                  <a:cubicBezTo>
                    <a:pt x="1551" y="64012"/>
                    <a:pt x="4446" y="92151"/>
                    <a:pt x="8598" y="118422"/>
                  </a:cubicBezTo>
                  <a:cubicBezTo>
                    <a:pt x="11413" y="136271"/>
                    <a:pt x="15217" y="157118"/>
                    <a:pt x="22050" y="176416"/>
                  </a:cubicBezTo>
                  <a:cubicBezTo>
                    <a:pt x="23698" y="181530"/>
                    <a:pt x="31351" y="182135"/>
                    <a:pt x="33721" y="177252"/>
                  </a:cubicBezTo>
                  <a:cubicBezTo>
                    <a:pt x="65008" y="123420"/>
                    <a:pt x="106248" y="82661"/>
                    <a:pt x="153188" y="45896"/>
                  </a:cubicBezTo>
                  <a:cubicBezTo>
                    <a:pt x="162961" y="37225"/>
                    <a:pt x="202294" y="21430"/>
                    <a:pt x="202009" y="9619"/>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6" name="Freeform: Shape 15">
              <a:extLst>
                <a:ext uri="{FF2B5EF4-FFF2-40B4-BE49-F238E27FC236}">
                  <a16:creationId xmlns:a16="http://schemas.microsoft.com/office/drawing/2014/main" id="{9A9B8C6A-A80D-D3D7-7A34-B4C3E893B725}"/>
                </a:ext>
              </a:extLst>
            </p:cNvPr>
            <p:cNvSpPr/>
            <p:nvPr/>
          </p:nvSpPr>
          <p:spPr>
            <a:xfrm>
              <a:off x="6016824" y="4185558"/>
              <a:ext cx="324545" cy="264361"/>
            </a:xfrm>
            <a:custGeom>
              <a:avLst/>
              <a:gdLst>
                <a:gd name="connsiteX0" fmla="*/ 321547 w 324545"/>
                <a:gd name="connsiteY0" fmla="*/ 210529 h 264361"/>
                <a:gd name="connsiteX1" fmla="*/ 315783 w 324545"/>
                <a:gd name="connsiteY1" fmla="*/ 155052 h 264361"/>
                <a:gd name="connsiteX2" fmla="*/ 318607 w 324545"/>
                <a:gd name="connsiteY2" fmla="*/ 35861 h 264361"/>
                <a:gd name="connsiteX3" fmla="*/ 319463 w 324545"/>
                <a:gd name="connsiteY3" fmla="*/ 7198 h 264361"/>
                <a:gd name="connsiteX4" fmla="*/ 312665 w 324545"/>
                <a:gd name="connsiteY4" fmla="*/ 30 h 264361"/>
                <a:gd name="connsiteX5" fmla="*/ 123521 w 324545"/>
                <a:gd name="connsiteY5" fmla="*/ 17656 h 264361"/>
                <a:gd name="connsiteX6" fmla="*/ 66246 w 324545"/>
                <a:gd name="connsiteY6" fmla="*/ 22068 h 264361"/>
                <a:gd name="connsiteX7" fmla="*/ 3358 w 324545"/>
                <a:gd name="connsiteY7" fmla="*/ 58211 h 264361"/>
                <a:gd name="connsiteX8" fmla="*/ 730 w 324545"/>
                <a:gd name="connsiteY8" fmla="*/ 66775 h 264361"/>
                <a:gd name="connsiteX9" fmla="*/ 11421 w 324545"/>
                <a:gd name="connsiteY9" fmla="*/ 228085 h 264361"/>
                <a:gd name="connsiteX10" fmla="*/ 18664 w 324545"/>
                <a:gd name="connsiteY10" fmla="*/ 264361 h 264361"/>
                <a:gd name="connsiteX11" fmla="*/ 313636 w 324545"/>
                <a:gd name="connsiteY11" fmla="*/ 236596 h 264361"/>
                <a:gd name="connsiteX12" fmla="*/ 324389 w 324545"/>
                <a:gd name="connsiteY12" fmla="*/ 225817 h 264361"/>
                <a:gd name="connsiteX13" fmla="*/ 321547 w 324545"/>
                <a:gd name="connsiteY13" fmla="*/ 210529 h 26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545" h="264361">
                  <a:moveTo>
                    <a:pt x="321547" y="210529"/>
                  </a:moveTo>
                  <a:cubicBezTo>
                    <a:pt x="313779" y="193738"/>
                    <a:pt x="316059" y="173870"/>
                    <a:pt x="315783" y="155052"/>
                  </a:cubicBezTo>
                  <a:cubicBezTo>
                    <a:pt x="315952" y="115449"/>
                    <a:pt x="318803" y="75624"/>
                    <a:pt x="318607" y="35861"/>
                  </a:cubicBezTo>
                  <a:cubicBezTo>
                    <a:pt x="318447" y="26274"/>
                    <a:pt x="318278" y="16358"/>
                    <a:pt x="319463" y="7198"/>
                  </a:cubicBezTo>
                  <a:cubicBezTo>
                    <a:pt x="320051" y="3347"/>
                    <a:pt x="316567" y="-371"/>
                    <a:pt x="312665" y="30"/>
                  </a:cubicBezTo>
                  <a:cubicBezTo>
                    <a:pt x="254633" y="4405"/>
                    <a:pt x="185749" y="9243"/>
                    <a:pt x="123521" y="17656"/>
                  </a:cubicBezTo>
                  <a:cubicBezTo>
                    <a:pt x="104705" y="20316"/>
                    <a:pt x="85240" y="23064"/>
                    <a:pt x="66246" y="22068"/>
                  </a:cubicBezTo>
                  <a:cubicBezTo>
                    <a:pt x="47119" y="33656"/>
                    <a:pt x="27893" y="45538"/>
                    <a:pt x="3358" y="58211"/>
                  </a:cubicBezTo>
                  <a:cubicBezTo>
                    <a:pt x="276" y="59865"/>
                    <a:pt x="-891" y="63680"/>
                    <a:pt x="730" y="66775"/>
                  </a:cubicBezTo>
                  <a:cubicBezTo>
                    <a:pt x="21149" y="105773"/>
                    <a:pt x="15492" y="194841"/>
                    <a:pt x="11421" y="228085"/>
                  </a:cubicBezTo>
                  <a:cubicBezTo>
                    <a:pt x="9220" y="246041"/>
                    <a:pt x="4588" y="263605"/>
                    <a:pt x="18664" y="264361"/>
                  </a:cubicBezTo>
                  <a:cubicBezTo>
                    <a:pt x="117802" y="259781"/>
                    <a:pt x="216342" y="257531"/>
                    <a:pt x="313636" y="236596"/>
                  </a:cubicBezTo>
                  <a:cubicBezTo>
                    <a:pt x="318251" y="235457"/>
                    <a:pt x="325449" y="229783"/>
                    <a:pt x="324389" y="225817"/>
                  </a:cubicBezTo>
                  <a:cubicBezTo>
                    <a:pt x="325360" y="220988"/>
                    <a:pt x="321476" y="215749"/>
                    <a:pt x="321547" y="21052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7" name="Freeform: Shape 16">
              <a:extLst>
                <a:ext uri="{FF2B5EF4-FFF2-40B4-BE49-F238E27FC236}">
                  <a16:creationId xmlns:a16="http://schemas.microsoft.com/office/drawing/2014/main" id="{3B7A7F66-CE58-8D8D-483F-1E67BB0EB1B0}"/>
                </a:ext>
              </a:extLst>
            </p:cNvPr>
            <p:cNvSpPr/>
            <p:nvPr/>
          </p:nvSpPr>
          <p:spPr>
            <a:xfrm>
              <a:off x="6204304" y="4114890"/>
              <a:ext cx="141962" cy="43056"/>
            </a:xfrm>
            <a:custGeom>
              <a:avLst/>
              <a:gdLst>
                <a:gd name="connsiteX0" fmla="*/ 136259 w 141962"/>
                <a:gd name="connsiteY0" fmla="*/ 8790 h 43056"/>
                <a:gd name="connsiteX1" fmla="*/ 105657 w 141962"/>
                <a:gd name="connsiteY1" fmla="*/ 590 h 43056"/>
                <a:gd name="connsiteX2" fmla="*/ 100098 w 141962"/>
                <a:gd name="connsiteY2" fmla="*/ 679 h 43056"/>
                <a:gd name="connsiteX3" fmla="*/ 29629 w 141962"/>
                <a:gd name="connsiteY3" fmla="*/ 15451 h 43056"/>
                <a:gd name="connsiteX4" fmla="*/ 6724 w 141962"/>
                <a:gd name="connsiteY4" fmla="*/ 29094 h 43056"/>
                <a:gd name="connsiteX5" fmla="*/ 6172 w 141962"/>
                <a:gd name="connsiteY5" fmla="*/ 43056 h 43056"/>
                <a:gd name="connsiteX6" fmla="*/ 135404 w 141962"/>
                <a:gd name="connsiteY6" fmla="*/ 30356 h 43056"/>
                <a:gd name="connsiteX7" fmla="*/ 141943 w 141962"/>
                <a:gd name="connsiteY7" fmla="*/ 15620 h 43056"/>
                <a:gd name="connsiteX8" fmla="*/ 136259 w 141962"/>
                <a:gd name="connsiteY8" fmla="*/ 8790 h 4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62" h="43056">
                  <a:moveTo>
                    <a:pt x="136259" y="8790"/>
                  </a:moveTo>
                  <a:cubicBezTo>
                    <a:pt x="125132" y="7607"/>
                    <a:pt x="114833" y="4841"/>
                    <a:pt x="105657" y="590"/>
                  </a:cubicBezTo>
                  <a:cubicBezTo>
                    <a:pt x="103893" y="-228"/>
                    <a:pt x="101844" y="-193"/>
                    <a:pt x="100098" y="679"/>
                  </a:cubicBezTo>
                  <a:cubicBezTo>
                    <a:pt x="77799" y="12534"/>
                    <a:pt x="48338" y="21321"/>
                    <a:pt x="29629" y="15451"/>
                  </a:cubicBezTo>
                  <a:cubicBezTo>
                    <a:pt x="23402" y="14188"/>
                    <a:pt x="15883" y="26194"/>
                    <a:pt x="6724" y="29094"/>
                  </a:cubicBezTo>
                  <a:cubicBezTo>
                    <a:pt x="-1071" y="30881"/>
                    <a:pt x="-3129" y="42345"/>
                    <a:pt x="6172" y="43056"/>
                  </a:cubicBezTo>
                  <a:cubicBezTo>
                    <a:pt x="34974" y="39686"/>
                    <a:pt x="124170" y="31246"/>
                    <a:pt x="135404" y="30356"/>
                  </a:cubicBezTo>
                  <a:cubicBezTo>
                    <a:pt x="142486" y="30107"/>
                    <a:pt x="141355" y="20369"/>
                    <a:pt x="141943" y="15620"/>
                  </a:cubicBezTo>
                  <a:cubicBezTo>
                    <a:pt x="142210" y="12187"/>
                    <a:pt x="139689" y="9154"/>
                    <a:pt x="136259" y="8790"/>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8" name="Freeform: Shape 17">
              <a:extLst>
                <a:ext uri="{FF2B5EF4-FFF2-40B4-BE49-F238E27FC236}">
                  <a16:creationId xmlns:a16="http://schemas.microsoft.com/office/drawing/2014/main" id="{C12F3CA1-E154-4DEA-EEC9-473D009D7A99}"/>
                </a:ext>
              </a:extLst>
            </p:cNvPr>
            <p:cNvSpPr/>
            <p:nvPr/>
          </p:nvSpPr>
          <p:spPr>
            <a:xfrm>
              <a:off x="5956956" y="3571001"/>
              <a:ext cx="381909" cy="518746"/>
            </a:xfrm>
            <a:custGeom>
              <a:avLst/>
              <a:gdLst>
                <a:gd name="connsiteX0" fmla="*/ 376043 w 381909"/>
                <a:gd name="connsiteY0" fmla="*/ 411256 h 518746"/>
                <a:gd name="connsiteX1" fmla="*/ 381014 w 381909"/>
                <a:gd name="connsiteY1" fmla="*/ 403892 h 518746"/>
                <a:gd name="connsiteX2" fmla="*/ 327900 w 381909"/>
                <a:gd name="connsiteY2" fmla="*/ 31772 h 518746"/>
                <a:gd name="connsiteX3" fmla="*/ 316844 w 381909"/>
                <a:gd name="connsiteY3" fmla="*/ 28997 h 518746"/>
                <a:gd name="connsiteX4" fmla="*/ 37355 w 381909"/>
                <a:gd name="connsiteY4" fmla="*/ 15764 h 518746"/>
                <a:gd name="connsiteX5" fmla="*/ 0 w 381909"/>
                <a:gd name="connsiteY5" fmla="*/ 689 h 518746"/>
                <a:gd name="connsiteX6" fmla="*/ 48117 w 381909"/>
                <a:gd name="connsiteY6" fmla="*/ 512472 h 518746"/>
                <a:gd name="connsiteX7" fmla="*/ 56081 w 381909"/>
                <a:gd name="connsiteY7" fmla="*/ 518538 h 518746"/>
                <a:gd name="connsiteX8" fmla="*/ 376043 w 381909"/>
                <a:gd name="connsiteY8" fmla="*/ 411256 h 51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909" h="518746">
                  <a:moveTo>
                    <a:pt x="376043" y="411256"/>
                  </a:moveTo>
                  <a:cubicBezTo>
                    <a:pt x="378912" y="409877"/>
                    <a:pt x="380818" y="407058"/>
                    <a:pt x="381014" y="403892"/>
                  </a:cubicBezTo>
                  <a:cubicBezTo>
                    <a:pt x="388311" y="285565"/>
                    <a:pt x="349272" y="131459"/>
                    <a:pt x="327900" y="31772"/>
                  </a:cubicBezTo>
                  <a:cubicBezTo>
                    <a:pt x="326911" y="26836"/>
                    <a:pt x="320069" y="25022"/>
                    <a:pt x="316844" y="28997"/>
                  </a:cubicBezTo>
                  <a:cubicBezTo>
                    <a:pt x="247818" y="106522"/>
                    <a:pt x="74157" y="32163"/>
                    <a:pt x="37355" y="15764"/>
                  </a:cubicBezTo>
                  <a:cubicBezTo>
                    <a:pt x="28704" y="13772"/>
                    <a:pt x="6459" y="-3642"/>
                    <a:pt x="0" y="689"/>
                  </a:cubicBezTo>
                  <a:cubicBezTo>
                    <a:pt x="25248" y="153710"/>
                    <a:pt x="45578" y="334070"/>
                    <a:pt x="48117" y="512472"/>
                  </a:cubicBezTo>
                  <a:cubicBezTo>
                    <a:pt x="48179" y="516599"/>
                    <a:pt x="52081" y="519578"/>
                    <a:pt x="56081" y="518538"/>
                  </a:cubicBezTo>
                  <a:cubicBezTo>
                    <a:pt x="160057" y="491457"/>
                    <a:pt x="277066" y="458836"/>
                    <a:pt x="376043" y="41125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9" name="Freeform: Shape 18">
              <a:extLst>
                <a:ext uri="{FF2B5EF4-FFF2-40B4-BE49-F238E27FC236}">
                  <a16:creationId xmlns:a16="http://schemas.microsoft.com/office/drawing/2014/main" id="{46FB3637-31D0-25E7-9C11-358000E733C6}"/>
                </a:ext>
              </a:extLst>
            </p:cNvPr>
            <p:cNvSpPr/>
            <p:nvPr/>
          </p:nvSpPr>
          <p:spPr>
            <a:xfrm>
              <a:off x="5672855" y="4248642"/>
              <a:ext cx="360034" cy="202334"/>
            </a:xfrm>
            <a:custGeom>
              <a:avLst/>
              <a:gdLst>
                <a:gd name="connsiteX0" fmla="*/ 345991 w 360034"/>
                <a:gd name="connsiteY0" fmla="*/ 5211 h 202334"/>
                <a:gd name="connsiteX1" fmla="*/ 336708 w 360034"/>
                <a:gd name="connsiteY1" fmla="*/ 765 h 202334"/>
                <a:gd name="connsiteX2" fmla="*/ 196554 w 360034"/>
                <a:gd name="connsiteY2" fmla="*/ 60920 h 202334"/>
                <a:gd name="connsiteX3" fmla="*/ 12648 w 360034"/>
                <a:gd name="connsiteY3" fmla="*/ 102008 h 202334"/>
                <a:gd name="connsiteX4" fmla="*/ 6278 w 360034"/>
                <a:gd name="connsiteY4" fmla="*/ 108829 h 202334"/>
                <a:gd name="connsiteX5" fmla="*/ 5263 w 360034"/>
                <a:gd name="connsiteY5" fmla="*/ 187305 h 202334"/>
                <a:gd name="connsiteX6" fmla="*/ 345786 w 360034"/>
                <a:gd name="connsiteY6" fmla="*/ 201712 h 202334"/>
                <a:gd name="connsiteX7" fmla="*/ 356521 w 360034"/>
                <a:gd name="connsiteY7" fmla="*/ 192570 h 202334"/>
                <a:gd name="connsiteX8" fmla="*/ 345991 w 360034"/>
                <a:gd name="connsiteY8" fmla="*/ 5211 h 20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34" h="202334">
                  <a:moveTo>
                    <a:pt x="345991" y="5211"/>
                  </a:moveTo>
                  <a:cubicBezTo>
                    <a:pt x="345314" y="1103"/>
                    <a:pt x="340361" y="-1325"/>
                    <a:pt x="336708" y="765"/>
                  </a:cubicBezTo>
                  <a:cubicBezTo>
                    <a:pt x="291228" y="25071"/>
                    <a:pt x="242470" y="44040"/>
                    <a:pt x="196554" y="60920"/>
                  </a:cubicBezTo>
                  <a:cubicBezTo>
                    <a:pt x="138646" y="82362"/>
                    <a:pt x="76275" y="102177"/>
                    <a:pt x="12648" y="102008"/>
                  </a:cubicBezTo>
                  <a:cubicBezTo>
                    <a:pt x="9058" y="101937"/>
                    <a:pt x="5940" y="105254"/>
                    <a:pt x="6278" y="108829"/>
                  </a:cubicBezTo>
                  <a:cubicBezTo>
                    <a:pt x="10955" y="123308"/>
                    <a:pt x="-9081" y="188257"/>
                    <a:pt x="5263" y="187305"/>
                  </a:cubicBezTo>
                  <a:cubicBezTo>
                    <a:pt x="119296" y="199400"/>
                    <a:pt x="231619" y="204158"/>
                    <a:pt x="345786" y="201712"/>
                  </a:cubicBezTo>
                  <a:cubicBezTo>
                    <a:pt x="349804" y="201739"/>
                    <a:pt x="357733" y="196394"/>
                    <a:pt x="356521" y="192570"/>
                  </a:cubicBezTo>
                  <a:cubicBezTo>
                    <a:pt x="365332" y="130467"/>
                    <a:pt x="355978" y="63393"/>
                    <a:pt x="345991" y="5211"/>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0" name="Freeform: Shape 19">
              <a:extLst>
                <a:ext uri="{FF2B5EF4-FFF2-40B4-BE49-F238E27FC236}">
                  <a16:creationId xmlns:a16="http://schemas.microsoft.com/office/drawing/2014/main" id="{D4B294E8-4D4E-AF7D-CAF4-155EC2E0DBC0}"/>
                </a:ext>
              </a:extLst>
            </p:cNvPr>
            <p:cNvSpPr/>
            <p:nvPr/>
          </p:nvSpPr>
          <p:spPr>
            <a:xfrm>
              <a:off x="6334013" y="4176031"/>
              <a:ext cx="135520" cy="241987"/>
            </a:xfrm>
            <a:custGeom>
              <a:avLst/>
              <a:gdLst>
                <a:gd name="connsiteX0" fmla="*/ 134151 w 135520"/>
                <a:gd name="connsiteY0" fmla="*/ 204021 h 241987"/>
                <a:gd name="connsiteX1" fmla="*/ 124263 w 135520"/>
                <a:gd name="connsiteY1" fmla="*/ 104467 h 241987"/>
                <a:gd name="connsiteX2" fmla="*/ 127398 w 135520"/>
                <a:gd name="connsiteY2" fmla="*/ 8525 h 241987"/>
                <a:gd name="connsiteX3" fmla="*/ 120842 w 135520"/>
                <a:gd name="connsiteY3" fmla="*/ 40 h 241987"/>
                <a:gd name="connsiteX4" fmla="*/ 33651 w 135520"/>
                <a:gd name="connsiteY4" fmla="*/ 6773 h 241987"/>
                <a:gd name="connsiteX5" fmla="*/ 5917 w 135520"/>
                <a:gd name="connsiteY5" fmla="*/ 15595 h 241987"/>
                <a:gd name="connsiteX6" fmla="*/ 483 w 135520"/>
                <a:gd name="connsiteY6" fmla="*/ 206653 h 241987"/>
                <a:gd name="connsiteX7" fmla="*/ 1614 w 135520"/>
                <a:gd name="connsiteY7" fmla="*/ 235824 h 241987"/>
                <a:gd name="connsiteX8" fmla="*/ 14069 w 135520"/>
                <a:gd name="connsiteY8" fmla="*/ 241373 h 241987"/>
                <a:gd name="connsiteX9" fmla="*/ 84262 w 135520"/>
                <a:gd name="connsiteY9" fmla="*/ 226583 h 241987"/>
                <a:gd name="connsiteX10" fmla="*/ 134151 w 135520"/>
                <a:gd name="connsiteY10" fmla="*/ 204021 h 24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520" h="241987">
                  <a:moveTo>
                    <a:pt x="134151" y="204021"/>
                  </a:moveTo>
                  <a:cubicBezTo>
                    <a:pt x="124298" y="173116"/>
                    <a:pt x="127381" y="135452"/>
                    <a:pt x="124263" y="104467"/>
                  </a:cubicBezTo>
                  <a:cubicBezTo>
                    <a:pt x="123915" y="73358"/>
                    <a:pt x="119853" y="38576"/>
                    <a:pt x="127398" y="8525"/>
                  </a:cubicBezTo>
                  <a:cubicBezTo>
                    <a:pt x="129029" y="4354"/>
                    <a:pt x="125323" y="-493"/>
                    <a:pt x="120842" y="40"/>
                  </a:cubicBezTo>
                  <a:cubicBezTo>
                    <a:pt x="91816" y="2548"/>
                    <a:pt x="62248" y="4701"/>
                    <a:pt x="33651" y="6773"/>
                  </a:cubicBezTo>
                  <a:cubicBezTo>
                    <a:pt x="25535" y="9147"/>
                    <a:pt x="6087" y="3473"/>
                    <a:pt x="5917" y="15595"/>
                  </a:cubicBezTo>
                  <a:cubicBezTo>
                    <a:pt x="7378" y="78089"/>
                    <a:pt x="100" y="141989"/>
                    <a:pt x="483" y="206653"/>
                  </a:cubicBezTo>
                  <a:cubicBezTo>
                    <a:pt x="554" y="218926"/>
                    <a:pt x="-1219" y="227037"/>
                    <a:pt x="1614" y="235824"/>
                  </a:cubicBezTo>
                  <a:cubicBezTo>
                    <a:pt x="3120" y="240475"/>
                    <a:pt x="9606" y="243303"/>
                    <a:pt x="14069" y="241373"/>
                  </a:cubicBezTo>
                  <a:cubicBezTo>
                    <a:pt x="34114" y="235424"/>
                    <a:pt x="58123" y="229020"/>
                    <a:pt x="84262" y="226583"/>
                  </a:cubicBezTo>
                  <a:cubicBezTo>
                    <a:pt x="94106" y="225641"/>
                    <a:pt x="144397" y="221470"/>
                    <a:pt x="134151" y="204021"/>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1" name="Freeform: Shape 20">
              <a:extLst>
                <a:ext uri="{FF2B5EF4-FFF2-40B4-BE49-F238E27FC236}">
                  <a16:creationId xmlns:a16="http://schemas.microsoft.com/office/drawing/2014/main" id="{C079E275-941B-3113-9AAC-04394445872C}"/>
                </a:ext>
              </a:extLst>
            </p:cNvPr>
            <p:cNvSpPr/>
            <p:nvPr/>
          </p:nvSpPr>
          <p:spPr>
            <a:xfrm>
              <a:off x="6340802" y="4100558"/>
              <a:ext cx="144596" cy="44858"/>
            </a:xfrm>
            <a:custGeom>
              <a:avLst/>
              <a:gdLst>
                <a:gd name="connsiteX0" fmla="*/ 139514 w 144596"/>
                <a:gd name="connsiteY0" fmla="*/ 18044 h 44858"/>
                <a:gd name="connsiteX1" fmla="*/ 37258 w 144596"/>
                <a:gd name="connsiteY1" fmla="*/ 20685 h 44858"/>
                <a:gd name="connsiteX2" fmla="*/ 7610 w 144596"/>
                <a:gd name="connsiteY2" fmla="*/ 23255 h 44858"/>
                <a:gd name="connsiteX3" fmla="*/ 572 w 144596"/>
                <a:gd name="connsiteY3" fmla="*/ 29090 h 44858"/>
                <a:gd name="connsiteX4" fmla="*/ 6754 w 144596"/>
                <a:gd name="connsiteY4" fmla="*/ 44831 h 44858"/>
                <a:gd name="connsiteX5" fmla="*/ 139140 w 144596"/>
                <a:gd name="connsiteY5" fmla="*/ 30619 h 44858"/>
                <a:gd name="connsiteX6" fmla="*/ 139514 w 144596"/>
                <a:gd name="connsiteY6" fmla="*/ 18044 h 4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596" h="44858">
                  <a:moveTo>
                    <a:pt x="139514" y="18044"/>
                  </a:moveTo>
                  <a:cubicBezTo>
                    <a:pt x="67700" y="-4074"/>
                    <a:pt x="113901" y="-8814"/>
                    <a:pt x="37258" y="20685"/>
                  </a:cubicBezTo>
                  <a:cubicBezTo>
                    <a:pt x="25418" y="23629"/>
                    <a:pt x="20296" y="24616"/>
                    <a:pt x="7610" y="23255"/>
                  </a:cubicBezTo>
                  <a:cubicBezTo>
                    <a:pt x="4144" y="22811"/>
                    <a:pt x="768" y="25603"/>
                    <a:pt x="572" y="29090"/>
                  </a:cubicBezTo>
                  <a:cubicBezTo>
                    <a:pt x="117" y="34479"/>
                    <a:pt x="-2074" y="45480"/>
                    <a:pt x="6754" y="44831"/>
                  </a:cubicBezTo>
                  <a:cubicBezTo>
                    <a:pt x="45134" y="41665"/>
                    <a:pt x="87914" y="37067"/>
                    <a:pt x="139140" y="30619"/>
                  </a:cubicBezTo>
                  <a:cubicBezTo>
                    <a:pt x="146151" y="29926"/>
                    <a:pt x="146543" y="19156"/>
                    <a:pt x="139514" y="18044"/>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22" name="Freeform: Shape 21">
              <a:extLst>
                <a:ext uri="{FF2B5EF4-FFF2-40B4-BE49-F238E27FC236}">
                  <a16:creationId xmlns:a16="http://schemas.microsoft.com/office/drawing/2014/main" id="{67149D20-B1C3-F4AF-6C16-5B6073DDF8A0}"/>
                </a:ext>
              </a:extLst>
            </p:cNvPr>
            <p:cNvSpPr/>
            <p:nvPr/>
          </p:nvSpPr>
          <p:spPr>
            <a:xfrm>
              <a:off x="6230547" y="3540371"/>
              <a:ext cx="324961" cy="489005"/>
            </a:xfrm>
            <a:custGeom>
              <a:avLst/>
              <a:gdLst>
                <a:gd name="connsiteX0" fmla="*/ 324016 w 324961"/>
                <a:gd name="connsiteY0" fmla="*/ 437883 h 489005"/>
                <a:gd name="connsiteX1" fmla="*/ 309120 w 324961"/>
                <a:gd name="connsiteY1" fmla="*/ 380360 h 489005"/>
                <a:gd name="connsiteX2" fmla="*/ 78425 w 324961"/>
                <a:gd name="connsiteY2" fmla="*/ 30020 h 489005"/>
                <a:gd name="connsiteX3" fmla="*/ 38380 w 324961"/>
                <a:gd name="connsiteY3" fmla="*/ 3509 h 489005"/>
                <a:gd name="connsiteX4" fmla="*/ 125 w 324961"/>
                <a:gd name="connsiteY4" fmla="*/ 4220 h 489005"/>
                <a:gd name="connsiteX5" fmla="*/ 36438 w 324961"/>
                <a:gd name="connsiteY5" fmla="*/ 46455 h 489005"/>
                <a:gd name="connsiteX6" fmla="*/ 46059 w 324961"/>
                <a:gd name="connsiteY6" fmla="*/ 48127 h 489005"/>
                <a:gd name="connsiteX7" fmla="*/ 57881 w 324961"/>
                <a:gd name="connsiteY7" fmla="*/ 57537 h 489005"/>
                <a:gd name="connsiteX8" fmla="*/ 111370 w 324961"/>
                <a:gd name="connsiteY8" fmla="*/ 427238 h 489005"/>
                <a:gd name="connsiteX9" fmla="*/ 119949 w 324961"/>
                <a:gd name="connsiteY9" fmla="*/ 433223 h 489005"/>
                <a:gd name="connsiteX10" fmla="*/ 247791 w 324961"/>
                <a:gd name="connsiteY10" fmla="*/ 449782 h 489005"/>
                <a:gd name="connsiteX11" fmla="*/ 260558 w 324961"/>
                <a:gd name="connsiteY11" fmla="*/ 455377 h 489005"/>
                <a:gd name="connsiteX12" fmla="*/ 306020 w 324961"/>
                <a:gd name="connsiteY12" fmla="*/ 487028 h 489005"/>
                <a:gd name="connsiteX13" fmla="*/ 314768 w 324961"/>
                <a:gd name="connsiteY13" fmla="*/ 485232 h 489005"/>
                <a:gd name="connsiteX14" fmla="*/ 324016 w 324961"/>
                <a:gd name="connsiteY14" fmla="*/ 437883 h 4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4961" h="489005">
                  <a:moveTo>
                    <a:pt x="324016" y="437883"/>
                  </a:moveTo>
                  <a:cubicBezTo>
                    <a:pt x="312657" y="425059"/>
                    <a:pt x="312657" y="398725"/>
                    <a:pt x="309120" y="380360"/>
                  </a:cubicBezTo>
                  <a:cubicBezTo>
                    <a:pt x="292416" y="180177"/>
                    <a:pt x="286411" y="118839"/>
                    <a:pt x="78425" y="30020"/>
                  </a:cubicBezTo>
                  <a:cubicBezTo>
                    <a:pt x="73338" y="28117"/>
                    <a:pt x="41079" y="4398"/>
                    <a:pt x="38380" y="3509"/>
                  </a:cubicBezTo>
                  <a:cubicBezTo>
                    <a:pt x="29800" y="850"/>
                    <a:pt x="5176" y="-3170"/>
                    <a:pt x="125" y="4220"/>
                  </a:cubicBezTo>
                  <a:cubicBezTo>
                    <a:pt x="-2120" y="17649"/>
                    <a:pt x="26477" y="38709"/>
                    <a:pt x="36438" y="46455"/>
                  </a:cubicBezTo>
                  <a:cubicBezTo>
                    <a:pt x="37979" y="47514"/>
                    <a:pt x="41578" y="48038"/>
                    <a:pt x="46059" y="48127"/>
                  </a:cubicBezTo>
                  <a:cubicBezTo>
                    <a:pt x="51672" y="48234"/>
                    <a:pt x="56518" y="52094"/>
                    <a:pt x="57881" y="57537"/>
                  </a:cubicBezTo>
                  <a:cubicBezTo>
                    <a:pt x="85704" y="168269"/>
                    <a:pt x="111504" y="295766"/>
                    <a:pt x="111370" y="427238"/>
                  </a:cubicBezTo>
                  <a:cubicBezTo>
                    <a:pt x="111254" y="431515"/>
                    <a:pt x="115940" y="434833"/>
                    <a:pt x="119949" y="433223"/>
                  </a:cubicBezTo>
                  <a:cubicBezTo>
                    <a:pt x="161126" y="416966"/>
                    <a:pt x="195577" y="427753"/>
                    <a:pt x="247791" y="449782"/>
                  </a:cubicBezTo>
                  <a:cubicBezTo>
                    <a:pt x="249680" y="450574"/>
                    <a:pt x="257698" y="448502"/>
                    <a:pt x="260558" y="455377"/>
                  </a:cubicBezTo>
                  <a:cubicBezTo>
                    <a:pt x="264362" y="464519"/>
                    <a:pt x="275908" y="462705"/>
                    <a:pt x="306020" y="487028"/>
                  </a:cubicBezTo>
                  <a:cubicBezTo>
                    <a:pt x="309423" y="490088"/>
                    <a:pt x="313753" y="489679"/>
                    <a:pt x="314768" y="485232"/>
                  </a:cubicBezTo>
                  <a:cubicBezTo>
                    <a:pt x="316559" y="472087"/>
                    <a:pt x="328336" y="446661"/>
                    <a:pt x="324016" y="437883"/>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3" name="Freeform: Shape 22">
              <a:extLst>
                <a:ext uri="{FF2B5EF4-FFF2-40B4-BE49-F238E27FC236}">
                  <a16:creationId xmlns:a16="http://schemas.microsoft.com/office/drawing/2014/main" id="{4863F81B-7EF5-3D41-AD17-8AA493553056}"/>
                </a:ext>
              </a:extLst>
            </p:cNvPr>
            <p:cNvSpPr/>
            <p:nvPr/>
          </p:nvSpPr>
          <p:spPr>
            <a:xfrm>
              <a:off x="5565150" y="3493036"/>
              <a:ext cx="438135" cy="633267"/>
            </a:xfrm>
            <a:custGeom>
              <a:avLst/>
              <a:gdLst>
                <a:gd name="connsiteX0" fmla="*/ 204301 w 438135"/>
                <a:gd name="connsiteY0" fmla="*/ 607894 h 633267"/>
                <a:gd name="connsiteX1" fmla="*/ 246511 w 438135"/>
                <a:gd name="connsiteY1" fmla="*/ 625032 h 633267"/>
                <a:gd name="connsiteX2" fmla="*/ 272846 w 438135"/>
                <a:gd name="connsiteY2" fmla="*/ 630208 h 633267"/>
                <a:gd name="connsiteX3" fmla="*/ 303590 w 438135"/>
                <a:gd name="connsiteY3" fmla="*/ 633267 h 633267"/>
                <a:gd name="connsiteX4" fmla="*/ 414319 w 438135"/>
                <a:gd name="connsiteY4" fmla="*/ 607103 h 633267"/>
                <a:gd name="connsiteX5" fmla="*/ 437758 w 438135"/>
                <a:gd name="connsiteY5" fmla="*/ 595995 h 633267"/>
                <a:gd name="connsiteX6" fmla="*/ 434150 w 438135"/>
                <a:gd name="connsiteY6" fmla="*/ 537583 h 633267"/>
                <a:gd name="connsiteX7" fmla="*/ 432466 w 438135"/>
                <a:gd name="connsiteY7" fmla="*/ 456786 h 633267"/>
                <a:gd name="connsiteX8" fmla="*/ 413517 w 438135"/>
                <a:gd name="connsiteY8" fmla="*/ 227139 h 633267"/>
                <a:gd name="connsiteX9" fmla="*/ 384091 w 438135"/>
                <a:gd name="connsiteY9" fmla="*/ 64931 h 633267"/>
                <a:gd name="connsiteX10" fmla="*/ 371654 w 438135"/>
                <a:gd name="connsiteY10" fmla="*/ 5122 h 633267"/>
                <a:gd name="connsiteX11" fmla="*/ 367645 w 438135"/>
                <a:gd name="connsiteY11" fmla="*/ 409 h 633267"/>
                <a:gd name="connsiteX12" fmla="*/ 361516 w 438135"/>
                <a:gd name="connsiteY12" fmla="*/ 1307 h 633267"/>
                <a:gd name="connsiteX13" fmla="*/ 295973 w 438135"/>
                <a:gd name="connsiteY13" fmla="*/ 31216 h 633267"/>
                <a:gd name="connsiteX14" fmla="*/ 246066 w 438135"/>
                <a:gd name="connsiteY14" fmla="*/ 47695 h 633267"/>
                <a:gd name="connsiteX15" fmla="*/ 106553 w 438135"/>
                <a:gd name="connsiteY15" fmla="*/ 117420 h 633267"/>
                <a:gd name="connsiteX16" fmla="*/ 106268 w 438135"/>
                <a:gd name="connsiteY16" fmla="*/ 117722 h 633267"/>
                <a:gd name="connsiteX17" fmla="*/ 12386 w 438135"/>
                <a:gd name="connsiteY17" fmla="*/ 398231 h 633267"/>
                <a:gd name="connsiteX18" fmla="*/ 10792 w 438135"/>
                <a:gd name="connsiteY18" fmla="*/ 409882 h 633267"/>
                <a:gd name="connsiteX19" fmla="*/ 10774 w 438135"/>
                <a:gd name="connsiteY19" fmla="*/ 410059 h 633267"/>
                <a:gd name="connsiteX20" fmla="*/ 529 w 438135"/>
                <a:gd name="connsiteY20" fmla="*/ 618753 h 633267"/>
                <a:gd name="connsiteX21" fmla="*/ 3709 w 438135"/>
                <a:gd name="connsiteY21" fmla="*/ 624063 h 633267"/>
                <a:gd name="connsiteX22" fmla="*/ 9901 w 438135"/>
                <a:gd name="connsiteY22" fmla="*/ 624178 h 633267"/>
                <a:gd name="connsiteX23" fmla="*/ 105671 w 438135"/>
                <a:gd name="connsiteY23" fmla="*/ 603545 h 633267"/>
                <a:gd name="connsiteX24" fmla="*/ 204301 w 438135"/>
                <a:gd name="connsiteY24" fmla="*/ 607894 h 6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8135" h="633267">
                  <a:moveTo>
                    <a:pt x="204301" y="607894"/>
                  </a:moveTo>
                  <a:cubicBezTo>
                    <a:pt x="206288" y="608419"/>
                    <a:pt x="238235" y="623129"/>
                    <a:pt x="246511" y="625032"/>
                  </a:cubicBezTo>
                  <a:cubicBezTo>
                    <a:pt x="255046" y="626989"/>
                    <a:pt x="263875" y="629016"/>
                    <a:pt x="272846" y="630208"/>
                  </a:cubicBezTo>
                  <a:cubicBezTo>
                    <a:pt x="283207" y="632334"/>
                    <a:pt x="293443" y="633267"/>
                    <a:pt x="303590" y="633267"/>
                  </a:cubicBezTo>
                  <a:cubicBezTo>
                    <a:pt x="341774" y="633267"/>
                    <a:pt x="378523" y="620016"/>
                    <a:pt x="414319" y="607103"/>
                  </a:cubicBezTo>
                  <a:cubicBezTo>
                    <a:pt x="420350" y="604924"/>
                    <a:pt x="434230" y="601375"/>
                    <a:pt x="437758" y="595995"/>
                  </a:cubicBezTo>
                  <a:cubicBezTo>
                    <a:pt x="439557" y="593256"/>
                    <a:pt x="434346" y="554276"/>
                    <a:pt x="434150" y="537583"/>
                  </a:cubicBezTo>
                  <a:cubicBezTo>
                    <a:pt x="433838" y="511116"/>
                    <a:pt x="433508" y="483742"/>
                    <a:pt x="432466" y="456786"/>
                  </a:cubicBezTo>
                  <a:cubicBezTo>
                    <a:pt x="429303" y="374681"/>
                    <a:pt x="423103" y="299549"/>
                    <a:pt x="413517" y="227139"/>
                  </a:cubicBezTo>
                  <a:cubicBezTo>
                    <a:pt x="406897" y="172399"/>
                    <a:pt x="395307" y="117767"/>
                    <a:pt x="384091" y="64931"/>
                  </a:cubicBezTo>
                  <a:cubicBezTo>
                    <a:pt x="379930" y="45339"/>
                    <a:pt x="375636" y="25079"/>
                    <a:pt x="371654" y="5122"/>
                  </a:cubicBezTo>
                  <a:cubicBezTo>
                    <a:pt x="371226" y="2961"/>
                    <a:pt x="369712" y="1183"/>
                    <a:pt x="367645" y="409"/>
                  </a:cubicBezTo>
                  <a:cubicBezTo>
                    <a:pt x="365578" y="-365"/>
                    <a:pt x="363262" y="-27"/>
                    <a:pt x="361516" y="1307"/>
                  </a:cubicBezTo>
                  <a:cubicBezTo>
                    <a:pt x="342674" y="15697"/>
                    <a:pt x="318931" y="23585"/>
                    <a:pt x="295973" y="31216"/>
                  </a:cubicBezTo>
                  <a:cubicBezTo>
                    <a:pt x="295973" y="31216"/>
                    <a:pt x="261282" y="42937"/>
                    <a:pt x="246066" y="47695"/>
                  </a:cubicBezTo>
                  <a:cubicBezTo>
                    <a:pt x="196239" y="63277"/>
                    <a:pt x="144728" y="79383"/>
                    <a:pt x="106553" y="117420"/>
                  </a:cubicBezTo>
                  <a:cubicBezTo>
                    <a:pt x="106455" y="117518"/>
                    <a:pt x="106357" y="117625"/>
                    <a:pt x="106268" y="117722"/>
                  </a:cubicBezTo>
                  <a:cubicBezTo>
                    <a:pt x="40423" y="192579"/>
                    <a:pt x="25527" y="301835"/>
                    <a:pt x="12386" y="398231"/>
                  </a:cubicBezTo>
                  <a:lnTo>
                    <a:pt x="10792" y="409882"/>
                  </a:lnTo>
                  <a:cubicBezTo>
                    <a:pt x="10783" y="409944"/>
                    <a:pt x="10774" y="410006"/>
                    <a:pt x="10774" y="410059"/>
                  </a:cubicBezTo>
                  <a:cubicBezTo>
                    <a:pt x="1874" y="492235"/>
                    <a:pt x="-1387" y="558545"/>
                    <a:pt x="529" y="618753"/>
                  </a:cubicBezTo>
                  <a:cubicBezTo>
                    <a:pt x="600" y="620950"/>
                    <a:pt x="1803" y="622960"/>
                    <a:pt x="3709" y="624063"/>
                  </a:cubicBezTo>
                  <a:cubicBezTo>
                    <a:pt x="5616" y="625165"/>
                    <a:pt x="7959" y="625210"/>
                    <a:pt x="9901" y="624178"/>
                  </a:cubicBezTo>
                  <a:cubicBezTo>
                    <a:pt x="37349" y="609629"/>
                    <a:pt x="105671" y="603545"/>
                    <a:pt x="105671" y="603545"/>
                  </a:cubicBezTo>
                  <a:cubicBezTo>
                    <a:pt x="139525" y="600148"/>
                    <a:pt x="172229" y="599410"/>
                    <a:pt x="204301" y="607894"/>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4" name="Freeform: Shape 23">
              <a:extLst>
                <a:ext uri="{FF2B5EF4-FFF2-40B4-BE49-F238E27FC236}">
                  <a16:creationId xmlns:a16="http://schemas.microsoft.com/office/drawing/2014/main" id="{01362056-098A-F9F0-57E8-FF39201A0D89}"/>
                </a:ext>
              </a:extLst>
            </p:cNvPr>
            <p:cNvSpPr/>
            <p:nvPr/>
          </p:nvSpPr>
          <p:spPr>
            <a:xfrm>
              <a:off x="6062885" y="3569887"/>
              <a:ext cx="1050323" cy="636955"/>
            </a:xfrm>
            <a:custGeom>
              <a:avLst/>
              <a:gdLst>
                <a:gd name="connsiteX0" fmla="*/ 1049203 w 1050323"/>
                <a:gd name="connsiteY0" fmla="*/ 32503 h 636955"/>
                <a:gd name="connsiteX1" fmla="*/ 953246 w 1050323"/>
                <a:gd name="connsiteY1" fmla="*/ 2559 h 636955"/>
                <a:gd name="connsiteX2" fmla="*/ 658460 w 1050323"/>
                <a:gd name="connsiteY2" fmla="*/ 9798 h 636955"/>
                <a:gd name="connsiteX3" fmla="*/ 578975 w 1050323"/>
                <a:gd name="connsiteY3" fmla="*/ 107155 h 636955"/>
                <a:gd name="connsiteX4" fmla="*/ 462082 w 1050323"/>
                <a:gd name="connsiteY4" fmla="*/ 549764 h 636955"/>
                <a:gd name="connsiteX5" fmla="*/ 446224 w 1050323"/>
                <a:gd name="connsiteY5" fmla="*/ 555883 h 636955"/>
                <a:gd name="connsiteX6" fmla="*/ 114334 w 1050323"/>
                <a:gd name="connsiteY6" fmla="*/ 594090 h 636955"/>
                <a:gd name="connsiteX7" fmla="*/ 5289 w 1050323"/>
                <a:gd name="connsiteY7" fmla="*/ 610044 h 636955"/>
                <a:gd name="connsiteX8" fmla="*/ 12933 w 1050323"/>
                <a:gd name="connsiteY8" fmla="*/ 635177 h 636955"/>
                <a:gd name="connsiteX9" fmla="*/ 30929 w 1050323"/>
                <a:gd name="connsiteY9" fmla="*/ 636956 h 636955"/>
                <a:gd name="connsiteX10" fmla="*/ 234577 w 1050323"/>
                <a:gd name="connsiteY10" fmla="*/ 617239 h 636955"/>
                <a:gd name="connsiteX11" fmla="*/ 347960 w 1050323"/>
                <a:gd name="connsiteY11" fmla="*/ 608337 h 636955"/>
                <a:gd name="connsiteX12" fmla="*/ 455026 w 1050323"/>
                <a:gd name="connsiteY12" fmla="*/ 597549 h 636955"/>
                <a:gd name="connsiteX13" fmla="*/ 489700 w 1050323"/>
                <a:gd name="connsiteY13" fmla="*/ 587855 h 636955"/>
                <a:gd name="connsiteX14" fmla="*/ 553942 w 1050323"/>
                <a:gd name="connsiteY14" fmla="*/ 580340 h 636955"/>
                <a:gd name="connsiteX15" fmla="*/ 662336 w 1050323"/>
                <a:gd name="connsiteY15" fmla="*/ 563736 h 636955"/>
                <a:gd name="connsiteX16" fmla="*/ 706844 w 1050323"/>
                <a:gd name="connsiteY16" fmla="*/ 545878 h 636955"/>
                <a:gd name="connsiteX17" fmla="*/ 754819 w 1050323"/>
                <a:gd name="connsiteY17" fmla="*/ 462769 h 636955"/>
                <a:gd name="connsiteX18" fmla="*/ 776075 w 1050323"/>
                <a:gd name="connsiteY18" fmla="*/ 429098 h 636955"/>
                <a:gd name="connsiteX19" fmla="*/ 792886 w 1050323"/>
                <a:gd name="connsiteY19" fmla="*/ 435377 h 636955"/>
                <a:gd name="connsiteX20" fmla="*/ 797447 w 1050323"/>
                <a:gd name="connsiteY20" fmla="*/ 429489 h 636955"/>
                <a:gd name="connsiteX21" fmla="*/ 826045 w 1050323"/>
                <a:gd name="connsiteY21" fmla="*/ 414895 h 636955"/>
                <a:gd name="connsiteX22" fmla="*/ 850268 w 1050323"/>
                <a:gd name="connsiteY22" fmla="*/ 418079 h 636955"/>
                <a:gd name="connsiteX23" fmla="*/ 883721 w 1050323"/>
                <a:gd name="connsiteY23" fmla="*/ 504906 h 636955"/>
                <a:gd name="connsiteX24" fmla="*/ 891088 w 1050323"/>
                <a:gd name="connsiteY24" fmla="*/ 496839 h 636955"/>
                <a:gd name="connsiteX25" fmla="*/ 919089 w 1050323"/>
                <a:gd name="connsiteY25" fmla="*/ 457201 h 636955"/>
                <a:gd name="connsiteX26" fmla="*/ 1049203 w 1050323"/>
                <a:gd name="connsiteY26" fmla="*/ 32503 h 63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50323" h="636955">
                  <a:moveTo>
                    <a:pt x="1049203" y="32503"/>
                  </a:moveTo>
                  <a:cubicBezTo>
                    <a:pt x="1060277" y="-11413"/>
                    <a:pt x="986467" y="1536"/>
                    <a:pt x="953246" y="2559"/>
                  </a:cubicBezTo>
                  <a:cubicBezTo>
                    <a:pt x="844094" y="6036"/>
                    <a:pt x="744351" y="5867"/>
                    <a:pt x="658460" y="9798"/>
                  </a:cubicBezTo>
                  <a:cubicBezTo>
                    <a:pt x="602156" y="16842"/>
                    <a:pt x="591528" y="61193"/>
                    <a:pt x="578975" y="107155"/>
                  </a:cubicBezTo>
                  <a:cubicBezTo>
                    <a:pt x="535304" y="254173"/>
                    <a:pt x="502163" y="403716"/>
                    <a:pt x="462082" y="549764"/>
                  </a:cubicBezTo>
                  <a:cubicBezTo>
                    <a:pt x="461672" y="551250"/>
                    <a:pt x="449191" y="554860"/>
                    <a:pt x="446224" y="555883"/>
                  </a:cubicBezTo>
                  <a:cubicBezTo>
                    <a:pt x="335764" y="576632"/>
                    <a:pt x="224679" y="575440"/>
                    <a:pt x="114334" y="594090"/>
                  </a:cubicBezTo>
                  <a:cubicBezTo>
                    <a:pt x="78859" y="596571"/>
                    <a:pt x="42279" y="604477"/>
                    <a:pt x="5289" y="610044"/>
                  </a:cubicBezTo>
                  <a:cubicBezTo>
                    <a:pt x="-7058" y="615114"/>
                    <a:pt x="5040" y="628712"/>
                    <a:pt x="12933" y="635177"/>
                  </a:cubicBezTo>
                  <a:cubicBezTo>
                    <a:pt x="18002" y="637836"/>
                    <a:pt x="24916" y="635889"/>
                    <a:pt x="30929" y="636956"/>
                  </a:cubicBezTo>
                  <a:cubicBezTo>
                    <a:pt x="99002" y="630615"/>
                    <a:pt x="167154" y="621117"/>
                    <a:pt x="234577" y="617239"/>
                  </a:cubicBezTo>
                  <a:cubicBezTo>
                    <a:pt x="271905" y="614509"/>
                    <a:pt x="310462" y="610783"/>
                    <a:pt x="347960" y="608337"/>
                  </a:cubicBezTo>
                  <a:cubicBezTo>
                    <a:pt x="383266" y="605909"/>
                    <a:pt x="419765" y="603392"/>
                    <a:pt x="455026" y="597549"/>
                  </a:cubicBezTo>
                  <a:cubicBezTo>
                    <a:pt x="460568" y="596464"/>
                    <a:pt x="481031" y="586130"/>
                    <a:pt x="489700" y="587855"/>
                  </a:cubicBezTo>
                  <a:cubicBezTo>
                    <a:pt x="511224" y="586299"/>
                    <a:pt x="532409" y="583106"/>
                    <a:pt x="553942" y="580340"/>
                  </a:cubicBezTo>
                  <a:cubicBezTo>
                    <a:pt x="590263" y="576240"/>
                    <a:pt x="626059" y="566484"/>
                    <a:pt x="662336" y="563736"/>
                  </a:cubicBezTo>
                  <a:cubicBezTo>
                    <a:pt x="676527" y="557057"/>
                    <a:pt x="692118" y="552424"/>
                    <a:pt x="706844" y="545878"/>
                  </a:cubicBezTo>
                  <a:cubicBezTo>
                    <a:pt x="741322" y="532689"/>
                    <a:pt x="740306" y="467295"/>
                    <a:pt x="754819" y="462769"/>
                  </a:cubicBezTo>
                  <a:cubicBezTo>
                    <a:pt x="776699" y="481054"/>
                    <a:pt x="766311" y="435261"/>
                    <a:pt x="776075" y="429098"/>
                  </a:cubicBezTo>
                  <a:cubicBezTo>
                    <a:pt x="782596" y="424625"/>
                    <a:pt x="786098" y="437840"/>
                    <a:pt x="792886" y="435377"/>
                  </a:cubicBezTo>
                  <a:cubicBezTo>
                    <a:pt x="795514" y="434594"/>
                    <a:pt x="797358" y="432220"/>
                    <a:pt x="797447" y="429489"/>
                  </a:cubicBezTo>
                  <a:cubicBezTo>
                    <a:pt x="798427" y="404926"/>
                    <a:pt x="815541" y="393809"/>
                    <a:pt x="826045" y="414895"/>
                  </a:cubicBezTo>
                  <a:cubicBezTo>
                    <a:pt x="831675" y="422979"/>
                    <a:pt x="842838" y="411018"/>
                    <a:pt x="850268" y="418079"/>
                  </a:cubicBezTo>
                  <a:cubicBezTo>
                    <a:pt x="880033" y="438667"/>
                    <a:pt x="865066" y="516636"/>
                    <a:pt x="883721" y="504906"/>
                  </a:cubicBezTo>
                  <a:cubicBezTo>
                    <a:pt x="887017" y="502976"/>
                    <a:pt x="890269" y="500664"/>
                    <a:pt x="891088" y="496839"/>
                  </a:cubicBezTo>
                  <a:cubicBezTo>
                    <a:pt x="903231" y="482726"/>
                    <a:pt x="912131" y="470132"/>
                    <a:pt x="919089" y="457201"/>
                  </a:cubicBezTo>
                  <a:cubicBezTo>
                    <a:pt x="972212" y="327641"/>
                    <a:pt x="1030806" y="184857"/>
                    <a:pt x="1049203" y="3250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25" name="Freeform: Shape 24">
              <a:extLst>
                <a:ext uri="{FF2B5EF4-FFF2-40B4-BE49-F238E27FC236}">
                  <a16:creationId xmlns:a16="http://schemas.microsoft.com/office/drawing/2014/main" id="{ABC239E4-A48D-4139-9BB0-4472B9D8A169}"/>
                </a:ext>
              </a:extLst>
            </p:cNvPr>
            <p:cNvSpPr/>
            <p:nvPr/>
          </p:nvSpPr>
          <p:spPr>
            <a:xfrm>
              <a:off x="5546364" y="3368067"/>
              <a:ext cx="1576758" cy="1077197"/>
            </a:xfrm>
            <a:custGeom>
              <a:avLst/>
              <a:gdLst>
                <a:gd name="connsiteX0" fmla="*/ 1575657 w 1576758"/>
                <a:gd name="connsiteY0" fmla="*/ 220903 h 1077197"/>
                <a:gd name="connsiteX1" fmla="*/ 1567675 w 1576758"/>
                <a:gd name="connsiteY1" fmla="*/ 203649 h 1077197"/>
                <a:gd name="connsiteX2" fmla="*/ 1543220 w 1576758"/>
                <a:gd name="connsiteY2" fmla="*/ 195227 h 1077197"/>
                <a:gd name="connsiteX3" fmla="*/ 1180745 w 1576758"/>
                <a:gd name="connsiteY3" fmla="*/ 200777 h 1077197"/>
                <a:gd name="connsiteX4" fmla="*/ 1156611 w 1576758"/>
                <a:gd name="connsiteY4" fmla="*/ 205339 h 1077197"/>
                <a:gd name="connsiteX5" fmla="*/ 1088422 w 1576758"/>
                <a:gd name="connsiteY5" fmla="*/ 294443 h 1077197"/>
                <a:gd name="connsiteX6" fmla="*/ 1014889 w 1576758"/>
                <a:gd name="connsiteY6" fmla="*/ 568877 h 1077197"/>
                <a:gd name="connsiteX7" fmla="*/ 843972 w 1576758"/>
                <a:gd name="connsiteY7" fmla="*/ 221232 h 1077197"/>
                <a:gd name="connsiteX8" fmla="*/ 740959 w 1576758"/>
                <a:gd name="connsiteY8" fmla="*/ 175395 h 1077197"/>
                <a:gd name="connsiteX9" fmla="*/ 682134 w 1576758"/>
                <a:gd name="connsiteY9" fmla="*/ 166066 h 1077197"/>
                <a:gd name="connsiteX10" fmla="*/ 668378 w 1576758"/>
                <a:gd name="connsiteY10" fmla="*/ 111860 h 1077197"/>
                <a:gd name="connsiteX11" fmla="*/ 660574 w 1576758"/>
                <a:gd name="connsiteY11" fmla="*/ 109752 h 1077197"/>
                <a:gd name="connsiteX12" fmla="*/ 712851 w 1576758"/>
                <a:gd name="connsiteY12" fmla="*/ 226043 h 1077197"/>
                <a:gd name="connsiteX13" fmla="*/ 612386 w 1576758"/>
                <a:gd name="connsiteY13" fmla="*/ 250927 h 1077197"/>
                <a:gd name="connsiteX14" fmla="*/ 413122 w 1576758"/>
                <a:gd name="connsiteY14" fmla="*/ 188166 h 1077197"/>
                <a:gd name="connsiteX15" fmla="*/ 406208 w 1576758"/>
                <a:gd name="connsiteY15" fmla="*/ 161930 h 1077197"/>
                <a:gd name="connsiteX16" fmla="*/ 447626 w 1576758"/>
                <a:gd name="connsiteY16" fmla="*/ 56987 h 1077197"/>
                <a:gd name="connsiteX17" fmla="*/ 431020 w 1576758"/>
                <a:gd name="connsiteY17" fmla="*/ 1581 h 1077197"/>
                <a:gd name="connsiteX18" fmla="*/ 421942 w 1576758"/>
                <a:gd name="connsiteY18" fmla="*/ 5334 h 1077197"/>
                <a:gd name="connsiteX19" fmla="*/ 427287 w 1576758"/>
                <a:gd name="connsiteY19" fmla="*/ 32344 h 1077197"/>
                <a:gd name="connsiteX20" fmla="*/ 400534 w 1576758"/>
                <a:gd name="connsiteY20" fmla="*/ 143209 h 1077197"/>
                <a:gd name="connsiteX21" fmla="*/ 392560 w 1576758"/>
                <a:gd name="connsiteY21" fmla="*/ 120416 h 1077197"/>
                <a:gd name="connsiteX22" fmla="*/ 383999 w 1576758"/>
                <a:gd name="connsiteY22" fmla="*/ 118379 h 1077197"/>
                <a:gd name="connsiteX23" fmla="*/ 133642 w 1576758"/>
                <a:gd name="connsiteY23" fmla="*/ 210488 h 1077197"/>
                <a:gd name="connsiteX24" fmla="*/ 0 w 1576758"/>
                <a:gd name="connsiteY24" fmla="*/ 687213 h 1077197"/>
                <a:gd name="connsiteX25" fmla="*/ 38299 w 1576758"/>
                <a:gd name="connsiteY25" fmla="*/ 941504 h 1077197"/>
                <a:gd name="connsiteX26" fmla="*/ 120546 w 1576758"/>
                <a:gd name="connsiteY26" fmla="*/ 988568 h 1077197"/>
                <a:gd name="connsiteX27" fmla="*/ 109481 w 1576758"/>
                <a:gd name="connsiteY27" fmla="*/ 1045682 h 1077197"/>
                <a:gd name="connsiteX28" fmla="*/ 109561 w 1576758"/>
                <a:gd name="connsiteY28" fmla="*/ 1071766 h 1077197"/>
                <a:gd name="connsiteX29" fmla="*/ 128849 w 1576758"/>
                <a:gd name="connsiteY29" fmla="*/ 1071766 h 1077197"/>
                <a:gd name="connsiteX30" fmla="*/ 133633 w 1576758"/>
                <a:gd name="connsiteY30" fmla="*/ 1047603 h 1077197"/>
                <a:gd name="connsiteX31" fmla="*/ 139139 w 1576758"/>
                <a:gd name="connsiteY31" fmla="*/ 988924 h 1077197"/>
                <a:gd name="connsiteX32" fmla="*/ 325263 w 1576758"/>
                <a:gd name="connsiteY32" fmla="*/ 947445 h 1077197"/>
                <a:gd name="connsiteX33" fmla="*/ 466210 w 1576758"/>
                <a:gd name="connsiteY33" fmla="*/ 886934 h 1077197"/>
                <a:gd name="connsiteX34" fmla="*/ 474130 w 1576758"/>
                <a:gd name="connsiteY34" fmla="*/ 1050564 h 1077197"/>
                <a:gd name="connsiteX35" fmla="*/ 491146 w 1576758"/>
                <a:gd name="connsiteY35" fmla="*/ 1050564 h 1077197"/>
                <a:gd name="connsiteX36" fmla="*/ 476856 w 1576758"/>
                <a:gd name="connsiteY36" fmla="*/ 881295 h 1077197"/>
                <a:gd name="connsiteX37" fmla="*/ 533124 w 1576758"/>
                <a:gd name="connsiteY37" fmla="*/ 849688 h 1077197"/>
                <a:gd name="connsiteX38" fmla="*/ 536376 w 1576758"/>
                <a:gd name="connsiteY38" fmla="*/ 845899 h 1077197"/>
                <a:gd name="connsiteX39" fmla="*/ 625375 w 1576758"/>
                <a:gd name="connsiteY39" fmla="*/ 837673 h 1077197"/>
                <a:gd name="connsiteX40" fmla="*/ 783597 w 1576758"/>
                <a:gd name="connsiteY40" fmla="*/ 823861 h 1077197"/>
                <a:gd name="connsiteX41" fmla="*/ 782741 w 1576758"/>
                <a:gd name="connsiteY41" fmla="*/ 869663 h 1077197"/>
                <a:gd name="connsiteX42" fmla="*/ 781022 w 1576758"/>
                <a:gd name="connsiteY42" fmla="*/ 921725 h 1077197"/>
                <a:gd name="connsiteX43" fmla="*/ 779873 w 1576758"/>
                <a:gd name="connsiteY43" fmla="*/ 972409 h 1077197"/>
                <a:gd name="connsiteX44" fmla="*/ 780782 w 1576758"/>
                <a:gd name="connsiteY44" fmla="*/ 1024507 h 1077197"/>
                <a:gd name="connsiteX45" fmla="*/ 797192 w 1576758"/>
                <a:gd name="connsiteY45" fmla="*/ 1024507 h 1077197"/>
                <a:gd name="connsiteX46" fmla="*/ 798947 w 1576758"/>
                <a:gd name="connsiteY46" fmla="*/ 973787 h 1077197"/>
                <a:gd name="connsiteX47" fmla="*/ 800087 w 1576758"/>
                <a:gd name="connsiteY47" fmla="*/ 871041 h 1077197"/>
                <a:gd name="connsiteX48" fmla="*/ 799891 w 1576758"/>
                <a:gd name="connsiteY48" fmla="*/ 822679 h 1077197"/>
                <a:gd name="connsiteX49" fmla="*/ 909051 w 1576758"/>
                <a:gd name="connsiteY49" fmla="*/ 814328 h 1077197"/>
                <a:gd name="connsiteX50" fmla="*/ 904552 w 1576758"/>
                <a:gd name="connsiteY50" fmla="*/ 861436 h 1077197"/>
                <a:gd name="connsiteX51" fmla="*/ 905550 w 1576758"/>
                <a:gd name="connsiteY51" fmla="*/ 912680 h 1077197"/>
                <a:gd name="connsiteX52" fmla="*/ 910566 w 1576758"/>
                <a:gd name="connsiteY52" fmla="*/ 989707 h 1077197"/>
                <a:gd name="connsiteX53" fmla="*/ 916250 w 1576758"/>
                <a:gd name="connsiteY53" fmla="*/ 1015124 h 1077197"/>
                <a:gd name="connsiteX54" fmla="*/ 935208 w 1576758"/>
                <a:gd name="connsiteY54" fmla="*/ 1012652 h 1077197"/>
                <a:gd name="connsiteX55" fmla="*/ 935992 w 1576758"/>
                <a:gd name="connsiteY55" fmla="*/ 988435 h 1077197"/>
                <a:gd name="connsiteX56" fmla="*/ 934041 w 1576758"/>
                <a:gd name="connsiteY56" fmla="*/ 963933 h 1077197"/>
                <a:gd name="connsiteX57" fmla="*/ 930504 w 1576758"/>
                <a:gd name="connsiteY57" fmla="*/ 892821 h 1077197"/>
                <a:gd name="connsiteX58" fmla="*/ 987405 w 1576758"/>
                <a:gd name="connsiteY58" fmla="*/ 899740 h 1077197"/>
                <a:gd name="connsiteX59" fmla="*/ 1158589 w 1576758"/>
                <a:gd name="connsiteY59" fmla="*/ 859622 h 1077197"/>
                <a:gd name="connsiteX60" fmla="*/ 1202999 w 1576758"/>
                <a:gd name="connsiteY60" fmla="*/ 862397 h 1077197"/>
                <a:gd name="connsiteX61" fmla="*/ 1252372 w 1576758"/>
                <a:gd name="connsiteY61" fmla="*/ 859337 h 1077197"/>
                <a:gd name="connsiteX62" fmla="*/ 1396491 w 1576758"/>
                <a:gd name="connsiteY62" fmla="*/ 720502 h 1077197"/>
                <a:gd name="connsiteX63" fmla="*/ 1423048 w 1576758"/>
                <a:gd name="connsiteY63" fmla="*/ 696071 h 1077197"/>
                <a:gd name="connsiteX64" fmla="*/ 1463370 w 1576758"/>
                <a:gd name="connsiteY64" fmla="*/ 620032 h 1077197"/>
                <a:gd name="connsiteX65" fmla="*/ 1500671 w 1576758"/>
                <a:gd name="connsiteY65" fmla="*/ 521893 h 1077197"/>
                <a:gd name="connsiteX66" fmla="*/ 1571924 w 1576758"/>
                <a:gd name="connsiteY66" fmla="*/ 272111 h 1077197"/>
                <a:gd name="connsiteX67" fmla="*/ 1575657 w 1576758"/>
                <a:gd name="connsiteY67" fmla="*/ 220903 h 1077197"/>
                <a:gd name="connsiteX68" fmla="*/ 759276 w 1576758"/>
                <a:gd name="connsiteY68" fmla="*/ 207749 h 1077197"/>
                <a:gd name="connsiteX69" fmla="*/ 812417 w 1576758"/>
                <a:gd name="connsiteY69" fmla="*/ 234439 h 1077197"/>
                <a:gd name="connsiteX70" fmla="*/ 986977 w 1576758"/>
                <a:gd name="connsiteY70" fmla="*/ 553571 h 1077197"/>
                <a:gd name="connsiteX71" fmla="*/ 1003405 w 1576758"/>
                <a:gd name="connsiteY71" fmla="*/ 614385 h 1077197"/>
                <a:gd name="connsiteX72" fmla="*/ 992759 w 1576758"/>
                <a:gd name="connsiteY72" fmla="*/ 655944 h 1077197"/>
                <a:gd name="connsiteX73" fmla="*/ 950148 w 1576758"/>
                <a:gd name="connsiteY73" fmla="*/ 626969 h 1077197"/>
                <a:gd name="connsiteX74" fmla="*/ 921310 w 1576758"/>
                <a:gd name="connsiteY74" fmla="*/ 423558 h 1077197"/>
                <a:gd name="connsiteX75" fmla="*/ 916820 w 1576758"/>
                <a:gd name="connsiteY75" fmla="*/ 424794 h 1077197"/>
                <a:gd name="connsiteX76" fmla="*/ 934504 w 1576758"/>
                <a:gd name="connsiteY76" fmla="*/ 618618 h 1077197"/>
                <a:gd name="connsiteX77" fmla="*/ 801931 w 1576758"/>
                <a:gd name="connsiteY77" fmla="*/ 599542 h 1077197"/>
                <a:gd name="connsiteX78" fmla="*/ 739248 w 1576758"/>
                <a:gd name="connsiteY78" fmla="*/ 193173 h 1077197"/>
                <a:gd name="connsiteX79" fmla="*/ 759276 w 1576758"/>
                <a:gd name="connsiteY79" fmla="*/ 207749 h 1077197"/>
                <a:gd name="connsiteX80" fmla="*/ 703934 w 1576758"/>
                <a:gd name="connsiteY80" fmla="*/ 196561 h 1077197"/>
                <a:gd name="connsiteX81" fmla="*/ 690000 w 1576758"/>
                <a:gd name="connsiteY81" fmla="*/ 179388 h 1077197"/>
                <a:gd name="connsiteX82" fmla="*/ 720442 w 1576758"/>
                <a:gd name="connsiteY82" fmla="*/ 181807 h 1077197"/>
                <a:gd name="connsiteX83" fmla="*/ 726696 w 1576758"/>
                <a:gd name="connsiteY83" fmla="*/ 212836 h 1077197"/>
                <a:gd name="connsiteX84" fmla="*/ 724522 w 1576758"/>
                <a:gd name="connsiteY84" fmla="*/ 213708 h 1077197"/>
                <a:gd name="connsiteX85" fmla="*/ 703934 w 1576758"/>
                <a:gd name="connsiteY85" fmla="*/ 196561 h 1077197"/>
                <a:gd name="connsiteX86" fmla="*/ 448356 w 1576758"/>
                <a:gd name="connsiteY86" fmla="*/ 225919 h 1077197"/>
                <a:gd name="connsiteX87" fmla="*/ 732255 w 1576758"/>
                <a:gd name="connsiteY87" fmla="*/ 236102 h 1077197"/>
                <a:gd name="connsiteX88" fmla="*/ 777868 w 1576758"/>
                <a:gd name="connsiteY88" fmla="*/ 511888 h 1077197"/>
                <a:gd name="connsiteX89" fmla="*/ 782946 w 1576758"/>
                <a:gd name="connsiteY89" fmla="*/ 607768 h 1077197"/>
                <a:gd name="connsiteX90" fmla="*/ 466878 w 1576758"/>
                <a:gd name="connsiteY90" fmla="*/ 713565 h 1077197"/>
                <a:gd name="connsiteX91" fmla="*/ 418280 w 1576758"/>
                <a:gd name="connsiteY91" fmla="*/ 210560 h 1077197"/>
                <a:gd name="connsiteX92" fmla="*/ 448356 w 1576758"/>
                <a:gd name="connsiteY92" fmla="*/ 225919 h 1077197"/>
                <a:gd name="connsiteX93" fmla="*/ 35903 w 1576758"/>
                <a:gd name="connsiteY93" fmla="*/ 535731 h 1077197"/>
                <a:gd name="connsiteX94" fmla="*/ 129847 w 1576758"/>
                <a:gd name="connsiteY94" fmla="*/ 246916 h 1077197"/>
                <a:gd name="connsiteX95" fmla="*/ 312808 w 1576758"/>
                <a:gd name="connsiteY95" fmla="*/ 163558 h 1077197"/>
                <a:gd name="connsiteX96" fmla="*/ 384177 w 1576758"/>
                <a:gd name="connsiteY96" fmla="*/ 131354 h 1077197"/>
                <a:gd name="connsiteX97" fmla="*/ 425950 w 1576758"/>
                <a:gd name="connsiteY97" fmla="*/ 352891 h 1077197"/>
                <a:gd name="connsiteX98" fmla="*/ 444864 w 1576758"/>
                <a:gd name="connsiteY98" fmla="*/ 582013 h 1077197"/>
                <a:gd name="connsiteX99" fmla="*/ 447323 w 1576758"/>
                <a:gd name="connsiteY99" fmla="*/ 713618 h 1077197"/>
                <a:gd name="connsiteX100" fmla="*/ 449345 w 1576758"/>
                <a:gd name="connsiteY100" fmla="*/ 719514 h 1077197"/>
                <a:gd name="connsiteX101" fmla="*/ 292692 w 1576758"/>
                <a:gd name="connsiteY101" fmla="*/ 748907 h 1077197"/>
                <a:gd name="connsiteX102" fmla="*/ 240896 w 1576758"/>
                <a:gd name="connsiteY102" fmla="*/ 738724 h 1077197"/>
                <a:gd name="connsiteX103" fmla="*/ 240121 w 1576758"/>
                <a:gd name="connsiteY103" fmla="*/ 713440 h 1077197"/>
                <a:gd name="connsiteX104" fmla="*/ 239114 w 1576758"/>
                <a:gd name="connsiteY104" fmla="*/ 684261 h 1077197"/>
                <a:gd name="connsiteX105" fmla="*/ 239987 w 1576758"/>
                <a:gd name="connsiteY105" fmla="*/ 518344 h 1077197"/>
                <a:gd name="connsiteX106" fmla="*/ 231140 w 1576758"/>
                <a:gd name="connsiteY106" fmla="*/ 515908 h 1077197"/>
                <a:gd name="connsiteX107" fmla="*/ 222677 w 1576758"/>
                <a:gd name="connsiteY107" fmla="*/ 626942 h 1077197"/>
                <a:gd name="connsiteX108" fmla="*/ 223995 w 1576758"/>
                <a:gd name="connsiteY108" fmla="*/ 724246 h 1077197"/>
                <a:gd name="connsiteX109" fmla="*/ 119192 w 1576758"/>
                <a:gd name="connsiteY109" fmla="*/ 722654 h 1077197"/>
                <a:gd name="connsiteX110" fmla="*/ 25675 w 1576758"/>
                <a:gd name="connsiteY110" fmla="*/ 743536 h 1077197"/>
                <a:gd name="connsiteX111" fmla="*/ 35903 w 1576758"/>
                <a:gd name="connsiteY111" fmla="*/ 535731 h 1077197"/>
                <a:gd name="connsiteX112" fmla="*/ 48215 w 1576758"/>
                <a:gd name="connsiteY112" fmla="*/ 903360 h 1077197"/>
                <a:gd name="connsiteX113" fmla="*/ 35039 w 1576758"/>
                <a:gd name="connsiteY113" fmla="*/ 846495 h 1077197"/>
                <a:gd name="connsiteX114" fmla="*/ 26522 w 1576758"/>
                <a:gd name="connsiteY114" fmla="*/ 763510 h 1077197"/>
                <a:gd name="connsiteX115" fmla="*/ 149615 w 1576758"/>
                <a:gd name="connsiteY115" fmla="*/ 736759 h 1077197"/>
                <a:gd name="connsiteX116" fmla="*/ 215906 w 1576758"/>
                <a:gd name="connsiteY116" fmla="*/ 740005 h 1077197"/>
                <a:gd name="connsiteX117" fmla="*/ 169767 w 1576758"/>
                <a:gd name="connsiteY117" fmla="*/ 769673 h 1077197"/>
                <a:gd name="connsiteX118" fmla="*/ 118399 w 1576758"/>
                <a:gd name="connsiteY118" fmla="*/ 815075 h 1077197"/>
                <a:gd name="connsiteX119" fmla="*/ 48215 w 1576758"/>
                <a:gd name="connsiteY119" fmla="*/ 903360 h 1077197"/>
                <a:gd name="connsiteX120" fmla="*/ 359677 w 1576758"/>
                <a:gd name="connsiteY120" fmla="*/ 907406 h 1077197"/>
                <a:gd name="connsiteX121" fmla="*/ 84919 w 1576758"/>
                <a:gd name="connsiteY121" fmla="*/ 954524 h 1077197"/>
                <a:gd name="connsiteX122" fmla="*/ 54424 w 1576758"/>
                <a:gd name="connsiteY122" fmla="*/ 918390 h 1077197"/>
                <a:gd name="connsiteX123" fmla="*/ 131299 w 1576758"/>
                <a:gd name="connsiteY123" fmla="*/ 822963 h 1077197"/>
                <a:gd name="connsiteX124" fmla="*/ 183095 w 1576758"/>
                <a:gd name="connsiteY124" fmla="*/ 778540 h 1077197"/>
                <a:gd name="connsiteX125" fmla="*/ 210775 w 1576758"/>
                <a:gd name="connsiteY125" fmla="*/ 761527 h 1077197"/>
                <a:gd name="connsiteX126" fmla="*/ 233225 w 1576758"/>
                <a:gd name="connsiteY126" fmla="*/ 744816 h 1077197"/>
                <a:gd name="connsiteX127" fmla="*/ 239933 w 1576758"/>
                <a:gd name="connsiteY127" fmla="*/ 742122 h 1077197"/>
                <a:gd name="connsiteX128" fmla="*/ 355143 w 1576758"/>
                <a:gd name="connsiteY128" fmla="*/ 762763 h 1077197"/>
                <a:gd name="connsiteX129" fmla="*/ 438851 w 1576758"/>
                <a:gd name="connsiteY129" fmla="*/ 737701 h 1077197"/>
                <a:gd name="connsiteX130" fmla="*/ 700219 w 1576758"/>
                <a:gd name="connsiteY130" fmla="*/ 657563 h 1077197"/>
                <a:gd name="connsiteX131" fmla="*/ 774483 w 1576758"/>
                <a:gd name="connsiteY131" fmla="*/ 627983 h 1077197"/>
                <a:gd name="connsiteX132" fmla="*/ 990692 w 1576758"/>
                <a:gd name="connsiteY132" fmla="*/ 663877 h 1077197"/>
                <a:gd name="connsiteX133" fmla="*/ 983369 w 1576758"/>
                <a:gd name="connsiteY133" fmla="*/ 691642 h 1077197"/>
                <a:gd name="connsiteX134" fmla="*/ 892846 w 1576758"/>
                <a:gd name="connsiteY134" fmla="*/ 634742 h 1077197"/>
                <a:gd name="connsiteX135" fmla="*/ 843144 w 1576758"/>
                <a:gd name="connsiteY135" fmla="*/ 638975 h 1077197"/>
                <a:gd name="connsiteX136" fmla="*/ 843144 w 1576758"/>
                <a:gd name="connsiteY136" fmla="*/ 644712 h 1077197"/>
                <a:gd name="connsiteX137" fmla="*/ 888222 w 1576758"/>
                <a:gd name="connsiteY137" fmla="*/ 647148 h 1077197"/>
                <a:gd name="connsiteX138" fmla="*/ 979039 w 1576758"/>
                <a:gd name="connsiteY138" fmla="*/ 707837 h 1077197"/>
                <a:gd name="connsiteX139" fmla="*/ 974193 w 1576758"/>
                <a:gd name="connsiteY139" fmla="*/ 725927 h 1077197"/>
                <a:gd name="connsiteX140" fmla="*/ 860008 w 1576758"/>
                <a:gd name="connsiteY140" fmla="*/ 680890 h 1077197"/>
                <a:gd name="connsiteX141" fmla="*/ 791401 w 1576758"/>
                <a:gd name="connsiteY141" fmla="*/ 684812 h 1077197"/>
                <a:gd name="connsiteX142" fmla="*/ 791695 w 1576758"/>
                <a:gd name="connsiteY142" fmla="*/ 686955 h 1077197"/>
                <a:gd name="connsiteX143" fmla="*/ 933907 w 1576758"/>
                <a:gd name="connsiteY143" fmla="*/ 742486 h 1077197"/>
                <a:gd name="connsiteX144" fmla="*/ 898966 w 1576758"/>
                <a:gd name="connsiteY144" fmla="*/ 729715 h 1077197"/>
                <a:gd name="connsiteX145" fmla="*/ 796185 w 1576758"/>
                <a:gd name="connsiteY145" fmla="*/ 720181 h 1077197"/>
                <a:gd name="connsiteX146" fmla="*/ 739409 w 1576758"/>
                <a:gd name="connsiteY146" fmla="*/ 749352 h 1077197"/>
                <a:gd name="connsiteX147" fmla="*/ 667550 w 1576758"/>
                <a:gd name="connsiteY147" fmla="*/ 753914 h 1077197"/>
                <a:gd name="connsiteX148" fmla="*/ 665251 w 1576758"/>
                <a:gd name="connsiteY148" fmla="*/ 759366 h 1077197"/>
                <a:gd name="connsiteX149" fmla="*/ 674249 w 1576758"/>
                <a:gd name="connsiteY149" fmla="*/ 764311 h 1077197"/>
                <a:gd name="connsiteX150" fmla="*/ 634667 w 1576758"/>
                <a:gd name="connsiteY150" fmla="*/ 787229 h 1077197"/>
                <a:gd name="connsiteX151" fmla="*/ 509337 w 1576758"/>
                <a:gd name="connsiteY151" fmla="*/ 806323 h 1077197"/>
                <a:gd name="connsiteX152" fmla="*/ 508553 w 1576758"/>
                <a:gd name="connsiteY152" fmla="*/ 819424 h 1077197"/>
                <a:gd name="connsiteX153" fmla="*/ 520883 w 1576758"/>
                <a:gd name="connsiteY153" fmla="*/ 839718 h 1077197"/>
                <a:gd name="connsiteX154" fmla="*/ 359677 w 1576758"/>
                <a:gd name="connsiteY154" fmla="*/ 907406 h 1077197"/>
                <a:gd name="connsiteX155" fmla="*/ 954273 w 1576758"/>
                <a:gd name="connsiteY155" fmla="*/ 746061 h 1077197"/>
                <a:gd name="connsiteX156" fmla="*/ 895946 w 1576758"/>
                <a:gd name="connsiteY156" fmla="*/ 693946 h 1077197"/>
                <a:gd name="connsiteX157" fmla="*/ 944794 w 1576758"/>
                <a:gd name="connsiteY157" fmla="*/ 719123 h 1077197"/>
                <a:gd name="connsiteX158" fmla="*/ 968812 w 1576758"/>
                <a:gd name="connsiteY158" fmla="*/ 741241 h 1077197"/>
                <a:gd name="connsiteX159" fmla="*/ 962086 w 1576758"/>
                <a:gd name="connsiteY159" fmla="*/ 753505 h 1077197"/>
                <a:gd name="connsiteX160" fmla="*/ 953141 w 1576758"/>
                <a:gd name="connsiteY160" fmla="*/ 754510 h 1077197"/>
                <a:gd name="connsiteX161" fmla="*/ 953729 w 1576758"/>
                <a:gd name="connsiteY161" fmla="*/ 753194 h 1077197"/>
                <a:gd name="connsiteX162" fmla="*/ 954273 w 1576758"/>
                <a:gd name="connsiteY162" fmla="*/ 746061 h 1077197"/>
                <a:gd name="connsiteX163" fmla="*/ 785102 w 1576758"/>
                <a:gd name="connsiteY163" fmla="*/ 771461 h 1077197"/>
                <a:gd name="connsiteX164" fmla="*/ 737217 w 1576758"/>
                <a:gd name="connsiteY164" fmla="*/ 775481 h 1077197"/>
                <a:gd name="connsiteX165" fmla="*/ 664111 w 1576758"/>
                <a:gd name="connsiteY165" fmla="*/ 783512 h 1077197"/>
                <a:gd name="connsiteX166" fmla="*/ 686009 w 1576758"/>
                <a:gd name="connsiteY166" fmla="*/ 768464 h 1077197"/>
                <a:gd name="connsiteX167" fmla="*/ 745805 w 1576758"/>
                <a:gd name="connsiteY167" fmla="*/ 760220 h 1077197"/>
                <a:gd name="connsiteX168" fmla="*/ 756442 w 1576758"/>
                <a:gd name="connsiteY168" fmla="*/ 755399 h 1077197"/>
                <a:gd name="connsiteX169" fmla="*/ 760906 w 1576758"/>
                <a:gd name="connsiteY169" fmla="*/ 753203 h 1077197"/>
                <a:gd name="connsiteX170" fmla="*/ 785182 w 1576758"/>
                <a:gd name="connsiteY170" fmla="*/ 760753 h 1077197"/>
                <a:gd name="connsiteX171" fmla="*/ 785076 w 1576758"/>
                <a:gd name="connsiteY171" fmla="*/ 762043 h 1077197"/>
                <a:gd name="connsiteX172" fmla="*/ 785076 w 1576758"/>
                <a:gd name="connsiteY172" fmla="*/ 771105 h 1077197"/>
                <a:gd name="connsiteX173" fmla="*/ 785102 w 1576758"/>
                <a:gd name="connsiteY173" fmla="*/ 771461 h 1077197"/>
                <a:gd name="connsiteX174" fmla="*/ 772692 w 1576758"/>
                <a:gd name="connsiteY174" fmla="*/ 747093 h 1077197"/>
                <a:gd name="connsiteX175" fmla="*/ 866903 w 1576758"/>
                <a:gd name="connsiteY175" fmla="*/ 730338 h 1077197"/>
                <a:gd name="connsiteX176" fmla="*/ 772692 w 1576758"/>
                <a:gd name="connsiteY176" fmla="*/ 747093 h 1077197"/>
                <a:gd name="connsiteX177" fmla="*/ 801967 w 1576758"/>
                <a:gd name="connsiteY177" fmla="*/ 762550 h 1077197"/>
                <a:gd name="connsiteX178" fmla="*/ 833237 w 1576758"/>
                <a:gd name="connsiteY178" fmla="*/ 759348 h 1077197"/>
                <a:gd name="connsiteX179" fmla="*/ 866743 w 1576758"/>
                <a:gd name="connsiteY179" fmla="*/ 745181 h 1077197"/>
                <a:gd name="connsiteX180" fmla="*/ 885710 w 1576758"/>
                <a:gd name="connsiteY180" fmla="*/ 738297 h 1077197"/>
                <a:gd name="connsiteX181" fmla="*/ 932776 w 1576758"/>
                <a:gd name="connsiteY181" fmla="*/ 756787 h 1077197"/>
                <a:gd name="connsiteX182" fmla="*/ 801976 w 1576758"/>
                <a:gd name="connsiteY182" fmla="*/ 770065 h 1077197"/>
                <a:gd name="connsiteX183" fmla="*/ 801967 w 1576758"/>
                <a:gd name="connsiteY183" fmla="*/ 762550 h 1077197"/>
                <a:gd name="connsiteX184" fmla="*/ 810038 w 1576758"/>
                <a:gd name="connsiteY184" fmla="*/ 807915 h 1077197"/>
                <a:gd name="connsiteX185" fmla="*/ 573187 w 1576758"/>
                <a:gd name="connsiteY185" fmla="*/ 830282 h 1077197"/>
                <a:gd name="connsiteX186" fmla="*/ 547004 w 1576758"/>
                <a:gd name="connsiteY186" fmla="*/ 832390 h 1077197"/>
                <a:gd name="connsiteX187" fmla="*/ 533044 w 1576758"/>
                <a:gd name="connsiteY187" fmla="*/ 832017 h 1077197"/>
                <a:gd name="connsiteX188" fmla="*/ 522496 w 1576758"/>
                <a:gd name="connsiteY188" fmla="*/ 818143 h 1077197"/>
                <a:gd name="connsiteX189" fmla="*/ 628128 w 1576758"/>
                <a:gd name="connsiteY189" fmla="*/ 801832 h 1077197"/>
                <a:gd name="connsiteX190" fmla="*/ 634302 w 1576758"/>
                <a:gd name="connsiteY190" fmla="*/ 801014 h 1077197"/>
                <a:gd name="connsiteX191" fmla="*/ 963502 w 1576758"/>
                <a:gd name="connsiteY191" fmla="*/ 763973 h 1077197"/>
                <a:gd name="connsiteX192" fmla="*/ 972108 w 1576758"/>
                <a:gd name="connsiteY192" fmla="*/ 765698 h 1077197"/>
                <a:gd name="connsiteX193" fmla="*/ 971413 w 1576758"/>
                <a:gd name="connsiteY193" fmla="*/ 791738 h 1077197"/>
                <a:gd name="connsiteX194" fmla="*/ 970113 w 1576758"/>
                <a:gd name="connsiteY194" fmla="*/ 793090 h 1077197"/>
                <a:gd name="connsiteX195" fmla="*/ 810038 w 1576758"/>
                <a:gd name="connsiteY195" fmla="*/ 807915 h 1077197"/>
                <a:gd name="connsiteX196" fmla="*/ 1378780 w 1576758"/>
                <a:gd name="connsiteY196" fmla="*/ 740005 h 1077197"/>
                <a:gd name="connsiteX197" fmla="*/ 1337380 w 1576758"/>
                <a:gd name="connsiteY197" fmla="*/ 819468 h 1077197"/>
                <a:gd name="connsiteX198" fmla="*/ 1182001 w 1576758"/>
                <a:gd name="connsiteY198" fmla="*/ 845499 h 1077197"/>
                <a:gd name="connsiteX199" fmla="*/ 1148530 w 1576758"/>
                <a:gd name="connsiteY199" fmla="*/ 847847 h 1077197"/>
                <a:gd name="connsiteX200" fmla="*/ 984705 w 1576758"/>
                <a:gd name="connsiteY200" fmla="*/ 887227 h 1077197"/>
                <a:gd name="connsiteX201" fmla="*/ 930370 w 1576758"/>
                <a:gd name="connsiteY201" fmla="*/ 887707 h 1077197"/>
                <a:gd name="connsiteX202" fmla="*/ 928954 w 1576758"/>
                <a:gd name="connsiteY202" fmla="*/ 838215 h 1077197"/>
                <a:gd name="connsiteX203" fmla="*/ 926032 w 1576758"/>
                <a:gd name="connsiteY203" fmla="*/ 812700 h 1077197"/>
                <a:gd name="connsiteX204" fmla="*/ 973053 w 1576758"/>
                <a:gd name="connsiteY204" fmla="*/ 806154 h 1077197"/>
                <a:gd name="connsiteX205" fmla="*/ 980928 w 1576758"/>
                <a:gd name="connsiteY205" fmla="*/ 805683 h 1077197"/>
                <a:gd name="connsiteX206" fmla="*/ 1003111 w 1576758"/>
                <a:gd name="connsiteY206" fmla="*/ 800898 h 1077197"/>
                <a:gd name="connsiteX207" fmla="*/ 1158152 w 1576758"/>
                <a:gd name="connsiteY207" fmla="*/ 778496 h 1077197"/>
                <a:gd name="connsiteX208" fmla="*/ 1156139 w 1576758"/>
                <a:gd name="connsiteY208" fmla="*/ 792681 h 1077197"/>
                <a:gd name="connsiteX209" fmla="*/ 1163809 w 1576758"/>
                <a:gd name="connsiteY209" fmla="*/ 794700 h 1077197"/>
                <a:gd name="connsiteX210" fmla="*/ 1177048 w 1576758"/>
                <a:gd name="connsiteY210" fmla="*/ 777740 h 1077197"/>
                <a:gd name="connsiteX211" fmla="*/ 1232773 w 1576758"/>
                <a:gd name="connsiteY211" fmla="*/ 751815 h 1077197"/>
                <a:gd name="connsiteX212" fmla="*/ 1270555 w 1576758"/>
                <a:gd name="connsiteY212" fmla="*/ 678862 h 1077197"/>
                <a:gd name="connsiteX213" fmla="*/ 1274475 w 1576758"/>
                <a:gd name="connsiteY213" fmla="*/ 737871 h 1077197"/>
                <a:gd name="connsiteX214" fmla="*/ 1246332 w 1576758"/>
                <a:gd name="connsiteY214" fmla="*/ 790191 h 1077197"/>
                <a:gd name="connsiteX215" fmla="*/ 1245664 w 1576758"/>
                <a:gd name="connsiteY215" fmla="*/ 795287 h 1077197"/>
                <a:gd name="connsiteX216" fmla="*/ 1283384 w 1576758"/>
                <a:gd name="connsiteY216" fmla="*/ 763866 h 1077197"/>
                <a:gd name="connsiteX217" fmla="*/ 1287678 w 1576758"/>
                <a:gd name="connsiteY217" fmla="*/ 686466 h 1077197"/>
                <a:gd name="connsiteX218" fmla="*/ 1294858 w 1576758"/>
                <a:gd name="connsiteY218" fmla="*/ 636441 h 1077197"/>
                <a:gd name="connsiteX219" fmla="*/ 1303714 w 1576758"/>
                <a:gd name="connsiteY219" fmla="*/ 662685 h 1077197"/>
                <a:gd name="connsiteX220" fmla="*/ 1311197 w 1576758"/>
                <a:gd name="connsiteY220" fmla="*/ 709998 h 1077197"/>
                <a:gd name="connsiteX221" fmla="*/ 1312061 w 1576758"/>
                <a:gd name="connsiteY221" fmla="*/ 768366 h 1077197"/>
                <a:gd name="connsiteX222" fmla="*/ 1310280 w 1576758"/>
                <a:gd name="connsiteY222" fmla="*/ 788563 h 1077197"/>
                <a:gd name="connsiteX223" fmla="*/ 1318725 w 1576758"/>
                <a:gd name="connsiteY223" fmla="*/ 790787 h 1077197"/>
                <a:gd name="connsiteX224" fmla="*/ 1312872 w 1576758"/>
                <a:gd name="connsiteY224" fmla="*/ 643991 h 1077197"/>
                <a:gd name="connsiteX225" fmla="*/ 1329603 w 1576758"/>
                <a:gd name="connsiteY225" fmla="*/ 610845 h 1077197"/>
                <a:gd name="connsiteX226" fmla="*/ 1343750 w 1576758"/>
                <a:gd name="connsiteY226" fmla="*/ 649896 h 1077197"/>
                <a:gd name="connsiteX227" fmla="*/ 1346664 w 1576758"/>
                <a:gd name="connsiteY227" fmla="*/ 733815 h 1077197"/>
                <a:gd name="connsiteX228" fmla="*/ 1342521 w 1576758"/>
                <a:gd name="connsiteY228" fmla="*/ 773071 h 1077197"/>
                <a:gd name="connsiteX229" fmla="*/ 1352312 w 1576758"/>
                <a:gd name="connsiteY229" fmla="*/ 775721 h 1077197"/>
                <a:gd name="connsiteX230" fmla="*/ 1361648 w 1576758"/>
                <a:gd name="connsiteY230" fmla="*/ 740316 h 1077197"/>
                <a:gd name="connsiteX231" fmla="*/ 1352151 w 1576758"/>
                <a:gd name="connsiteY231" fmla="*/ 623599 h 1077197"/>
                <a:gd name="connsiteX232" fmla="*/ 1378780 w 1576758"/>
                <a:gd name="connsiteY232" fmla="*/ 740005 h 1077197"/>
                <a:gd name="connsiteX233" fmla="*/ 1558775 w 1576758"/>
                <a:gd name="connsiteY233" fmla="*/ 246231 h 1077197"/>
                <a:gd name="connsiteX234" fmla="*/ 1449436 w 1576758"/>
                <a:gd name="connsiteY234" fmla="*/ 609333 h 1077197"/>
                <a:gd name="connsiteX235" fmla="*/ 1429560 w 1576758"/>
                <a:gd name="connsiteY235" fmla="*/ 656006 h 1077197"/>
                <a:gd name="connsiteX236" fmla="*/ 1402353 w 1576758"/>
                <a:gd name="connsiteY236" fmla="*/ 694488 h 1077197"/>
                <a:gd name="connsiteX237" fmla="*/ 1400500 w 1576758"/>
                <a:gd name="connsiteY237" fmla="*/ 698455 h 1077197"/>
                <a:gd name="connsiteX238" fmla="*/ 1396482 w 1576758"/>
                <a:gd name="connsiteY238" fmla="*/ 701301 h 1077197"/>
                <a:gd name="connsiteX239" fmla="*/ 1347706 w 1576758"/>
                <a:gd name="connsiteY239" fmla="*/ 613549 h 1077197"/>
                <a:gd name="connsiteX240" fmla="*/ 1307179 w 1576758"/>
                <a:gd name="connsiteY240" fmla="*/ 631087 h 1077197"/>
                <a:gd name="connsiteX241" fmla="*/ 1296694 w 1576758"/>
                <a:gd name="connsiteY241" fmla="*/ 623919 h 1077197"/>
                <a:gd name="connsiteX242" fmla="*/ 1278716 w 1576758"/>
                <a:gd name="connsiteY242" fmla="*/ 662587 h 1077197"/>
                <a:gd name="connsiteX243" fmla="*/ 1246902 w 1576758"/>
                <a:gd name="connsiteY243" fmla="*/ 705294 h 1077197"/>
                <a:gd name="connsiteX244" fmla="*/ 1220184 w 1576758"/>
                <a:gd name="connsiteY244" fmla="*/ 741961 h 1077197"/>
                <a:gd name="connsiteX245" fmla="*/ 1177983 w 1576758"/>
                <a:gd name="connsiteY245" fmla="*/ 759206 h 1077197"/>
                <a:gd name="connsiteX246" fmla="*/ 1069233 w 1576758"/>
                <a:gd name="connsiteY246" fmla="*/ 775846 h 1077197"/>
                <a:gd name="connsiteX247" fmla="*/ 1018354 w 1576758"/>
                <a:gd name="connsiteY247" fmla="*/ 782276 h 1077197"/>
                <a:gd name="connsiteX248" fmla="*/ 984180 w 1576758"/>
                <a:gd name="connsiteY248" fmla="*/ 785940 h 1077197"/>
                <a:gd name="connsiteX249" fmla="*/ 983369 w 1576758"/>
                <a:gd name="connsiteY249" fmla="*/ 755568 h 1077197"/>
                <a:gd name="connsiteX250" fmla="*/ 982336 w 1576758"/>
                <a:gd name="connsiteY250" fmla="*/ 752580 h 1077197"/>
                <a:gd name="connsiteX251" fmla="*/ 993819 w 1576758"/>
                <a:gd name="connsiteY251" fmla="*/ 718332 h 1077197"/>
                <a:gd name="connsiteX252" fmla="*/ 1084841 w 1576758"/>
                <a:gd name="connsiteY252" fmla="*/ 367209 h 1077197"/>
                <a:gd name="connsiteX253" fmla="*/ 1114632 w 1576758"/>
                <a:gd name="connsiteY253" fmla="*/ 267931 h 1077197"/>
                <a:gd name="connsiteX254" fmla="*/ 1139586 w 1576758"/>
                <a:gd name="connsiteY254" fmla="*/ 230926 h 1077197"/>
                <a:gd name="connsiteX255" fmla="*/ 1173894 w 1576758"/>
                <a:gd name="connsiteY255" fmla="*/ 218048 h 1077197"/>
                <a:gd name="connsiteX256" fmla="*/ 1228577 w 1576758"/>
                <a:gd name="connsiteY256" fmla="*/ 216634 h 1077197"/>
                <a:gd name="connsiteX257" fmla="*/ 1526177 w 1576758"/>
                <a:gd name="connsiteY257" fmla="*/ 212205 h 1077197"/>
                <a:gd name="connsiteX258" fmla="*/ 1548895 w 1576758"/>
                <a:gd name="connsiteY258" fmla="*/ 212392 h 1077197"/>
                <a:gd name="connsiteX259" fmla="*/ 1557037 w 1576758"/>
                <a:gd name="connsiteY259" fmla="*/ 217176 h 1077197"/>
                <a:gd name="connsiteX260" fmla="*/ 1558775 w 1576758"/>
                <a:gd name="connsiteY260" fmla="*/ 246231 h 10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576758" h="1077197">
                  <a:moveTo>
                    <a:pt x="1575657" y="220903"/>
                  </a:moveTo>
                  <a:cubicBezTo>
                    <a:pt x="1574552" y="214882"/>
                    <a:pt x="1572628" y="207580"/>
                    <a:pt x="1567675" y="203649"/>
                  </a:cubicBezTo>
                  <a:cubicBezTo>
                    <a:pt x="1560895" y="198260"/>
                    <a:pt x="1551915" y="194596"/>
                    <a:pt x="1543220" y="195227"/>
                  </a:cubicBezTo>
                  <a:cubicBezTo>
                    <a:pt x="1422389" y="195601"/>
                    <a:pt x="1301540" y="197993"/>
                    <a:pt x="1180745" y="200777"/>
                  </a:cubicBezTo>
                  <a:cubicBezTo>
                    <a:pt x="1172531" y="200563"/>
                    <a:pt x="1164264" y="202422"/>
                    <a:pt x="1156611" y="205339"/>
                  </a:cubicBezTo>
                  <a:cubicBezTo>
                    <a:pt x="1111594" y="215807"/>
                    <a:pt x="1099416" y="254920"/>
                    <a:pt x="1088422" y="294443"/>
                  </a:cubicBezTo>
                  <a:cubicBezTo>
                    <a:pt x="1060671" y="385040"/>
                    <a:pt x="1037945" y="477008"/>
                    <a:pt x="1014889" y="568877"/>
                  </a:cubicBezTo>
                  <a:cubicBezTo>
                    <a:pt x="993971" y="412886"/>
                    <a:pt x="1010782" y="297600"/>
                    <a:pt x="843972" y="221232"/>
                  </a:cubicBezTo>
                  <a:cubicBezTo>
                    <a:pt x="810626" y="203694"/>
                    <a:pt x="774029" y="193449"/>
                    <a:pt x="740959" y="175395"/>
                  </a:cubicBezTo>
                  <a:cubicBezTo>
                    <a:pt x="726910" y="161423"/>
                    <a:pt x="701118" y="160418"/>
                    <a:pt x="682134" y="166066"/>
                  </a:cubicBezTo>
                  <a:cubicBezTo>
                    <a:pt x="673563" y="149293"/>
                    <a:pt x="668966" y="130670"/>
                    <a:pt x="668378" y="111860"/>
                  </a:cubicBezTo>
                  <a:cubicBezTo>
                    <a:pt x="668263" y="108054"/>
                    <a:pt x="662374" y="105732"/>
                    <a:pt x="660574" y="109752"/>
                  </a:cubicBezTo>
                  <a:cubicBezTo>
                    <a:pt x="642890" y="150004"/>
                    <a:pt x="679007" y="204610"/>
                    <a:pt x="712851" y="226043"/>
                  </a:cubicBezTo>
                  <a:cubicBezTo>
                    <a:pt x="689305" y="253382"/>
                    <a:pt x="645590" y="252759"/>
                    <a:pt x="612386" y="250927"/>
                  </a:cubicBezTo>
                  <a:cubicBezTo>
                    <a:pt x="542639" y="245262"/>
                    <a:pt x="473533" y="223357"/>
                    <a:pt x="413122" y="188166"/>
                  </a:cubicBezTo>
                  <a:cubicBezTo>
                    <a:pt x="410975" y="179379"/>
                    <a:pt x="408685" y="170628"/>
                    <a:pt x="406208" y="161930"/>
                  </a:cubicBezTo>
                  <a:cubicBezTo>
                    <a:pt x="434405" y="134876"/>
                    <a:pt x="451171" y="96279"/>
                    <a:pt x="447626" y="56987"/>
                  </a:cubicBezTo>
                  <a:cubicBezTo>
                    <a:pt x="446067" y="40623"/>
                    <a:pt x="441710" y="14156"/>
                    <a:pt x="431020" y="1581"/>
                  </a:cubicBezTo>
                  <a:cubicBezTo>
                    <a:pt x="427732" y="-1958"/>
                    <a:pt x="422146" y="950"/>
                    <a:pt x="421942" y="5334"/>
                  </a:cubicBezTo>
                  <a:cubicBezTo>
                    <a:pt x="421523" y="14325"/>
                    <a:pt x="425567" y="23548"/>
                    <a:pt x="427287" y="32344"/>
                  </a:cubicBezTo>
                  <a:cubicBezTo>
                    <a:pt x="436213" y="72453"/>
                    <a:pt x="429345" y="112732"/>
                    <a:pt x="400534" y="143209"/>
                  </a:cubicBezTo>
                  <a:cubicBezTo>
                    <a:pt x="398057" y="135552"/>
                    <a:pt x="395420" y="127948"/>
                    <a:pt x="392560" y="120416"/>
                  </a:cubicBezTo>
                  <a:cubicBezTo>
                    <a:pt x="390956" y="116182"/>
                    <a:pt x="386351" y="115978"/>
                    <a:pt x="383999" y="118379"/>
                  </a:cubicBezTo>
                  <a:cubicBezTo>
                    <a:pt x="301494" y="150760"/>
                    <a:pt x="207425" y="157964"/>
                    <a:pt x="133642" y="210488"/>
                  </a:cubicBezTo>
                  <a:cubicBezTo>
                    <a:pt x="15573" y="303487"/>
                    <a:pt x="7492" y="546217"/>
                    <a:pt x="0" y="687213"/>
                  </a:cubicBezTo>
                  <a:cubicBezTo>
                    <a:pt x="641" y="767886"/>
                    <a:pt x="-187" y="869378"/>
                    <a:pt x="38299" y="941504"/>
                  </a:cubicBezTo>
                  <a:cubicBezTo>
                    <a:pt x="55680" y="972667"/>
                    <a:pt x="84937" y="987910"/>
                    <a:pt x="120546" y="988568"/>
                  </a:cubicBezTo>
                  <a:cubicBezTo>
                    <a:pt x="117107" y="1007805"/>
                    <a:pt x="112857" y="1026481"/>
                    <a:pt x="109481" y="1045682"/>
                  </a:cubicBezTo>
                  <a:cubicBezTo>
                    <a:pt x="107958" y="1054584"/>
                    <a:pt x="105508" y="1063344"/>
                    <a:pt x="109561" y="1071766"/>
                  </a:cubicBezTo>
                  <a:cubicBezTo>
                    <a:pt x="113526" y="1080020"/>
                    <a:pt x="124394" y="1077921"/>
                    <a:pt x="128849" y="1071766"/>
                  </a:cubicBezTo>
                  <a:cubicBezTo>
                    <a:pt x="133490" y="1065354"/>
                    <a:pt x="132626" y="1055287"/>
                    <a:pt x="133633" y="1047603"/>
                  </a:cubicBezTo>
                  <a:cubicBezTo>
                    <a:pt x="136101" y="1028037"/>
                    <a:pt x="140564" y="1008801"/>
                    <a:pt x="139139" y="988924"/>
                  </a:cubicBezTo>
                  <a:cubicBezTo>
                    <a:pt x="203407" y="989102"/>
                    <a:pt x="265618" y="969536"/>
                    <a:pt x="325263" y="947445"/>
                  </a:cubicBezTo>
                  <a:cubicBezTo>
                    <a:pt x="373290" y="929782"/>
                    <a:pt x="421015" y="911088"/>
                    <a:pt x="466210" y="886934"/>
                  </a:cubicBezTo>
                  <a:cubicBezTo>
                    <a:pt x="476286" y="940793"/>
                    <a:pt x="478281" y="995985"/>
                    <a:pt x="474130" y="1050564"/>
                  </a:cubicBezTo>
                  <a:cubicBezTo>
                    <a:pt x="473239" y="1061459"/>
                    <a:pt x="490264" y="1061406"/>
                    <a:pt x="491146" y="1050564"/>
                  </a:cubicBezTo>
                  <a:cubicBezTo>
                    <a:pt x="493613" y="1005759"/>
                    <a:pt x="497702" y="921138"/>
                    <a:pt x="476856" y="881295"/>
                  </a:cubicBezTo>
                  <a:cubicBezTo>
                    <a:pt x="495823" y="871112"/>
                    <a:pt x="514620" y="860671"/>
                    <a:pt x="533124" y="849688"/>
                  </a:cubicBezTo>
                  <a:cubicBezTo>
                    <a:pt x="534879" y="848647"/>
                    <a:pt x="535913" y="847313"/>
                    <a:pt x="536376" y="845899"/>
                  </a:cubicBezTo>
                  <a:cubicBezTo>
                    <a:pt x="566238" y="847473"/>
                    <a:pt x="595727" y="840270"/>
                    <a:pt x="625375" y="837673"/>
                  </a:cubicBezTo>
                  <a:cubicBezTo>
                    <a:pt x="677982" y="831705"/>
                    <a:pt x="730794" y="827748"/>
                    <a:pt x="783597" y="823861"/>
                  </a:cubicBezTo>
                  <a:cubicBezTo>
                    <a:pt x="781663" y="838793"/>
                    <a:pt x="783142" y="854739"/>
                    <a:pt x="782741" y="869663"/>
                  </a:cubicBezTo>
                  <a:cubicBezTo>
                    <a:pt x="782269" y="887023"/>
                    <a:pt x="781628" y="904374"/>
                    <a:pt x="781022" y="921725"/>
                  </a:cubicBezTo>
                  <a:cubicBezTo>
                    <a:pt x="780434" y="938614"/>
                    <a:pt x="780176" y="955520"/>
                    <a:pt x="779873" y="972409"/>
                  </a:cubicBezTo>
                  <a:cubicBezTo>
                    <a:pt x="779561" y="989591"/>
                    <a:pt x="777886" y="1007529"/>
                    <a:pt x="780782" y="1024507"/>
                  </a:cubicBezTo>
                  <a:cubicBezTo>
                    <a:pt x="782162" y="1032618"/>
                    <a:pt x="795802" y="1032618"/>
                    <a:pt x="797192" y="1024507"/>
                  </a:cubicBezTo>
                  <a:cubicBezTo>
                    <a:pt x="800034" y="1007947"/>
                    <a:pt x="798724" y="990560"/>
                    <a:pt x="798947" y="973787"/>
                  </a:cubicBezTo>
                  <a:cubicBezTo>
                    <a:pt x="799624" y="939548"/>
                    <a:pt x="800034" y="905299"/>
                    <a:pt x="800087" y="871041"/>
                  </a:cubicBezTo>
                  <a:cubicBezTo>
                    <a:pt x="800140" y="855353"/>
                    <a:pt x="802074" y="838349"/>
                    <a:pt x="799891" y="822679"/>
                  </a:cubicBezTo>
                  <a:cubicBezTo>
                    <a:pt x="836284" y="819993"/>
                    <a:pt x="872694" y="817485"/>
                    <a:pt x="909051" y="814328"/>
                  </a:cubicBezTo>
                  <a:cubicBezTo>
                    <a:pt x="903884" y="828788"/>
                    <a:pt x="905016" y="846433"/>
                    <a:pt x="904552" y="861436"/>
                  </a:cubicBezTo>
                  <a:cubicBezTo>
                    <a:pt x="904027" y="878494"/>
                    <a:pt x="904837" y="895640"/>
                    <a:pt x="905550" y="912680"/>
                  </a:cubicBezTo>
                  <a:cubicBezTo>
                    <a:pt x="906628" y="938391"/>
                    <a:pt x="908339" y="964067"/>
                    <a:pt x="910566" y="989707"/>
                  </a:cubicBezTo>
                  <a:cubicBezTo>
                    <a:pt x="911341" y="998627"/>
                    <a:pt x="911581" y="1007218"/>
                    <a:pt x="916250" y="1015124"/>
                  </a:cubicBezTo>
                  <a:cubicBezTo>
                    <a:pt x="921007" y="1023182"/>
                    <a:pt x="932330" y="1020851"/>
                    <a:pt x="935208" y="1012652"/>
                  </a:cubicBezTo>
                  <a:cubicBezTo>
                    <a:pt x="938023" y="1004621"/>
                    <a:pt x="936704" y="996706"/>
                    <a:pt x="935992" y="988435"/>
                  </a:cubicBezTo>
                  <a:cubicBezTo>
                    <a:pt x="935288" y="980271"/>
                    <a:pt x="934638" y="972106"/>
                    <a:pt x="934041" y="963933"/>
                  </a:cubicBezTo>
                  <a:cubicBezTo>
                    <a:pt x="932348" y="940259"/>
                    <a:pt x="930967" y="916558"/>
                    <a:pt x="930504" y="892821"/>
                  </a:cubicBezTo>
                  <a:cubicBezTo>
                    <a:pt x="949622" y="893791"/>
                    <a:pt x="968313" y="898771"/>
                    <a:pt x="987405" y="899740"/>
                  </a:cubicBezTo>
                  <a:cubicBezTo>
                    <a:pt x="1046773" y="901190"/>
                    <a:pt x="1103496" y="879116"/>
                    <a:pt x="1158589" y="859622"/>
                  </a:cubicBezTo>
                  <a:cubicBezTo>
                    <a:pt x="1173065" y="863499"/>
                    <a:pt x="1188104" y="862486"/>
                    <a:pt x="1202999" y="862397"/>
                  </a:cubicBezTo>
                  <a:cubicBezTo>
                    <a:pt x="1219489" y="862094"/>
                    <a:pt x="1235989" y="861223"/>
                    <a:pt x="1252372" y="859337"/>
                  </a:cubicBezTo>
                  <a:cubicBezTo>
                    <a:pt x="1342842" y="850097"/>
                    <a:pt x="1396063" y="818259"/>
                    <a:pt x="1396491" y="720502"/>
                  </a:cubicBezTo>
                  <a:cubicBezTo>
                    <a:pt x="1407440" y="715254"/>
                    <a:pt x="1418888" y="708051"/>
                    <a:pt x="1423048" y="696071"/>
                  </a:cubicBezTo>
                  <a:cubicBezTo>
                    <a:pt x="1441926" y="673900"/>
                    <a:pt x="1453258" y="647015"/>
                    <a:pt x="1463370" y="620032"/>
                  </a:cubicBezTo>
                  <a:cubicBezTo>
                    <a:pt x="1476448" y="587571"/>
                    <a:pt x="1488929" y="554861"/>
                    <a:pt x="1500671" y="521893"/>
                  </a:cubicBezTo>
                  <a:cubicBezTo>
                    <a:pt x="1529295" y="440233"/>
                    <a:pt x="1555986" y="357275"/>
                    <a:pt x="1571924" y="272111"/>
                  </a:cubicBezTo>
                  <a:cubicBezTo>
                    <a:pt x="1574739" y="255703"/>
                    <a:pt x="1578713" y="237560"/>
                    <a:pt x="1575657" y="220903"/>
                  </a:cubicBezTo>
                  <a:close/>
                  <a:moveTo>
                    <a:pt x="759276" y="207749"/>
                  </a:moveTo>
                  <a:cubicBezTo>
                    <a:pt x="776265" y="218181"/>
                    <a:pt x="794359" y="226070"/>
                    <a:pt x="812417" y="234439"/>
                  </a:cubicBezTo>
                  <a:cubicBezTo>
                    <a:pt x="976696" y="302198"/>
                    <a:pt x="970888" y="398621"/>
                    <a:pt x="986977" y="553571"/>
                  </a:cubicBezTo>
                  <a:cubicBezTo>
                    <a:pt x="990737" y="573350"/>
                    <a:pt x="990532" y="599755"/>
                    <a:pt x="1003405" y="614385"/>
                  </a:cubicBezTo>
                  <a:cubicBezTo>
                    <a:pt x="999886" y="628250"/>
                    <a:pt x="996349" y="642106"/>
                    <a:pt x="992759" y="655944"/>
                  </a:cubicBezTo>
                  <a:cubicBezTo>
                    <a:pt x="979690" y="644836"/>
                    <a:pt x="965124" y="635373"/>
                    <a:pt x="950148" y="626969"/>
                  </a:cubicBezTo>
                  <a:cubicBezTo>
                    <a:pt x="945310" y="558801"/>
                    <a:pt x="945943" y="488534"/>
                    <a:pt x="921310" y="423558"/>
                  </a:cubicBezTo>
                  <a:cubicBezTo>
                    <a:pt x="920303" y="420792"/>
                    <a:pt x="915965" y="421877"/>
                    <a:pt x="916820" y="424794"/>
                  </a:cubicBezTo>
                  <a:cubicBezTo>
                    <a:pt x="935484" y="487724"/>
                    <a:pt x="934246" y="553705"/>
                    <a:pt x="934504" y="618618"/>
                  </a:cubicBezTo>
                  <a:cubicBezTo>
                    <a:pt x="894227" y="598012"/>
                    <a:pt x="846181" y="583356"/>
                    <a:pt x="801931" y="599542"/>
                  </a:cubicBezTo>
                  <a:cubicBezTo>
                    <a:pt x="802074" y="461995"/>
                    <a:pt x="773904" y="325712"/>
                    <a:pt x="739248" y="193173"/>
                  </a:cubicBezTo>
                  <a:cubicBezTo>
                    <a:pt x="745609" y="198464"/>
                    <a:pt x="752229" y="203427"/>
                    <a:pt x="759276" y="207749"/>
                  </a:cubicBezTo>
                  <a:close/>
                  <a:moveTo>
                    <a:pt x="703934" y="196561"/>
                  </a:moveTo>
                  <a:cubicBezTo>
                    <a:pt x="698775" y="191252"/>
                    <a:pt x="694134" y="185498"/>
                    <a:pt x="690000" y="179388"/>
                  </a:cubicBezTo>
                  <a:cubicBezTo>
                    <a:pt x="700530" y="178952"/>
                    <a:pt x="710624" y="178365"/>
                    <a:pt x="720442" y="181807"/>
                  </a:cubicBezTo>
                  <a:cubicBezTo>
                    <a:pt x="721190" y="192399"/>
                    <a:pt x="724032" y="202573"/>
                    <a:pt x="726696" y="212836"/>
                  </a:cubicBezTo>
                  <a:cubicBezTo>
                    <a:pt x="725939" y="213041"/>
                    <a:pt x="725208" y="213343"/>
                    <a:pt x="724522" y="213708"/>
                  </a:cubicBezTo>
                  <a:cubicBezTo>
                    <a:pt x="717538" y="208318"/>
                    <a:pt x="709929" y="203249"/>
                    <a:pt x="703934" y="196561"/>
                  </a:cubicBezTo>
                  <a:close/>
                  <a:moveTo>
                    <a:pt x="448356" y="225919"/>
                  </a:moveTo>
                  <a:cubicBezTo>
                    <a:pt x="521409" y="258718"/>
                    <a:pt x="670490" y="307383"/>
                    <a:pt x="732255" y="236102"/>
                  </a:cubicBezTo>
                  <a:cubicBezTo>
                    <a:pt x="752683" y="327046"/>
                    <a:pt x="770367" y="418880"/>
                    <a:pt x="777868" y="511888"/>
                  </a:cubicBezTo>
                  <a:cubicBezTo>
                    <a:pt x="781325" y="543700"/>
                    <a:pt x="779089" y="576276"/>
                    <a:pt x="782946" y="607768"/>
                  </a:cubicBezTo>
                  <a:cubicBezTo>
                    <a:pt x="683773" y="659021"/>
                    <a:pt x="572296" y="678889"/>
                    <a:pt x="466878" y="713565"/>
                  </a:cubicBezTo>
                  <a:cubicBezTo>
                    <a:pt x="467956" y="544874"/>
                    <a:pt x="454120" y="375595"/>
                    <a:pt x="418280" y="210560"/>
                  </a:cubicBezTo>
                  <a:cubicBezTo>
                    <a:pt x="427875" y="216563"/>
                    <a:pt x="438467" y="221303"/>
                    <a:pt x="448356" y="225919"/>
                  </a:cubicBezTo>
                  <a:close/>
                  <a:moveTo>
                    <a:pt x="35903" y="535731"/>
                  </a:moveTo>
                  <a:cubicBezTo>
                    <a:pt x="49284" y="438330"/>
                    <a:pt x="62611" y="323355"/>
                    <a:pt x="129847" y="246916"/>
                  </a:cubicBezTo>
                  <a:cubicBezTo>
                    <a:pt x="178605" y="198322"/>
                    <a:pt x="250473" y="186369"/>
                    <a:pt x="312808" y="163558"/>
                  </a:cubicBezTo>
                  <a:cubicBezTo>
                    <a:pt x="337387" y="155358"/>
                    <a:pt x="363366" y="147238"/>
                    <a:pt x="384177" y="131354"/>
                  </a:cubicBezTo>
                  <a:cubicBezTo>
                    <a:pt x="398868" y="205046"/>
                    <a:pt x="416917" y="278168"/>
                    <a:pt x="425950" y="352891"/>
                  </a:cubicBezTo>
                  <a:cubicBezTo>
                    <a:pt x="436017" y="428858"/>
                    <a:pt x="441915" y="505449"/>
                    <a:pt x="444864" y="582013"/>
                  </a:cubicBezTo>
                  <a:cubicBezTo>
                    <a:pt x="446557" y="625884"/>
                    <a:pt x="446334" y="669747"/>
                    <a:pt x="447323" y="713618"/>
                  </a:cubicBezTo>
                  <a:cubicBezTo>
                    <a:pt x="447376" y="716064"/>
                    <a:pt x="448151" y="718020"/>
                    <a:pt x="449345" y="719514"/>
                  </a:cubicBezTo>
                  <a:cubicBezTo>
                    <a:pt x="399099" y="737043"/>
                    <a:pt x="346947" y="760122"/>
                    <a:pt x="292692" y="748907"/>
                  </a:cubicBezTo>
                  <a:cubicBezTo>
                    <a:pt x="275230" y="746604"/>
                    <a:pt x="258339" y="741028"/>
                    <a:pt x="240896" y="738724"/>
                  </a:cubicBezTo>
                  <a:cubicBezTo>
                    <a:pt x="242134" y="730267"/>
                    <a:pt x="240700" y="721960"/>
                    <a:pt x="240121" y="713440"/>
                  </a:cubicBezTo>
                  <a:cubicBezTo>
                    <a:pt x="239461" y="703729"/>
                    <a:pt x="239247" y="693990"/>
                    <a:pt x="239114" y="684261"/>
                  </a:cubicBezTo>
                  <a:cubicBezTo>
                    <a:pt x="239078" y="628988"/>
                    <a:pt x="231541" y="573324"/>
                    <a:pt x="239987" y="518344"/>
                  </a:cubicBezTo>
                  <a:cubicBezTo>
                    <a:pt x="240887" y="512661"/>
                    <a:pt x="232566" y="510056"/>
                    <a:pt x="231140" y="515908"/>
                  </a:cubicBezTo>
                  <a:cubicBezTo>
                    <a:pt x="222312" y="552202"/>
                    <a:pt x="221982" y="589794"/>
                    <a:pt x="222677" y="626942"/>
                  </a:cubicBezTo>
                  <a:cubicBezTo>
                    <a:pt x="223791" y="659368"/>
                    <a:pt x="221902" y="691856"/>
                    <a:pt x="223995" y="724246"/>
                  </a:cubicBezTo>
                  <a:cubicBezTo>
                    <a:pt x="189278" y="715050"/>
                    <a:pt x="154239" y="719167"/>
                    <a:pt x="119192" y="722654"/>
                  </a:cubicBezTo>
                  <a:cubicBezTo>
                    <a:pt x="87405" y="725464"/>
                    <a:pt x="54389" y="728319"/>
                    <a:pt x="25675" y="743536"/>
                  </a:cubicBezTo>
                  <a:cubicBezTo>
                    <a:pt x="23484" y="674309"/>
                    <a:pt x="28499" y="604060"/>
                    <a:pt x="35903" y="535731"/>
                  </a:cubicBezTo>
                  <a:close/>
                  <a:moveTo>
                    <a:pt x="48215" y="903360"/>
                  </a:moveTo>
                  <a:cubicBezTo>
                    <a:pt x="41685" y="884924"/>
                    <a:pt x="37925" y="864736"/>
                    <a:pt x="35039" y="846495"/>
                  </a:cubicBezTo>
                  <a:cubicBezTo>
                    <a:pt x="30718" y="819183"/>
                    <a:pt x="28001" y="791454"/>
                    <a:pt x="26522" y="763510"/>
                  </a:cubicBezTo>
                  <a:cubicBezTo>
                    <a:pt x="57480" y="740370"/>
                    <a:pt x="111904" y="741339"/>
                    <a:pt x="149615" y="736759"/>
                  </a:cubicBezTo>
                  <a:cubicBezTo>
                    <a:pt x="171692" y="734829"/>
                    <a:pt x="194284" y="734580"/>
                    <a:pt x="215906" y="740005"/>
                  </a:cubicBezTo>
                  <a:cubicBezTo>
                    <a:pt x="201474" y="751291"/>
                    <a:pt x="184948" y="759482"/>
                    <a:pt x="169767" y="769673"/>
                  </a:cubicBezTo>
                  <a:cubicBezTo>
                    <a:pt x="150595" y="782391"/>
                    <a:pt x="134613" y="798906"/>
                    <a:pt x="118399" y="815075"/>
                  </a:cubicBezTo>
                  <a:cubicBezTo>
                    <a:pt x="91868" y="841746"/>
                    <a:pt x="65810" y="869832"/>
                    <a:pt x="48215" y="903360"/>
                  </a:cubicBezTo>
                  <a:close/>
                  <a:moveTo>
                    <a:pt x="359677" y="907406"/>
                  </a:moveTo>
                  <a:cubicBezTo>
                    <a:pt x="283640" y="935510"/>
                    <a:pt x="164404" y="984753"/>
                    <a:pt x="84919" y="954524"/>
                  </a:cubicBezTo>
                  <a:cubicBezTo>
                    <a:pt x="71191" y="946618"/>
                    <a:pt x="61507" y="932886"/>
                    <a:pt x="54424" y="918390"/>
                  </a:cubicBezTo>
                  <a:cubicBezTo>
                    <a:pt x="74264" y="882327"/>
                    <a:pt x="102185" y="851742"/>
                    <a:pt x="131299" y="822963"/>
                  </a:cubicBezTo>
                  <a:cubicBezTo>
                    <a:pt x="147629" y="806777"/>
                    <a:pt x="163540" y="790867"/>
                    <a:pt x="183095" y="778540"/>
                  </a:cubicBezTo>
                  <a:cubicBezTo>
                    <a:pt x="192253" y="772768"/>
                    <a:pt x="201670" y="767397"/>
                    <a:pt x="210775" y="761527"/>
                  </a:cubicBezTo>
                  <a:cubicBezTo>
                    <a:pt x="217795" y="757000"/>
                    <a:pt x="227372" y="751655"/>
                    <a:pt x="233225" y="744816"/>
                  </a:cubicBezTo>
                  <a:cubicBezTo>
                    <a:pt x="235773" y="745208"/>
                    <a:pt x="238561" y="744283"/>
                    <a:pt x="239933" y="742122"/>
                  </a:cubicBezTo>
                  <a:cubicBezTo>
                    <a:pt x="274821" y="761047"/>
                    <a:pt x="315766" y="768553"/>
                    <a:pt x="355143" y="762763"/>
                  </a:cubicBezTo>
                  <a:cubicBezTo>
                    <a:pt x="383999" y="758041"/>
                    <a:pt x="411393" y="747360"/>
                    <a:pt x="438851" y="737701"/>
                  </a:cubicBezTo>
                  <a:cubicBezTo>
                    <a:pt x="524714" y="706939"/>
                    <a:pt x="614818" y="689606"/>
                    <a:pt x="700219" y="657563"/>
                  </a:cubicBezTo>
                  <a:cubicBezTo>
                    <a:pt x="725253" y="648056"/>
                    <a:pt x="750821" y="640674"/>
                    <a:pt x="774483" y="627983"/>
                  </a:cubicBezTo>
                  <a:cubicBezTo>
                    <a:pt x="850271" y="578464"/>
                    <a:pt x="924321" y="619712"/>
                    <a:pt x="990692" y="663877"/>
                  </a:cubicBezTo>
                  <a:cubicBezTo>
                    <a:pt x="988278" y="673135"/>
                    <a:pt x="985828" y="682393"/>
                    <a:pt x="983369" y="691642"/>
                  </a:cubicBezTo>
                  <a:cubicBezTo>
                    <a:pt x="958504" y="665869"/>
                    <a:pt x="930825" y="636699"/>
                    <a:pt x="892846" y="634742"/>
                  </a:cubicBezTo>
                  <a:cubicBezTo>
                    <a:pt x="876142" y="634013"/>
                    <a:pt x="859696" y="637348"/>
                    <a:pt x="843144" y="638975"/>
                  </a:cubicBezTo>
                  <a:cubicBezTo>
                    <a:pt x="839473" y="639340"/>
                    <a:pt x="839437" y="644382"/>
                    <a:pt x="843144" y="644712"/>
                  </a:cubicBezTo>
                  <a:cubicBezTo>
                    <a:pt x="858146" y="646028"/>
                    <a:pt x="873211" y="646099"/>
                    <a:pt x="888222" y="647148"/>
                  </a:cubicBezTo>
                  <a:cubicBezTo>
                    <a:pt x="931110" y="650003"/>
                    <a:pt x="950896" y="681477"/>
                    <a:pt x="979039" y="707837"/>
                  </a:cubicBezTo>
                  <a:cubicBezTo>
                    <a:pt x="977400" y="713867"/>
                    <a:pt x="975912" y="719950"/>
                    <a:pt x="974193" y="725927"/>
                  </a:cubicBezTo>
                  <a:cubicBezTo>
                    <a:pt x="950433" y="698882"/>
                    <a:pt x="895848" y="668039"/>
                    <a:pt x="860008" y="680890"/>
                  </a:cubicBezTo>
                  <a:cubicBezTo>
                    <a:pt x="837264" y="675848"/>
                    <a:pt x="813531" y="676532"/>
                    <a:pt x="791401" y="684812"/>
                  </a:cubicBezTo>
                  <a:cubicBezTo>
                    <a:pt x="790323" y="685221"/>
                    <a:pt x="790376" y="687000"/>
                    <a:pt x="791695" y="686955"/>
                  </a:cubicBezTo>
                  <a:cubicBezTo>
                    <a:pt x="845112" y="683540"/>
                    <a:pt x="900552" y="698170"/>
                    <a:pt x="933907" y="742486"/>
                  </a:cubicBezTo>
                  <a:cubicBezTo>
                    <a:pt x="921702" y="739969"/>
                    <a:pt x="910227" y="734909"/>
                    <a:pt x="898966" y="729715"/>
                  </a:cubicBezTo>
                  <a:cubicBezTo>
                    <a:pt x="866485" y="712746"/>
                    <a:pt x="830929" y="703684"/>
                    <a:pt x="796185" y="720181"/>
                  </a:cubicBezTo>
                  <a:cubicBezTo>
                    <a:pt x="776799" y="728995"/>
                    <a:pt x="758839" y="740610"/>
                    <a:pt x="739409" y="749352"/>
                  </a:cubicBezTo>
                  <a:cubicBezTo>
                    <a:pt x="715613" y="760051"/>
                    <a:pt x="692504" y="761260"/>
                    <a:pt x="667550" y="753914"/>
                  </a:cubicBezTo>
                  <a:cubicBezTo>
                    <a:pt x="664209" y="752936"/>
                    <a:pt x="662472" y="757561"/>
                    <a:pt x="665251" y="759366"/>
                  </a:cubicBezTo>
                  <a:cubicBezTo>
                    <a:pt x="668236" y="761296"/>
                    <a:pt x="671238" y="762914"/>
                    <a:pt x="674249" y="764311"/>
                  </a:cubicBezTo>
                  <a:cubicBezTo>
                    <a:pt x="661376" y="772840"/>
                    <a:pt x="647906" y="779341"/>
                    <a:pt x="634667" y="787229"/>
                  </a:cubicBezTo>
                  <a:cubicBezTo>
                    <a:pt x="592760" y="792690"/>
                    <a:pt x="550977" y="799075"/>
                    <a:pt x="509337" y="806323"/>
                  </a:cubicBezTo>
                  <a:cubicBezTo>
                    <a:pt x="502389" y="807533"/>
                    <a:pt x="503279" y="816844"/>
                    <a:pt x="508553" y="819424"/>
                  </a:cubicBezTo>
                  <a:cubicBezTo>
                    <a:pt x="510264" y="827561"/>
                    <a:pt x="514897" y="834107"/>
                    <a:pt x="520883" y="839718"/>
                  </a:cubicBezTo>
                  <a:cubicBezTo>
                    <a:pt x="467377" y="862868"/>
                    <a:pt x="414324" y="887049"/>
                    <a:pt x="359677" y="907406"/>
                  </a:cubicBezTo>
                  <a:close/>
                  <a:moveTo>
                    <a:pt x="954273" y="746061"/>
                  </a:moveTo>
                  <a:cubicBezTo>
                    <a:pt x="941043" y="723463"/>
                    <a:pt x="918833" y="706014"/>
                    <a:pt x="895946" y="693946"/>
                  </a:cubicBezTo>
                  <a:cubicBezTo>
                    <a:pt x="913613" y="698606"/>
                    <a:pt x="930388" y="707811"/>
                    <a:pt x="944794" y="719123"/>
                  </a:cubicBezTo>
                  <a:cubicBezTo>
                    <a:pt x="953498" y="725847"/>
                    <a:pt x="960349" y="734358"/>
                    <a:pt x="968812" y="741241"/>
                  </a:cubicBezTo>
                  <a:cubicBezTo>
                    <a:pt x="966968" y="745492"/>
                    <a:pt x="964785" y="749601"/>
                    <a:pt x="962086" y="753505"/>
                  </a:cubicBezTo>
                  <a:cubicBezTo>
                    <a:pt x="959101" y="753843"/>
                    <a:pt x="956126" y="754172"/>
                    <a:pt x="953141" y="754510"/>
                  </a:cubicBezTo>
                  <a:cubicBezTo>
                    <a:pt x="953391" y="754092"/>
                    <a:pt x="953587" y="753648"/>
                    <a:pt x="953729" y="753194"/>
                  </a:cubicBezTo>
                  <a:cubicBezTo>
                    <a:pt x="955146" y="751211"/>
                    <a:pt x="955645" y="748551"/>
                    <a:pt x="954273" y="746061"/>
                  </a:cubicBezTo>
                  <a:close/>
                  <a:moveTo>
                    <a:pt x="785102" y="771461"/>
                  </a:moveTo>
                  <a:cubicBezTo>
                    <a:pt x="780826" y="771808"/>
                    <a:pt x="760558" y="773222"/>
                    <a:pt x="737217" y="775481"/>
                  </a:cubicBezTo>
                  <a:cubicBezTo>
                    <a:pt x="710321" y="778087"/>
                    <a:pt x="679354" y="781662"/>
                    <a:pt x="664111" y="783512"/>
                  </a:cubicBezTo>
                  <a:cubicBezTo>
                    <a:pt x="671051" y="779581"/>
                    <a:pt x="680699" y="775027"/>
                    <a:pt x="686009" y="768464"/>
                  </a:cubicBezTo>
                  <a:cubicBezTo>
                    <a:pt x="706018" y="773444"/>
                    <a:pt x="726313" y="768473"/>
                    <a:pt x="745805" y="760220"/>
                  </a:cubicBezTo>
                  <a:cubicBezTo>
                    <a:pt x="746456" y="759944"/>
                    <a:pt x="755846" y="755684"/>
                    <a:pt x="756442" y="755399"/>
                  </a:cubicBezTo>
                  <a:cubicBezTo>
                    <a:pt x="757939" y="754679"/>
                    <a:pt x="759427" y="753950"/>
                    <a:pt x="760906" y="753203"/>
                  </a:cubicBezTo>
                  <a:cubicBezTo>
                    <a:pt x="768487" y="756707"/>
                    <a:pt x="776710" y="759206"/>
                    <a:pt x="785182" y="760753"/>
                  </a:cubicBezTo>
                  <a:cubicBezTo>
                    <a:pt x="785120" y="761171"/>
                    <a:pt x="785076" y="761598"/>
                    <a:pt x="785076" y="762043"/>
                  </a:cubicBezTo>
                  <a:cubicBezTo>
                    <a:pt x="785076" y="765067"/>
                    <a:pt x="785076" y="768082"/>
                    <a:pt x="785076" y="771105"/>
                  </a:cubicBezTo>
                  <a:cubicBezTo>
                    <a:pt x="785085" y="771221"/>
                    <a:pt x="785093" y="771337"/>
                    <a:pt x="785102" y="771461"/>
                  </a:cubicBezTo>
                  <a:close/>
                  <a:moveTo>
                    <a:pt x="772692" y="747093"/>
                  </a:moveTo>
                  <a:cubicBezTo>
                    <a:pt x="801290" y="730356"/>
                    <a:pt x="834199" y="716446"/>
                    <a:pt x="866903" y="730338"/>
                  </a:cubicBezTo>
                  <a:cubicBezTo>
                    <a:pt x="829353" y="749281"/>
                    <a:pt x="815473" y="754181"/>
                    <a:pt x="772692" y="747093"/>
                  </a:cubicBezTo>
                  <a:close/>
                  <a:moveTo>
                    <a:pt x="801967" y="762550"/>
                  </a:moveTo>
                  <a:cubicBezTo>
                    <a:pt x="812604" y="762914"/>
                    <a:pt x="823268" y="761838"/>
                    <a:pt x="833237" y="759348"/>
                  </a:cubicBezTo>
                  <a:cubicBezTo>
                    <a:pt x="844997" y="756182"/>
                    <a:pt x="855669" y="750081"/>
                    <a:pt x="866743" y="745181"/>
                  </a:cubicBezTo>
                  <a:cubicBezTo>
                    <a:pt x="872926" y="742344"/>
                    <a:pt x="879536" y="741054"/>
                    <a:pt x="885710" y="738297"/>
                  </a:cubicBezTo>
                  <a:cubicBezTo>
                    <a:pt x="900303" y="744905"/>
                    <a:pt x="916027" y="753639"/>
                    <a:pt x="932776" y="756787"/>
                  </a:cubicBezTo>
                  <a:cubicBezTo>
                    <a:pt x="889274" y="762256"/>
                    <a:pt x="845647" y="766401"/>
                    <a:pt x="801976" y="770065"/>
                  </a:cubicBezTo>
                  <a:cubicBezTo>
                    <a:pt x="801967" y="767566"/>
                    <a:pt x="801967" y="765058"/>
                    <a:pt x="801967" y="762550"/>
                  </a:cubicBezTo>
                  <a:close/>
                  <a:moveTo>
                    <a:pt x="810038" y="807915"/>
                  </a:moveTo>
                  <a:cubicBezTo>
                    <a:pt x="731008" y="814630"/>
                    <a:pt x="651772" y="819023"/>
                    <a:pt x="573187" y="830282"/>
                  </a:cubicBezTo>
                  <a:cubicBezTo>
                    <a:pt x="564510" y="831403"/>
                    <a:pt x="555770" y="832328"/>
                    <a:pt x="547004" y="832390"/>
                  </a:cubicBezTo>
                  <a:cubicBezTo>
                    <a:pt x="542461" y="832417"/>
                    <a:pt x="537445" y="831252"/>
                    <a:pt x="533044" y="832017"/>
                  </a:cubicBezTo>
                  <a:cubicBezTo>
                    <a:pt x="528393" y="828308"/>
                    <a:pt x="524108" y="823790"/>
                    <a:pt x="522496" y="818143"/>
                  </a:cubicBezTo>
                  <a:cubicBezTo>
                    <a:pt x="557615" y="812122"/>
                    <a:pt x="592822" y="806652"/>
                    <a:pt x="628128" y="801832"/>
                  </a:cubicBezTo>
                  <a:cubicBezTo>
                    <a:pt x="630008" y="802997"/>
                    <a:pt x="632458" y="802437"/>
                    <a:pt x="634302" y="801014"/>
                  </a:cubicBezTo>
                  <a:cubicBezTo>
                    <a:pt x="743632" y="785024"/>
                    <a:pt x="854698" y="783752"/>
                    <a:pt x="963502" y="763973"/>
                  </a:cubicBezTo>
                  <a:cubicBezTo>
                    <a:pt x="965836" y="765796"/>
                    <a:pt x="969124" y="766614"/>
                    <a:pt x="972108" y="765698"/>
                  </a:cubicBezTo>
                  <a:cubicBezTo>
                    <a:pt x="971877" y="774378"/>
                    <a:pt x="971645" y="783058"/>
                    <a:pt x="971413" y="791738"/>
                  </a:cubicBezTo>
                  <a:cubicBezTo>
                    <a:pt x="970905" y="792156"/>
                    <a:pt x="970478" y="792610"/>
                    <a:pt x="970113" y="793090"/>
                  </a:cubicBezTo>
                  <a:cubicBezTo>
                    <a:pt x="917577" y="801788"/>
                    <a:pt x="863144" y="802980"/>
                    <a:pt x="810038" y="807915"/>
                  </a:cubicBezTo>
                  <a:close/>
                  <a:moveTo>
                    <a:pt x="1378780" y="740005"/>
                  </a:moveTo>
                  <a:cubicBezTo>
                    <a:pt x="1376170" y="771354"/>
                    <a:pt x="1365942" y="802882"/>
                    <a:pt x="1337380" y="819468"/>
                  </a:cubicBezTo>
                  <a:cubicBezTo>
                    <a:pt x="1290413" y="844921"/>
                    <a:pt x="1234145" y="844983"/>
                    <a:pt x="1182001" y="845499"/>
                  </a:cubicBezTo>
                  <a:cubicBezTo>
                    <a:pt x="1173092" y="846522"/>
                    <a:pt x="1151488" y="836712"/>
                    <a:pt x="1148530" y="847847"/>
                  </a:cubicBezTo>
                  <a:cubicBezTo>
                    <a:pt x="1095817" y="866666"/>
                    <a:pt x="1041455" y="887423"/>
                    <a:pt x="984705" y="887227"/>
                  </a:cubicBezTo>
                  <a:cubicBezTo>
                    <a:pt x="966317" y="886542"/>
                    <a:pt x="948375" y="883029"/>
                    <a:pt x="930370" y="887707"/>
                  </a:cubicBezTo>
                  <a:cubicBezTo>
                    <a:pt x="930130" y="871201"/>
                    <a:pt x="929266" y="854722"/>
                    <a:pt x="928954" y="838215"/>
                  </a:cubicBezTo>
                  <a:cubicBezTo>
                    <a:pt x="928749" y="829918"/>
                    <a:pt x="929078" y="820508"/>
                    <a:pt x="926032" y="812700"/>
                  </a:cubicBezTo>
                  <a:cubicBezTo>
                    <a:pt x="941649" y="810619"/>
                    <a:pt x="957783" y="810299"/>
                    <a:pt x="973053" y="806154"/>
                  </a:cubicBezTo>
                  <a:cubicBezTo>
                    <a:pt x="975271" y="807408"/>
                    <a:pt x="978068" y="807551"/>
                    <a:pt x="980928" y="805683"/>
                  </a:cubicBezTo>
                  <a:cubicBezTo>
                    <a:pt x="988108" y="801023"/>
                    <a:pt x="994897" y="801539"/>
                    <a:pt x="1003111" y="800898"/>
                  </a:cubicBezTo>
                  <a:cubicBezTo>
                    <a:pt x="1055041" y="795358"/>
                    <a:pt x="1106721" y="787647"/>
                    <a:pt x="1158152" y="778496"/>
                  </a:cubicBezTo>
                  <a:cubicBezTo>
                    <a:pt x="1156121" y="782809"/>
                    <a:pt x="1155239" y="787558"/>
                    <a:pt x="1156139" y="792681"/>
                  </a:cubicBezTo>
                  <a:cubicBezTo>
                    <a:pt x="1156718" y="795980"/>
                    <a:pt x="1161671" y="797208"/>
                    <a:pt x="1163809" y="794700"/>
                  </a:cubicBezTo>
                  <a:cubicBezTo>
                    <a:pt x="1168495" y="789212"/>
                    <a:pt x="1171667" y="782685"/>
                    <a:pt x="1177048" y="777740"/>
                  </a:cubicBezTo>
                  <a:cubicBezTo>
                    <a:pt x="1192879" y="764088"/>
                    <a:pt x="1215231" y="762514"/>
                    <a:pt x="1232773" y="751815"/>
                  </a:cubicBezTo>
                  <a:cubicBezTo>
                    <a:pt x="1261958" y="734171"/>
                    <a:pt x="1258136" y="705249"/>
                    <a:pt x="1270555" y="678862"/>
                  </a:cubicBezTo>
                  <a:cubicBezTo>
                    <a:pt x="1276551" y="697868"/>
                    <a:pt x="1275874" y="718225"/>
                    <a:pt x="1274475" y="737871"/>
                  </a:cubicBezTo>
                  <a:cubicBezTo>
                    <a:pt x="1272346" y="756707"/>
                    <a:pt x="1269896" y="787380"/>
                    <a:pt x="1246332" y="790191"/>
                  </a:cubicBezTo>
                  <a:cubicBezTo>
                    <a:pt x="1243739" y="790582"/>
                    <a:pt x="1243900" y="794086"/>
                    <a:pt x="1245664" y="795287"/>
                  </a:cubicBezTo>
                  <a:cubicBezTo>
                    <a:pt x="1264622" y="808173"/>
                    <a:pt x="1279286" y="777188"/>
                    <a:pt x="1283384" y="763866"/>
                  </a:cubicBezTo>
                  <a:cubicBezTo>
                    <a:pt x="1290992" y="739107"/>
                    <a:pt x="1291999" y="711919"/>
                    <a:pt x="1287678" y="686466"/>
                  </a:cubicBezTo>
                  <a:cubicBezTo>
                    <a:pt x="1289246" y="669720"/>
                    <a:pt x="1289878" y="652582"/>
                    <a:pt x="1294858" y="636441"/>
                  </a:cubicBezTo>
                  <a:cubicBezTo>
                    <a:pt x="1300916" y="643573"/>
                    <a:pt x="1301798" y="653809"/>
                    <a:pt x="1303714" y="662685"/>
                  </a:cubicBezTo>
                  <a:cubicBezTo>
                    <a:pt x="1306413" y="678391"/>
                    <a:pt x="1309122" y="694212"/>
                    <a:pt x="1311197" y="709998"/>
                  </a:cubicBezTo>
                  <a:cubicBezTo>
                    <a:pt x="1313781" y="729324"/>
                    <a:pt x="1314556" y="748987"/>
                    <a:pt x="1312061" y="768366"/>
                  </a:cubicBezTo>
                  <a:cubicBezTo>
                    <a:pt x="1311197" y="775045"/>
                    <a:pt x="1308560" y="781902"/>
                    <a:pt x="1310280" y="788563"/>
                  </a:cubicBezTo>
                  <a:cubicBezTo>
                    <a:pt x="1311215" y="792183"/>
                    <a:pt x="1316124" y="793535"/>
                    <a:pt x="1318725" y="790787"/>
                  </a:cubicBezTo>
                  <a:cubicBezTo>
                    <a:pt x="1337951" y="761749"/>
                    <a:pt x="1320454" y="678356"/>
                    <a:pt x="1312872" y="643991"/>
                  </a:cubicBezTo>
                  <a:cubicBezTo>
                    <a:pt x="1316970" y="639295"/>
                    <a:pt x="1319732" y="606336"/>
                    <a:pt x="1329603" y="610845"/>
                  </a:cubicBezTo>
                  <a:cubicBezTo>
                    <a:pt x="1336989" y="615754"/>
                    <a:pt x="1341550" y="640834"/>
                    <a:pt x="1343750" y="649896"/>
                  </a:cubicBezTo>
                  <a:cubicBezTo>
                    <a:pt x="1350058" y="677457"/>
                    <a:pt x="1351305" y="705854"/>
                    <a:pt x="1346664" y="733815"/>
                  </a:cubicBezTo>
                  <a:cubicBezTo>
                    <a:pt x="1344739" y="746933"/>
                    <a:pt x="1341443" y="759748"/>
                    <a:pt x="1342521" y="773071"/>
                  </a:cubicBezTo>
                  <a:cubicBezTo>
                    <a:pt x="1342904" y="777811"/>
                    <a:pt x="1349782" y="780764"/>
                    <a:pt x="1352312" y="775721"/>
                  </a:cubicBezTo>
                  <a:cubicBezTo>
                    <a:pt x="1357942" y="764471"/>
                    <a:pt x="1359813" y="752660"/>
                    <a:pt x="1361648" y="740316"/>
                  </a:cubicBezTo>
                  <a:cubicBezTo>
                    <a:pt x="1368490" y="701283"/>
                    <a:pt x="1365310" y="661031"/>
                    <a:pt x="1352151" y="623599"/>
                  </a:cubicBezTo>
                  <a:cubicBezTo>
                    <a:pt x="1384188" y="621811"/>
                    <a:pt x="1380802" y="718038"/>
                    <a:pt x="1378780" y="740005"/>
                  </a:cubicBezTo>
                  <a:close/>
                  <a:moveTo>
                    <a:pt x="1558775" y="246231"/>
                  </a:moveTo>
                  <a:cubicBezTo>
                    <a:pt x="1539335" y="371380"/>
                    <a:pt x="1494853" y="491584"/>
                    <a:pt x="1449436" y="609333"/>
                  </a:cubicBezTo>
                  <a:cubicBezTo>
                    <a:pt x="1443191" y="624941"/>
                    <a:pt x="1437534" y="641181"/>
                    <a:pt x="1429560" y="656006"/>
                  </a:cubicBezTo>
                  <a:cubicBezTo>
                    <a:pt x="1422077" y="669925"/>
                    <a:pt x="1412634" y="682535"/>
                    <a:pt x="1402353" y="694488"/>
                  </a:cubicBezTo>
                  <a:cubicBezTo>
                    <a:pt x="1401337" y="695671"/>
                    <a:pt x="1400749" y="697041"/>
                    <a:pt x="1400500" y="698455"/>
                  </a:cubicBezTo>
                  <a:cubicBezTo>
                    <a:pt x="1399235" y="699486"/>
                    <a:pt x="1397889" y="700420"/>
                    <a:pt x="1396482" y="701301"/>
                  </a:cubicBezTo>
                  <a:cubicBezTo>
                    <a:pt x="1395707" y="675643"/>
                    <a:pt x="1388535" y="596509"/>
                    <a:pt x="1347706" y="613549"/>
                  </a:cubicBezTo>
                  <a:cubicBezTo>
                    <a:pt x="1330948" y="584183"/>
                    <a:pt x="1308124" y="603188"/>
                    <a:pt x="1307179" y="631087"/>
                  </a:cubicBezTo>
                  <a:cubicBezTo>
                    <a:pt x="1304587" y="627387"/>
                    <a:pt x="1301202" y="624657"/>
                    <a:pt x="1296694" y="623919"/>
                  </a:cubicBezTo>
                  <a:cubicBezTo>
                    <a:pt x="1279054" y="621402"/>
                    <a:pt x="1281050" y="651168"/>
                    <a:pt x="1278716" y="662587"/>
                  </a:cubicBezTo>
                  <a:cubicBezTo>
                    <a:pt x="1261655" y="643084"/>
                    <a:pt x="1249459" y="694284"/>
                    <a:pt x="1246902" y="705294"/>
                  </a:cubicBezTo>
                  <a:cubicBezTo>
                    <a:pt x="1242653" y="721489"/>
                    <a:pt x="1235766" y="734438"/>
                    <a:pt x="1220184" y="741961"/>
                  </a:cubicBezTo>
                  <a:cubicBezTo>
                    <a:pt x="1206491" y="748578"/>
                    <a:pt x="1191293" y="751673"/>
                    <a:pt x="1177983" y="759206"/>
                  </a:cubicBezTo>
                  <a:cubicBezTo>
                    <a:pt x="1141911" y="761883"/>
                    <a:pt x="1105536" y="771737"/>
                    <a:pt x="1069233" y="775846"/>
                  </a:cubicBezTo>
                  <a:cubicBezTo>
                    <a:pt x="1052306" y="778318"/>
                    <a:pt x="1035317" y="780079"/>
                    <a:pt x="1018354" y="782276"/>
                  </a:cubicBezTo>
                  <a:cubicBezTo>
                    <a:pt x="1007102" y="783734"/>
                    <a:pt x="995102" y="783058"/>
                    <a:pt x="984180" y="785940"/>
                  </a:cubicBezTo>
                  <a:cubicBezTo>
                    <a:pt x="983912" y="775819"/>
                    <a:pt x="983636" y="765689"/>
                    <a:pt x="983369" y="755568"/>
                  </a:cubicBezTo>
                  <a:cubicBezTo>
                    <a:pt x="983342" y="754457"/>
                    <a:pt x="982950" y="753434"/>
                    <a:pt x="982336" y="752580"/>
                  </a:cubicBezTo>
                  <a:cubicBezTo>
                    <a:pt x="987663" y="741793"/>
                    <a:pt x="990621" y="730062"/>
                    <a:pt x="993819" y="718332"/>
                  </a:cubicBezTo>
                  <a:cubicBezTo>
                    <a:pt x="1025606" y="601667"/>
                    <a:pt x="1052163" y="483633"/>
                    <a:pt x="1084841" y="367209"/>
                  </a:cubicBezTo>
                  <a:cubicBezTo>
                    <a:pt x="1094151" y="334045"/>
                    <a:pt x="1103095" y="300401"/>
                    <a:pt x="1114632" y="267931"/>
                  </a:cubicBezTo>
                  <a:cubicBezTo>
                    <a:pt x="1119594" y="253969"/>
                    <a:pt x="1126757" y="239241"/>
                    <a:pt x="1139586" y="230926"/>
                  </a:cubicBezTo>
                  <a:cubicBezTo>
                    <a:pt x="1149778" y="225127"/>
                    <a:pt x="1162722" y="220849"/>
                    <a:pt x="1173894" y="218048"/>
                  </a:cubicBezTo>
                  <a:cubicBezTo>
                    <a:pt x="1192041" y="216901"/>
                    <a:pt x="1210367" y="217310"/>
                    <a:pt x="1228577" y="216634"/>
                  </a:cubicBezTo>
                  <a:cubicBezTo>
                    <a:pt x="1327768" y="214668"/>
                    <a:pt x="1426968" y="212890"/>
                    <a:pt x="1526177" y="212205"/>
                  </a:cubicBezTo>
                  <a:cubicBezTo>
                    <a:pt x="1533616" y="212054"/>
                    <a:pt x="1541527" y="211618"/>
                    <a:pt x="1548895" y="212392"/>
                  </a:cubicBezTo>
                  <a:cubicBezTo>
                    <a:pt x="1551478" y="213272"/>
                    <a:pt x="1554846" y="215664"/>
                    <a:pt x="1557037" y="217176"/>
                  </a:cubicBezTo>
                  <a:cubicBezTo>
                    <a:pt x="1560708" y="226337"/>
                    <a:pt x="1559942" y="236706"/>
                    <a:pt x="1558775" y="246231"/>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6" name="Freeform: Shape 25">
              <a:extLst>
                <a:ext uri="{FF2B5EF4-FFF2-40B4-BE49-F238E27FC236}">
                  <a16:creationId xmlns:a16="http://schemas.microsoft.com/office/drawing/2014/main" id="{E38F2372-B060-E551-1EFA-91E4A4957686}"/>
                </a:ext>
              </a:extLst>
            </p:cNvPr>
            <p:cNvSpPr/>
            <p:nvPr/>
          </p:nvSpPr>
          <p:spPr>
            <a:xfrm>
              <a:off x="6026740" y="3665847"/>
              <a:ext cx="194683" cy="49135"/>
            </a:xfrm>
            <a:custGeom>
              <a:avLst/>
              <a:gdLst>
                <a:gd name="connsiteX0" fmla="*/ 13247 w 194683"/>
                <a:gd name="connsiteY0" fmla="*/ 22277 h 49135"/>
                <a:gd name="connsiteX1" fmla="*/ 190827 w 194683"/>
                <a:gd name="connsiteY1" fmla="*/ 29391 h 49135"/>
                <a:gd name="connsiteX2" fmla="*/ 184422 w 194683"/>
                <a:gd name="connsiteY2" fmla="*/ 14228 h 49135"/>
                <a:gd name="connsiteX3" fmla="*/ 85685 w 194683"/>
                <a:gd name="connsiteY3" fmla="*/ 29934 h 49135"/>
                <a:gd name="connsiteX4" fmla="*/ 17684 w 194683"/>
                <a:gd name="connsiteY4" fmla="*/ 6304 h 49135"/>
                <a:gd name="connsiteX5" fmla="*/ 347 w 194683"/>
                <a:gd name="connsiteY5" fmla="*/ 3929 h 49135"/>
                <a:gd name="connsiteX6" fmla="*/ 13247 w 194683"/>
                <a:gd name="connsiteY6" fmla="*/ 22277 h 4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683" h="49135">
                  <a:moveTo>
                    <a:pt x="13247" y="22277"/>
                  </a:moveTo>
                  <a:cubicBezTo>
                    <a:pt x="59974" y="55734"/>
                    <a:pt x="141205" y="57735"/>
                    <a:pt x="190827" y="29391"/>
                  </a:cubicBezTo>
                  <a:cubicBezTo>
                    <a:pt x="198649" y="24705"/>
                    <a:pt x="193589" y="11062"/>
                    <a:pt x="184422" y="14228"/>
                  </a:cubicBezTo>
                  <a:cubicBezTo>
                    <a:pt x="152225" y="25336"/>
                    <a:pt x="120046" y="32735"/>
                    <a:pt x="85685" y="29934"/>
                  </a:cubicBezTo>
                  <a:cubicBezTo>
                    <a:pt x="61426" y="28244"/>
                    <a:pt x="37755" y="20000"/>
                    <a:pt x="17684" y="6304"/>
                  </a:cubicBezTo>
                  <a:cubicBezTo>
                    <a:pt x="13657" y="3556"/>
                    <a:pt x="3153" y="-4920"/>
                    <a:pt x="347" y="3929"/>
                  </a:cubicBezTo>
                  <a:cubicBezTo>
                    <a:pt x="-2005" y="11347"/>
                    <a:pt x="8187" y="18337"/>
                    <a:pt x="13247" y="22277"/>
                  </a:cubicBez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27" name="Freeform: Shape 26">
              <a:extLst>
                <a:ext uri="{FF2B5EF4-FFF2-40B4-BE49-F238E27FC236}">
                  <a16:creationId xmlns:a16="http://schemas.microsoft.com/office/drawing/2014/main" id="{A0F73C92-FF56-C8C8-13D5-1D49C759AF7B}"/>
                </a:ext>
              </a:extLst>
            </p:cNvPr>
            <p:cNvSpPr/>
            <p:nvPr/>
          </p:nvSpPr>
          <p:spPr>
            <a:xfrm>
              <a:off x="5935437" y="2917236"/>
              <a:ext cx="416960" cy="541402"/>
            </a:xfrm>
            <a:custGeom>
              <a:avLst/>
              <a:gdLst>
                <a:gd name="connsiteX0" fmla="*/ 417893 w 416960"/>
                <a:gd name="connsiteY0" fmla="*/ 264032 h 541402"/>
                <a:gd name="connsiteX1" fmla="*/ 289250 w 416960"/>
                <a:gd name="connsiteY1" fmla="*/ 2965 h 541402"/>
                <a:gd name="connsiteX2" fmla="*/ 270273 w 416960"/>
                <a:gd name="connsiteY2" fmla="*/ 5553 h 541402"/>
                <a:gd name="connsiteX3" fmla="*/ 260385 w 416960"/>
                <a:gd name="connsiteY3" fmla="*/ 12979 h 541402"/>
                <a:gd name="connsiteX4" fmla="*/ 92987 w 416960"/>
                <a:gd name="connsiteY4" fmla="*/ 298085 h 541402"/>
                <a:gd name="connsiteX5" fmla="*/ 3631 w 416960"/>
                <a:gd name="connsiteY5" fmla="*/ 492087 h 541402"/>
                <a:gd name="connsiteX6" fmla="*/ 34012 w 416960"/>
                <a:gd name="connsiteY6" fmla="*/ 497432 h 541402"/>
                <a:gd name="connsiteX7" fmla="*/ 74367 w 416960"/>
                <a:gd name="connsiteY7" fmla="*/ 505383 h 541402"/>
                <a:gd name="connsiteX8" fmla="*/ 171653 w 416960"/>
                <a:gd name="connsiteY8" fmla="*/ 532944 h 541402"/>
                <a:gd name="connsiteX9" fmla="*/ 403819 w 416960"/>
                <a:gd name="connsiteY9" fmla="*/ 399773 h 541402"/>
                <a:gd name="connsiteX10" fmla="*/ 420299 w 416960"/>
                <a:gd name="connsiteY10" fmla="*/ 288934 h 541402"/>
                <a:gd name="connsiteX11" fmla="*/ 417893 w 416960"/>
                <a:gd name="connsiteY11" fmla="*/ 264032 h 5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960" h="541402">
                  <a:moveTo>
                    <a:pt x="417893" y="264032"/>
                  </a:moveTo>
                  <a:cubicBezTo>
                    <a:pt x="415666" y="159205"/>
                    <a:pt x="378963" y="67745"/>
                    <a:pt x="289250" y="2965"/>
                  </a:cubicBezTo>
                  <a:cubicBezTo>
                    <a:pt x="283549" y="-1171"/>
                    <a:pt x="274995" y="830"/>
                    <a:pt x="270273" y="5553"/>
                  </a:cubicBezTo>
                  <a:cubicBezTo>
                    <a:pt x="265997" y="6398"/>
                    <a:pt x="262434" y="9137"/>
                    <a:pt x="260385" y="12979"/>
                  </a:cubicBezTo>
                  <a:cubicBezTo>
                    <a:pt x="207378" y="109606"/>
                    <a:pt x="151608" y="204641"/>
                    <a:pt x="92987" y="298085"/>
                  </a:cubicBezTo>
                  <a:cubicBezTo>
                    <a:pt x="55303" y="358454"/>
                    <a:pt x="9602" y="418903"/>
                    <a:pt x="3631" y="492087"/>
                  </a:cubicBezTo>
                  <a:cubicBezTo>
                    <a:pt x="2563" y="493475"/>
                    <a:pt x="30090" y="509198"/>
                    <a:pt x="34012" y="497432"/>
                  </a:cubicBezTo>
                  <a:cubicBezTo>
                    <a:pt x="47730" y="497832"/>
                    <a:pt x="61271" y="501328"/>
                    <a:pt x="74367" y="505383"/>
                  </a:cubicBezTo>
                  <a:cubicBezTo>
                    <a:pt x="106440" y="515397"/>
                    <a:pt x="138956" y="525296"/>
                    <a:pt x="171653" y="532944"/>
                  </a:cubicBezTo>
                  <a:cubicBezTo>
                    <a:pt x="279449" y="561492"/>
                    <a:pt x="395175" y="525171"/>
                    <a:pt x="403819" y="399773"/>
                  </a:cubicBezTo>
                  <a:cubicBezTo>
                    <a:pt x="415399" y="383507"/>
                    <a:pt x="421991" y="311328"/>
                    <a:pt x="420299" y="288934"/>
                  </a:cubicBezTo>
                  <a:lnTo>
                    <a:pt x="417893" y="264032"/>
                  </a:ln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28" name="Freeform: Shape 27">
              <a:extLst>
                <a:ext uri="{FF2B5EF4-FFF2-40B4-BE49-F238E27FC236}">
                  <a16:creationId xmlns:a16="http://schemas.microsoft.com/office/drawing/2014/main" id="{004060EA-8A5B-B7EC-68FF-CE419604AB18}"/>
                </a:ext>
              </a:extLst>
            </p:cNvPr>
            <p:cNvSpPr/>
            <p:nvPr/>
          </p:nvSpPr>
          <p:spPr>
            <a:xfrm>
              <a:off x="5784287" y="2850534"/>
              <a:ext cx="633705" cy="669283"/>
            </a:xfrm>
            <a:custGeom>
              <a:avLst/>
              <a:gdLst>
                <a:gd name="connsiteX0" fmla="*/ 636930 w 633705"/>
                <a:gd name="connsiteY0" fmla="*/ 612986 h 669283"/>
                <a:gd name="connsiteX1" fmla="*/ 603165 w 633705"/>
                <a:gd name="connsiteY1" fmla="*/ 396697 h 669283"/>
                <a:gd name="connsiteX2" fmla="*/ 591583 w 633705"/>
                <a:gd name="connsiteY2" fmla="*/ 291282 h 669283"/>
                <a:gd name="connsiteX3" fmla="*/ 575100 w 633705"/>
                <a:gd name="connsiteY3" fmla="*/ 193872 h 669283"/>
                <a:gd name="connsiteX4" fmla="*/ 538397 w 633705"/>
                <a:gd name="connsiteY4" fmla="*/ 109402 h 669283"/>
                <a:gd name="connsiteX5" fmla="*/ 478976 w 633705"/>
                <a:gd name="connsiteY5" fmla="*/ 47771 h 669283"/>
                <a:gd name="connsiteX6" fmla="*/ 317635 w 633705"/>
                <a:gd name="connsiteY6" fmla="*/ 1854 h 669283"/>
                <a:gd name="connsiteX7" fmla="*/ 299817 w 633705"/>
                <a:gd name="connsiteY7" fmla="*/ 2681 h 669283"/>
                <a:gd name="connsiteX8" fmla="*/ 8498 w 633705"/>
                <a:gd name="connsiteY8" fmla="*/ 507314 h 669283"/>
                <a:gd name="connsiteX9" fmla="*/ 7606 w 633705"/>
                <a:gd name="connsiteY9" fmla="*/ 526230 h 669283"/>
                <a:gd name="connsiteX10" fmla="*/ 3955 w 633705"/>
                <a:gd name="connsiteY10" fmla="*/ 568572 h 669283"/>
                <a:gd name="connsiteX11" fmla="*/ 5112 w 633705"/>
                <a:gd name="connsiteY11" fmla="*/ 617611 h 669283"/>
                <a:gd name="connsiteX12" fmla="*/ 15358 w 633705"/>
                <a:gd name="connsiteY12" fmla="*/ 666738 h 669283"/>
                <a:gd name="connsiteX13" fmla="*/ 221062 w 633705"/>
                <a:gd name="connsiteY13" fmla="*/ 652090 h 669283"/>
                <a:gd name="connsiteX14" fmla="*/ 226141 w 633705"/>
                <a:gd name="connsiteY14" fmla="*/ 583433 h 669283"/>
                <a:gd name="connsiteX15" fmla="*/ 221954 w 633705"/>
                <a:gd name="connsiteY15" fmla="*/ 550803 h 669283"/>
                <a:gd name="connsiteX16" fmla="*/ 218924 w 633705"/>
                <a:gd name="connsiteY16" fmla="*/ 537996 h 669283"/>
                <a:gd name="connsiteX17" fmla="*/ 277724 w 633705"/>
                <a:gd name="connsiteY17" fmla="*/ 436860 h 669283"/>
                <a:gd name="connsiteX18" fmla="*/ 401201 w 633705"/>
                <a:gd name="connsiteY18" fmla="*/ 226752 h 669283"/>
                <a:gd name="connsiteX19" fmla="*/ 444319 w 633705"/>
                <a:gd name="connsiteY19" fmla="*/ 110532 h 669283"/>
                <a:gd name="connsiteX20" fmla="*/ 445657 w 633705"/>
                <a:gd name="connsiteY20" fmla="*/ 110799 h 669283"/>
                <a:gd name="connsiteX21" fmla="*/ 446100 w 633705"/>
                <a:gd name="connsiteY21" fmla="*/ 112213 h 669283"/>
                <a:gd name="connsiteX22" fmla="*/ 526102 w 633705"/>
                <a:gd name="connsiteY22" fmla="*/ 220909 h 669283"/>
                <a:gd name="connsiteX23" fmla="*/ 553274 w 633705"/>
                <a:gd name="connsiteY23" fmla="*/ 377291 h 669283"/>
                <a:gd name="connsiteX24" fmla="*/ 428283 w 633705"/>
                <a:gd name="connsiteY24" fmla="*/ 592922 h 669283"/>
                <a:gd name="connsiteX25" fmla="*/ 363961 w 633705"/>
                <a:gd name="connsiteY25" fmla="*/ 596284 h 669283"/>
                <a:gd name="connsiteX26" fmla="*/ 335096 w 633705"/>
                <a:gd name="connsiteY26" fmla="*/ 586127 h 669283"/>
                <a:gd name="connsiteX27" fmla="*/ 307480 w 633705"/>
                <a:gd name="connsiteY27" fmla="*/ 567069 h 669283"/>
                <a:gd name="connsiteX28" fmla="*/ 293671 w 633705"/>
                <a:gd name="connsiteY28" fmla="*/ 580845 h 669283"/>
                <a:gd name="connsiteX29" fmla="*/ 348281 w 633705"/>
                <a:gd name="connsiteY29" fmla="*/ 616303 h 669283"/>
                <a:gd name="connsiteX30" fmla="*/ 414476 w 633705"/>
                <a:gd name="connsiteY30" fmla="*/ 618758 h 669283"/>
                <a:gd name="connsiteX31" fmla="*/ 419463 w 633705"/>
                <a:gd name="connsiteY31" fmla="*/ 617806 h 669283"/>
                <a:gd name="connsiteX32" fmla="*/ 426055 w 633705"/>
                <a:gd name="connsiteY32" fmla="*/ 633218 h 669283"/>
                <a:gd name="connsiteX33" fmla="*/ 432204 w 633705"/>
                <a:gd name="connsiteY33" fmla="*/ 638403 h 669283"/>
                <a:gd name="connsiteX34" fmla="*/ 441646 w 633705"/>
                <a:gd name="connsiteY34" fmla="*/ 650329 h 669283"/>
                <a:gd name="connsiteX35" fmla="*/ 626505 w 633705"/>
                <a:gd name="connsiteY35" fmla="*/ 631280 h 669283"/>
                <a:gd name="connsiteX36" fmla="*/ 636930 w 633705"/>
                <a:gd name="connsiteY36" fmla="*/ 612986 h 66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33705" h="669283">
                  <a:moveTo>
                    <a:pt x="636930" y="612986"/>
                  </a:moveTo>
                  <a:cubicBezTo>
                    <a:pt x="621696" y="541536"/>
                    <a:pt x="611895" y="469161"/>
                    <a:pt x="603165" y="396697"/>
                  </a:cubicBezTo>
                  <a:cubicBezTo>
                    <a:pt x="598889" y="361603"/>
                    <a:pt x="595502" y="326412"/>
                    <a:pt x="591583" y="291282"/>
                  </a:cubicBezTo>
                  <a:cubicBezTo>
                    <a:pt x="587931" y="258555"/>
                    <a:pt x="583655" y="225729"/>
                    <a:pt x="575100" y="193872"/>
                  </a:cubicBezTo>
                  <a:cubicBezTo>
                    <a:pt x="567173" y="164266"/>
                    <a:pt x="555591" y="134962"/>
                    <a:pt x="538397" y="109402"/>
                  </a:cubicBezTo>
                  <a:cubicBezTo>
                    <a:pt x="522271" y="85595"/>
                    <a:pt x="502227" y="64748"/>
                    <a:pt x="478976" y="47771"/>
                  </a:cubicBezTo>
                  <a:cubicBezTo>
                    <a:pt x="433183" y="13895"/>
                    <a:pt x="374564" y="-4123"/>
                    <a:pt x="317635" y="1854"/>
                  </a:cubicBezTo>
                  <a:cubicBezTo>
                    <a:pt x="308994" y="2770"/>
                    <a:pt x="300709" y="2601"/>
                    <a:pt x="299817" y="2681"/>
                  </a:cubicBezTo>
                  <a:cubicBezTo>
                    <a:pt x="68009" y="23705"/>
                    <a:pt x="13488" y="426161"/>
                    <a:pt x="8498" y="507314"/>
                  </a:cubicBezTo>
                  <a:cubicBezTo>
                    <a:pt x="8141" y="513628"/>
                    <a:pt x="7785" y="519933"/>
                    <a:pt x="7606" y="526230"/>
                  </a:cubicBezTo>
                  <a:cubicBezTo>
                    <a:pt x="5825" y="540308"/>
                    <a:pt x="4579" y="554422"/>
                    <a:pt x="3955" y="568572"/>
                  </a:cubicBezTo>
                  <a:cubicBezTo>
                    <a:pt x="3241" y="584927"/>
                    <a:pt x="3598" y="601309"/>
                    <a:pt x="5112" y="617611"/>
                  </a:cubicBezTo>
                  <a:cubicBezTo>
                    <a:pt x="6628" y="634294"/>
                    <a:pt x="8409" y="651396"/>
                    <a:pt x="15358" y="666738"/>
                  </a:cubicBezTo>
                  <a:cubicBezTo>
                    <a:pt x="19634" y="676183"/>
                    <a:pt x="219013" y="663243"/>
                    <a:pt x="221062" y="652090"/>
                  </a:cubicBezTo>
                  <a:cubicBezTo>
                    <a:pt x="225517" y="629483"/>
                    <a:pt x="227122" y="606431"/>
                    <a:pt x="226141" y="583433"/>
                  </a:cubicBezTo>
                  <a:cubicBezTo>
                    <a:pt x="225606" y="572467"/>
                    <a:pt x="224271" y="561555"/>
                    <a:pt x="221954" y="550803"/>
                  </a:cubicBezTo>
                  <a:cubicBezTo>
                    <a:pt x="221330" y="547868"/>
                    <a:pt x="220619" y="542354"/>
                    <a:pt x="218924" y="537996"/>
                  </a:cubicBezTo>
                  <a:cubicBezTo>
                    <a:pt x="237099" y="503498"/>
                    <a:pt x="257144" y="469988"/>
                    <a:pt x="277724" y="436860"/>
                  </a:cubicBezTo>
                  <a:cubicBezTo>
                    <a:pt x="320576" y="367891"/>
                    <a:pt x="366188" y="300203"/>
                    <a:pt x="401201" y="226752"/>
                  </a:cubicBezTo>
                  <a:cubicBezTo>
                    <a:pt x="418752" y="189951"/>
                    <a:pt x="436034" y="150864"/>
                    <a:pt x="444319" y="110532"/>
                  </a:cubicBezTo>
                  <a:lnTo>
                    <a:pt x="445657" y="110799"/>
                  </a:lnTo>
                  <a:cubicBezTo>
                    <a:pt x="445478" y="111315"/>
                    <a:pt x="445657" y="111893"/>
                    <a:pt x="446100" y="112213"/>
                  </a:cubicBezTo>
                  <a:cubicBezTo>
                    <a:pt x="484141" y="138475"/>
                    <a:pt x="509622" y="178291"/>
                    <a:pt x="526102" y="220909"/>
                  </a:cubicBezTo>
                  <a:cubicBezTo>
                    <a:pt x="545346" y="270756"/>
                    <a:pt x="554523" y="323895"/>
                    <a:pt x="553274" y="377291"/>
                  </a:cubicBezTo>
                  <a:cubicBezTo>
                    <a:pt x="551136" y="461788"/>
                    <a:pt x="519066" y="566215"/>
                    <a:pt x="428283" y="592922"/>
                  </a:cubicBezTo>
                  <a:cubicBezTo>
                    <a:pt x="407526" y="599014"/>
                    <a:pt x="385165" y="600739"/>
                    <a:pt x="363961" y="596284"/>
                  </a:cubicBezTo>
                  <a:cubicBezTo>
                    <a:pt x="353895" y="594265"/>
                    <a:pt x="344183" y="590850"/>
                    <a:pt x="335096" y="586127"/>
                  </a:cubicBezTo>
                  <a:cubicBezTo>
                    <a:pt x="325119" y="580809"/>
                    <a:pt x="316833" y="573268"/>
                    <a:pt x="307480" y="567069"/>
                  </a:cubicBezTo>
                  <a:cubicBezTo>
                    <a:pt x="298839" y="561395"/>
                    <a:pt x="288771" y="572458"/>
                    <a:pt x="293671" y="580845"/>
                  </a:cubicBezTo>
                  <a:cubicBezTo>
                    <a:pt x="304629" y="599388"/>
                    <a:pt x="328147" y="610727"/>
                    <a:pt x="348281" y="616303"/>
                  </a:cubicBezTo>
                  <a:cubicBezTo>
                    <a:pt x="369842" y="622271"/>
                    <a:pt x="392558" y="622546"/>
                    <a:pt x="414476" y="618758"/>
                  </a:cubicBezTo>
                  <a:cubicBezTo>
                    <a:pt x="416079" y="618473"/>
                    <a:pt x="417771" y="618153"/>
                    <a:pt x="419463" y="617806"/>
                  </a:cubicBezTo>
                  <a:cubicBezTo>
                    <a:pt x="419909" y="623515"/>
                    <a:pt x="422225" y="628923"/>
                    <a:pt x="426055" y="633218"/>
                  </a:cubicBezTo>
                  <a:cubicBezTo>
                    <a:pt x="427839" y="635255"/>
                    <a:pt x="429888" y="637007"/>
                    <a:pt x="432204" y="638403"/>
                  </a:cubicBezTo>
                  <a:cubicBezTo>
                    <a:pt x="432559" y="643766"/>
                    <a:pt x="436034" y="649156"/>
                    <a:pt x="441646" y="650329"/>
                  </a:cubicBezTo>
                  <a:cubicBezTo>
                    <a:pt x="471670" y="656573"/>
                    <a:pt x="596483" y="640200"/>
                    <a:pt x="626505" y="631280"/>
                  </a:cubicBezTo>
                  <a:cubicBezTo>
                    <a:pt x="634524" y="628896"/>
                    <a:pt x="638622" y="621017"/>
                    <a:pt x="636930" y="612986"/>
                  </a:cubicBezTo>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29" name="Freeform: Shape 28">
              <a:extLst>
                <a:ext uri="{FF2B5EF4-FFF2-40B4-BE49-F238E27FC236}">
                  <a16:creationId xmlns:a16="http://schemas.microsoft.com/office/drawing/2014/main" id="{A345483E-5180-484A-CFA0-75F3BF69D72C}"/>
                </a:ext>
              </a:extLst>
            </p:cNvPr>
            <p:cNvSpPr/>
            <p:nvPr/>
          </p:nvSpPr>
          <p:spPr>
            <a:xfrm>
              <a:off x="6213140" y="3347346"/>
              <a:ext cx="19486" cy="36698"/>
            </a:xfrm>
            <a:custGeom>
              <a:avLst/>
              <a:gdLst>
                <a:gd name="connsiteX0" fmla="*/ 14975 w 19486"/>
                <a:gd name="connsiteY0" fmla="*/ 6 h 36698"/>
                <a:gd name="connsiteX1" fmla="*/ 16757 w 19486"/>
                <a:gd name="connsiteY1" fmla="*/ 32023 h 36698"/>
                <a:gd name="connsiteX2" fmla="*/ 721 w 19486"/>
                <a:gd name="connsiteY2" fmla="*/ 32023 h 36698"/>
                <a:gd name="connsiteX3" fmla="*/ 14975 w 19486"/>
                <a:gd name="connsiteY3" fmla="*/ 6 h 36698"/>
              </a:gdLst>
              <a:ahLst/>
              <a:cxnLst>
                <a:cxn ang="0">
                  <a:pos x="connsiteX0" y="connsiteY0"/>
                </a:cxn>
                <a:cxn ang="0">
                  <a:pos x="connsiteX1" y="connsiteY1"/>
                </a:cxn>
                <a:cxn ang="0">
                  <a:pos x="connsiteX2" y="connsiteY2"/>
                </a:cxn>
                <a:cxn ang="0">
                  <a:pos x="connsiteX3" y="connsiteY3"/>
                </a:cxn>
              </a:cxnLst>
              <a:rect l="l" t="t" r="r" b="b"/>
              <a:pathLst>
                <a:path w="19486" h="36698">
                  <a:moveTo>
                    <a:pt x="14975" y="6"/>
                  </a:moveTo>
                  <a:cubicBezTo>
                    <a:pt x="19929" y="504"/>
                    <a:pt x="21212" y="28465"/>
                    <a:pt x="16757" y="32023"/>
                  </a:cubicBezTo>
                  <a:cubicBezTo>
                    <a:pt x="12303" y="35580"/>
                    <a:pt x="4730" y="40471"/>
                    <a:pt x="721" y="32023"/>
                  </a:cubicBezTo>
                  <a:cubicBezTo>
                    <a:pt x="-3288" y="23574"/>
                    <a:pt x="10521" y="-439"/>
                    <a:pt x="14975" y="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0" name="Freeform: Shape 29">
              <a:extLst>
                <a:ext uri="{FF2B5EF4-FFF2-40B4-BE49-F238E27FC236}">
                  <a16:creationId xmlns:a16="http://schemas.microsoft.com/office/drawing/2014/main" id="{A96AE222-616E-7A16-269D-1C135B7970D7}"/>
                </a:ext>
              </a:extLst>
            </p:cNvPr>
            <p:cNvSpPr/>
            <p:nvPr/>
          </p:nvSpPr>
          <p:spPr>
            <a:xfrm>
              <a:off x="6097697" y="3162211"/>
              <a:ext cx="73573" cy="81798"/>
            </a:xfrm>
            <a:custGeom>
              <a:avLst/>
              <a:gdLst>
                <a:gd name="connsiteX0" fmla="*/ 27725 w 73573"/>
                <a:gd name="connsiteY0" fmla="*/ 593 h 81798"/>
                <a:gd name="connsiteX1" fmla="*/ 72385 w 73573"/>
                <a:gd name="connsiteY1" fmla="*/ 28830 h 81798"/>
                <a:gd name="connsiteX2" fmla="*/ 35859 w 73573"/>
                <a:gd name="connsiteY2" fmla="*/ 81524 h 81798"/>
                <a:gd name="connsiteX3" fmla="*/ 1 w 73573"/>
                <a:gd name="connsiteY3" fmla="*/ 47835 h 81798"/>
                <a:gd name="connsiteX4" fmla="*/ 27725 w 73573"/>
                <a:gd name="connsiteY4" fmla="*/ 593 h 8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73" h="81798">
                  <a:moveTo>
                    <a:pt x="27725" y="593"/>
                  </a:moveTo>
                  <a:cubicBezTo>
                    <a:pt x="38834" y="-2680"/>
                    <a:pt x="68145" y="7708"/>
                    <a:pt x="72385" y="28830"/>
                  </a:cubicBezTo>
                  <a:cubicBezTo>
                    <a:pt x="77437" y="54034"/>
                    <a:pt x="66594" y="77966"/>
                    <a:pt x="35859" y="81524"/>
                  </a:cubicBezTo>
                  <a:cubicBezTo>
                    <a:pt x="11422" y="84352"/>
                    <a:pt x="-106" y="64848"/>
                    <a:pt x="1" y="47835"/>
                  </a:cubicBezTo>
                  <a:cubicBezTo>
                    <a:pt x="134" y="26713"/>
                    <a:pt x="8126" y="6374"/>
                    <a:pt x="27725" y="59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1" name="Freeform: Shape 30">
              <a:extLst>
                <a:ext uri="{FF2B5EF4-FFF2-40B4-BE49-F238E27FC236}">
                  <a16:creationId xmlns:a16="http://schemas.microsoft.com/office/drawing/2014/main" id="{C3822D19-1E4D-6F3D-B05B-8DF1B999D761}"/>
                </a:ext>
              </a:extLst>
            </p:cNvPr>
            <p:cNvSpPr/>
            <p:nvPr/>
          </p:nvSpPr>
          <p:spPr>
            <a:xfrm>
              <a:off x="6257871" y="3162122"/>
              <a:ext cx="71276" cy="81764"/>
            </a:xfrm>
            <a:custGeom>
              <a:avLst/>
              <a:gdLst>
                <a:gd name="connsiteX0" fmla="*/ 27021 w 71276"/>
                <a:gd name="connsiteY0" fmla="*/ 789 h 81764"/>
                <a:gd name="connsiteX1" fmla="*/ 65774 w 71276"/>
                <a:gd name="connsiteY1" fmla="*/ 18905 h 81764"/>
                <a:gd name="connsiteX2" fmla="*/ 57088 w 71276"/>
                <a:gd name="connsiteY2" fmla="*/ 73493 h 81764"/>
                <a:gd name="connsiteX3" fmla="*/ 7644 w 71276"/>
                <a:gd name="connsiteY3" fmla="*/ 72159 h 81764"/>
                <a:gd name="connsiteX4" fmla="*/ 27021 w 71276"/>
                <a:gd name="connsiteY4" fmla="*/ 789 h 81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76" h="81764">
                  <a:moveTo>
                    <a:pt x="27021" y="789"/>
                  </a:moveTo>
                  <a:cubicBezTo>
                    <a:pt x="39939" y="-3275"/>
                    <a:pt x="61587" y="9202"/>
                    <a:pt x="65774" y="18905"/>
                  </a:cubicBezTo>
                  <a:cubicBezTo>
                    <a:pt x="71672" y="32583"/>
                    <a:pt x="77356" y="55368"/>
                    <a:pt x="57088" y="73493"/>
                  </a:cubicBezTo>
                  <a:cubicBezTo>
                    <a:pt x="42486" y="86549"/>
                    <a:pt x="15199" y="82654"/>
                    <a:pt x="7644" y="72159"/>
                  </a:cubicBezTo>
                  <a:cubicBezTo>
                    <a:pt x="-3715" y="56373"/>
                    <a:pt x="-6165" y="11239"/>
                    <a:pt x="27021" y="78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32" name="Freeform: Shape 31">
              <a:extLst>
                <a:ext uri="{FF2B5EF4-FFF2-40B4-BE49-F238E27FC236}">
                  <a16:creationId xmlns:a16="http://schemas.microsoft.com/office/drawing/2014/main" id="{8DB80AA7-E256-C8E3-ADD5-3C433A03EAD8}"/>
                </a:ext>
              </a:extLst>
            </p:cNvPr>
            <p:cNvSpPr/>
            <p:nvPr/>
          </p:nvSpPr>
          <p:spPr>
            <a:xfrm>
              <a:off x="6209192" y="3212915"/>
              <a:ext cx="56859" cy="70011"/>
            </a:xfrm>
            <a:custGeom>
              <a:avLst/>
              <a:gdLst>
                <a:gd name="connsiteX0" fmla="*/ 4072 w 56859"/>
                <a:gd name="connsiteY0" fmla="*/ 64606 h 70011"/>
                <a:gd name="connsiteX1" fmla="*/ 12535 w 56859"/>
                <a:gd name="connsiteY1" fmla="*/ 50145 h 70011"/>
                <a:gd name="connsiteX2" fmla="*/ 32001 w 56859"/>
                <a:gd name="connsiteY2" fmla="*/ 51915 h 70011"/>
                <a:gd name="connsiteX3" fmla="*/ 40046 w 56859"/>
                <a:gd name="connsiteY3" fmla="*/ 47459 h 70011"/>
                <a:gd name="connsiteX4" fmla="*/ 40268 w 56859"/>
                <a:gd name="connsiteY4" fmla="*/ 39740 h 70011"/>
                <a:gd name="connsiteX5" fmla="*/ 28901 w 56859"/>
                <a:gd name="connsiteY5" fmla="*/ 16750 h 70011"/>
                <a:gd name="connsiteX6" fmla="*/ 27217 w 56859"/>
                <a:gd name="connsiteY6" fmla="*/ 1364 h 70011"/>
                <a:gd name="connsiteX7" fmla="*/ 32143 w 56859"/>
                <a:gd name="connsiteY7" fmla="*/ 1364 h 70011"/>
                <a:gd name="connsiteX8" fmla="*/ 45204 w 56859"/>
                <a:gd name="connsiteY8" fmla="*/ 25510 h 70011"/>
                <a:gd name="connsiteX9" fmla="*/ 53275 w 56859"/>
                <a:gd name="connsiteY9" fmla="*/ 40656 h 70011"/>
                <a:gd name="connsiteX10" fmla="*/ 55458 w 56859"/>
                <a:gd name="connsiteY10" fmla="*/ 54405 h 70011"/>
                <a:gd name="connsiteX11" fmla="*/ 4072 w 56859"/>
                <a:gd name="connsiteY11" fmla="*/ 64606 h 70011"/>
                <a:gd name="connsiteX12" fmla="*/ 4072 w 56859"/>
                <a:gd name="connsiteY12" fmla="*/ 64606 h 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59" h="70011">
                  <a:moveTo>
                    <a:pt x="4072" y="64606"/>
                  </a:moveTo>
                  <a:cubicBezTo>
                    <a:pt x="-5265" y="59163"/>
                    <a:pt x="3118" y="44853"/>
                    <a:pt x="12535" y="50145"/>
                  </a:cubicBezTo>
                  <a:cubicBezTo>
                    <a:pt x="18557" y="53533"/>
                    <a:pt x="25426" y="54049"/>
                    <a:pt x="32001" y="51915"/>
                  </a:cubicBezTo>
                  <a:cubicBezTo>
                    <a:pt x="34941" y="50963"/>
                    <a:pt x="37622" y="49380"/>
                    <a:pt x="40046" y="47459"/>
                  </a:cubicBezTo>
                  <a:cubicBezTo>
                    <a:pt x="43431" y="44773"/>
                    <a:pt x="41997" y="43679"/>
                    <a:pt x="40268" y="39740"/>
                  </a:cubicBezTo>
                  <a:cubicBezTo>
                    <a:pt x="36838" y="31913"/>
                    <a:pt x="32500" y="24505"/>
                    <a:pt x="28901" y="16750"/>
                  </a:cubicBezTo>
                  <a:cubicBezTo>
                    <a:pt x="26495" y="11565"/>
                    <a:pt x="23404" y="6362"/>
                    <a:pt x="27217" y="1364"/>
                  </a:cubicBezTo>
                  <a:cubicBezTo>
                    <a:pt x="28562" y="-406"/>
                    <a:pt x="30816" y="-503"/>
                    <a:pt x="32143" y="1364"/>
                  </a:cubicBezTo>
                  <a:cubicBezTo>
                    <a:pt x="37257" y="8559"/>
                    <a:pt x="41328" y="17186"/>
                    <a:pt x="45204" y="25510"/>
                  </a:cubicBezTo>
                  <a:cubicBezTo>
                    <a:pt x="47600" y="30659"/>
                    <a:pt x="49943" y="36022"/>
                    <a:pt x="53275" y="40656"/>
                  </a:cubicBezTo>
                  <a:cubicBezTo>
                    <a:pt x="56456" y="45076"/>
                    <a:pt x="58291" y="49095"/>
                    <a:pt x="55458" y="54405"/>
                  </a:cubicBezTo>
                  <a:cubicBezTo>
                    <a:pt x="46041" y="72041"/>
                    <a:pt x="19600" y="73659"/>
                    <a:pt x="4072" y="64606"/>
                  </a:cubicBezTo>
                  <a:lnTo>
                    <a:pt x="4072" y="64606"/>
                  </a:ln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33" name="Freeform: Shape 32">
              <a:extLst>
                <a:ext uri="{FF2B5EF4-FFF2-40B4-BE49-F238E27FC236}">
                  <a16:creationId xmlns:a16="http://schemas.microsoft.com/office/drawing/2014/main" id="{75C107FB-C72E-1EEB-6B26-D2B0DAF88C7E}"/>
                </a:ext>
              </a:extLst>
            </p:cNvPr>
            <p:cNvSpPr/>
            <p:nvPr/>
          </p:nvSpPr>
          <p:spPr>
            <a:xfrm>
              <a:off x="6085133" y="3091446"/>
              <a:ext cx="87269" cy="53555"/>
            </a:xfrm>
            <a:custGeom>
              <a:avLst/>
              <a:gdLst>
                <a:gd name="connsiteX0" fmla="*/ 5340 w 87269"/>
                <a:gd name="connsiteY0" fmla="*/ 52140 h 53555"/>
                <a:gd name="connsiteX1" fmla="*/ 36459 w 87269"/>
                <a:gd name="connsiteY1" fmla="*/ 17020 h 53555"/>
                <a:gd name="connsiteX2" fmla="*/ 63604 w 87269"/>
                <a:gd name="connsiteY2" fmla="*/ 14565 h 53555"/>
                <a:gd name="connsiteX3" fmla="*/ 81395 w 87269"/>
                <a:gd name="connsiteY3" fmla="*/ 30200 h 53555"/>
                <a:gd name="connsiteX4" fmla="*/ 86811 w 87269"/>
                <a:gd name="connsiteY4" fmla="*/ 28768 h 53555"/>
                <a:gd name="connsiteX5" fmla="*/ 73101 w 87269"/>
                <a:gd name="connsiteY5" fmla="*/ 4587 h 53555"/>
                <a:gd name="connsiteX6" fmla="*/ 37430 w 87269"/>
                <a:gd name="connsiteY6" fmla="*/ 3164 h 53555"/>
                <a:gd name="connsiteX7" fmla="*/ 3 w 87269"/>
                <a:gd name="connsiteY7" fmla="*/ 50699 h 53555"/>
                <a:gd name="connsiteX8" fmla="*/ 5340 w 87269"/>
                <a:gd name="connsiteY8" fmla="*/ 52140 h 53555"/>
                <a:gd name="connsiteX9" fmla="*/ 5340 w 87269"/>
                <a:gd name="connsiteY9" fmla="*/ 52140 h 5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69" h="53555">
                  <a:moveTo>
                    <a:pt x="5340" y="52140"/>
                  </a:moveTo>
                  <a:cubicBezTo>
                    <a:pt x="11594" y="37635"/>
                    <a:pt x="21830" y="23797"/>
                    <a:pt x="36459" y="17020"/>
                  </a:cubicBezTo>
                  <a:cubicBezTo>
                    <a:pt x="44681" y="13213"/>
                    <a:pt x="54873" y="11426"/>
                    <a:pt x="63604" y="14565"/>
                  </a:cubicBezTo>
                  <a:cubicBezTo>
                    <a:pt x="71506" y="17402"/>
                    <a:pt x="76192" y="24037"/>
                    <a:pt x="81395" y="30200"/>
                  </a:cubicBezTo>
                  <a:cubicBezTo>
                    <a:pt x="82954" y="32050"/>
                    <a:pt x="86295" y="31027"/>
                    <a:pt x="86811" y="28768"/>
                  </a:cubicBezTo>
                  <a:cubicBezTo>
                    <a:pt x="89199" y="18345"/>
                    <a:pt x="81894" y="9540"/>
                    <a:pt x="73101" y="4587"/>
                  </a:cubicBezTo>
                  <a:cubicBezTo>
                    <a:pt x="62339" y="-1470"/>
                    <a:pt x="48735" y="-1087"/>
                    <a:pt x="37430" y="3164"/>
                  </a:cubicBezTo>
                  <a:cubicBezTo>
                    <a:pt x="17153" y="10785"/>
                    <a:pt x="1117" y="28688"/>
                    <a:pt x="3" y="50699"/>
                  </a:cubicBezTo>
                  <a:cubicBezTo>
                    <a:pt x="-139" y="53394"/>
                    <a:pt x="4200" y="54781"/>
                    <a:pt x="5340" y="52140"/>
                  </a:cubicBezTo>
                  <a:lnTo>
                    <a:pt x="5340" y="5214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4" name="Freeform: Shape 33">
              <a:extLst>
                <a:ext uri="{FF2B5EF4-FFF2-40B4-BE49-F238E27FC236}">
                  <a16:creationId xmlns:a16="http://schemas.microsoft.com/office/drawing/2014/main" id="{7389BD19-5342-AE28-82E2-415856D65298}"/>
                </a:ext>
              </a:extLst>
            </p:cNvPr>
            <p:cNvSpPr/>
            <p:nvPr/>
          </p:nvSpPr>
          <p:spPr>
            <a:xfrm>
              <a:off x="6254199" y="3114300"/>
              <a:ext cx="71581" cy="45127"/>
            </a:xfrm>
            <a:custGeom>
              <a:avLst/>
              <a:gdLst>
                <a:gd name="connsiteX0" fmla="*/ 7573 w 71581"/>
                <a:gd name="connsiteY0" fmla="*/ 27810 h 45127"/>
                <a:gd name="connsiteX1" fmla="*/ 41944 w 71581"/>
                <a:gd name="connsiteY1" fmla="*/ 12513 h 45127"/>
                <a:gd name="connsiteX2" fmla="*/ 55601 w 71581"/>
                <a:gd name="connsiteY2" fmla="*/ 24163 h 45127"/>
                <a:gd name="connsiteX3" fmla="*/ 64358 w 71581"/>
                <a:gd name="connsiteY3" fmla="*/ 43560 h 45127"/>
                <a:gd name="connsiteX4" fmla="*/ 70452 w 71581"/>
                <a:gd name="connsiteY4" fmla="*/ 42768 h 45127"/>
                <a:gd name="connsiteX5" fmla="*/ 65365 w 71581"/>
                <a:gd name="connsiteY5" fmla="*/ 17138 h 45127"/>
                <a:gd name="connsiteX6" fmla="*/ 45997 w 71581"/>
                <a:gd name="connsiteY6" fmla="*/ 1423 h 45127"/>
                <a:gd name="connsiteX7" fmla="*/ 1248 w 71581"/>
                <a:gd name="connsiteY7" fmla="*/ 21513 h 45127"/>
                <a:gd name="connsiteX8" fmla="*/ 7573 w 71581"/>
                <a:gd name="connsiteY8" fmla="*/ 27810 h 45127"/>
                <a:gd name="connsiteX9" fmla="*/ 7573 w 71581"/>
                <a:gd name="connsiteY9" fmla="*/ 27810 h 4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81" h="45127">
                  <a:moveTo>
                    <a:pt x="7573" y="27810"/>
                  </a:moveTo>
                  <a:cubicBezTo>
                    <a:pt x="16553" y="19210"/>
                    <a:pt x="28393" y="7951"/>
                    <a:pt x="41944" y="12513"/>
                  </a:cubicBezTo>
                  <a:cubicBezTo>
                    <a:pt x="47868" y="14505"/>
                    <a:pt x="52412" y="18916"/>
                    <a:pt x="55601" y="24163"/>
                  </a:cubicBezTo>
                  <a:cubicBezTo>
                    <a:pt x="59289" y="30229"/>
                    <a:pt x="60144" y="37904"/>
                    <a:pt x="64358" y="43560"/>
                  </a:cubicBezTo>
                  <a:cubicBezTo>
                    <a:pt x="66131" y="45943"/>
                    <a:pt x="69374" y="45552"/>
                    <a:pt x="70452" y="42768"/>
                  </a:cubicBezTo>
                  <a:cubicBezTo>
                    <a:pt x="73570" y="34711"/>
                    <a:pt x="69695" y="24137"/>
                    <a:pt x="65365" y="17138"/>
                  </a:cubicBezTo>
                  <a:cubicBezTo>
                    <a:pt x="60937" y="9978"/>
                    <a:pt x="54051" y="4082"/>
                    <a:pt x="45997" y="1423"/>
                  </a:cubicBezTo>
                  <a:cubicBezTo>
                    <a:pt x="27983" y="-4527"/>
                    <a:pt x="12527" y="9347"/>
                    <a:pt x="1248" y="21513"/>
                  </a:cubicBezTo>
                  <a:cubicBezTo>
                    <a:pt x="-2636" y="25720"/>
                    <a:pt x="3413" y="31803"/>
                    <a:pt x="7573" y="27810"/>
                  </a:cubicBezTo>
                  <a:lnTo>
                    <a:pt x="7573" y="2781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5" name="Freeform: Shape 34">
              <a:extLst>
                <a:ext uri="{FF2B5EF4-FFF2-40B4-BE49-F238E27FC236}">
                  <a16:creationId xmlns:a16="http://schemas.microsoft.com/office/drawing/2014/main" id="{C048ABD1-8A84-D609-0AD7-ADD19E3A20D8}"/>
                </a:ext>
              </a:extLst>
            </p:cNvPr>
            <p:cNvSpPr/>
            <p:nvPr/>
          </p:nvSpPr>
          <p:spPr>
            <a:xfrm>
              <a:off x="6091095" y="3158173"/>
              <a:ext cx="85138" cy="91668"/>
            </a:xfrm>
            <a:custGeom>
              <a:avLst/>
              <a:gdLst>
                <a:gd name="connsiteX0" fmla="*/ 82515 w 85138"/>
                <a:gd name="connsiteY0" fmla="*/ 31952 h 91668"/>
                <a:gd name="connsiteX1" fmla="*/ 49152 w 85138"/>
                <a:gd name="connsiteY1" fmla="*/ 1955 h 91668"/>
                <a:gd name="connsiteX2" fmla="*/ 47691 w 85138"/>
                <a:gd name="connsiteY2" fmla="*/ 7 h 91668"/>
                <a:gd name="connsiteX3" fmla="*/ 3913 w 85138"/>
                <a:gd name="connsiteY3" fmla="*/ 28964 h 91668"/>
                <a:gd name="connsiteX4" fmla="*/ 15396 w 85138"/>
                <a:gd name="connsiteY4" fmla="*/ 84130 h 91668"/>
                <a:gd name="connsiteX5" fmla="*/ 67317 w 85138"/>
                <a:gd name="connsiteY5" fmla="*/ 82503 h 91668"/>
                <a:gd name="connsiteX6" fmla="*/ 82515 w 85138"/>
                <a:gd name="connsiteY6" fmla="*/ 31952 h 91668"/>
                <a:gd name="connsiteX7" fmla="*/ 45152 w 85138"/>
                <a:gd name="connsiteY7" fmla="*/ 81951 h 91668"/>
                <a:gd name="connsiteX8" fmla="*/ 18968 w 85138"/>
                <a:gd name="connsiteY8" fmla="*/ 74125 h 91668"/>
                <a:gd name="connsiteX9" fmla="*/ 10719 w 85138"/>
                <a:gd name="connsiteY9" fmla="*/ 44741 h 91668"/>
                <a:gd name="connsiteX10" fmla="*/ 35601 w 85138"/>
                <a:gd name="connsiteY10" fmla="*/ 7522 h 91668"/>
                <a:gd name="connsiteX11" fmla="*/ 35949 w 85138"/>
                <a:gd name="connsiteY11" fmla="*/ 7726 h 91668"/>
                <a:gd name="connsiteX12" fmla="*/ 62604 w 85138"/>
                <a:gd name="connsiteY12" fmla="*/ 15428 h 91668"/>
                <a:gd name="connsiteX13" fmla="*/ 77188 w 85138"/>
                <a:gd name="connsiteY13" fmla="*/ 40775 h 91668"/>
                <a:gd name="connsiteX14" fmla="*/ 45152 w 85138"/>
                <a:gd name="connsiteY14" fmla="*/ 81951 h 9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38" h="91668">
                  <a:moveTo>
                    <a:pt x="82515" y="31952"/>
                  </a:moveTo>
                  <a:cubicBezTo>
                    <a:pt x="77731" y="18719"/>
                    <a:pt x="64065" y="5112"/>
                    <a:pt x="49152" y="1955"/>
                  </a:cubicBezTo>
                  <a:cubicBezTo>
                    <a:pt x="49276" y="1065"/>
                    <a:pt x="48769" y="34"/>
                    <a:pt x="47691" y="7"/>
                  </a:cubicBezTo>
                  <a:cubicBezTo>
                    <a:pt x="28367" y="-322"/>
                    <a:pt x="11316" y="11017"/>
                    <a:pt x="3913" y="28964"/>
                  </a:cubicBezTo>
                  <a:cubicBezTo>
                    <a:pt x="-3393" y="46680"/>
                    <a:pt x="-961" y="72000"/>
                    <a:pt x="15396" y="84130"/>
                  </a:cubicBezTo>
                  <a:cubicBezTo>
                    <a:pt x="30541" y="95363"/>
                    <a:pt x="52591" y="93397"/>
                    <a:pt x="67317" y="82503"/>
                  </a:cubicBezTo>
                  <a:cubicBezTo>
                    <a:pt x="82899" y="70995"/>
                    <a:pt x="89144" y="50255"/>
                    <a:pt x="82515" y="31952"/>
                  </a:cubicBezTo>
                  <a:close/>
                  <a:moveTo>
                    <a:pt x="45152" y="81951"/>
                  </a:moveTo>
                  <a:cubicBezTo>
                    <a:pt x="35967" y="83285"/>
                    <a:pt x="25463" y="81142"/>
                    <a:pt x="18968" y="74125"/>
                  </a:cubicBezTo>
                  <a:cubicBezTo>
                    <a:pt x="12037" y="66637"/>
                    <a:pt x="9971" y="54568"/>
                    <a:pt x="10719" y="44741"/>
                  </a:cubicBezTo>
                  <a:cubicBezTo>
                    <a:pt x="11948" y="28635"/>
                    <a:pt x="21677" y="14681"/>
                    <a:pt x="35601" y="7522"/>
                  </a:cubicBezTo>
                  <a:cubicBezTo>
                    <a:pt x="35744" y="7566"/>
                    <a:pt x="35788" y="7709"/>
                    <a:pt x="35949" y="7726"/>
                  </a:cubicBezTo>
                  <a:cubicBezTo>
                    <a:pt x="45668" y="9096"/>
                    <a:pt x="54221" y="9541"/>
                    <a:pt x="62604" y="15428"/>
                  </a:cubicBezTo>
                  <a:cubicBezTo>
                    <a:pt x="71174" y="21440"/>
                    <a:pt x="76181" y="30396"/>
                    <a:pt x="77188" y="40775"/>
                  </a:cubicBezTo>
                  <a:cubicBezTo>
                    <a:pt x="79121" y="60651"/>
                    <a:pt x="65001" y="79061"/>
                    <a:pt x="45152" y="81951"/>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6" name="Freeform: Shape 35">
              <a:extLst>
                <a:ext uri="{FF2B5EF4-FFF2-40B4-BE49-F238E27FC236}">
                  <a16:creationId xmlns:a16="http://schemas.microsoft.com/office/drawing/2014/main" id="{F62475FF-CFDF-6DB6-723A-851FC0F369ED}"/>
                </a:ext>
              </a:extLst>
            </p:cNvPr>
            <p:cNvSpPr/>
            <p:nvPr/>
          </p:nvSpPr>
          <p:spPr>
            <a:xfrm>
              <a:off x="6137329" y="3198786"/>
              <a:ext cx="20096" cy="24829"/>
            </a:xfrm>
            <a:custGeom>
              <a:avLst/>
              <a:gdLst>
                <a:gd name="connsiteX0" fmla="*/ 11987 w 20096"/>
                <a:gd name="connsiteY0" fmla="*/ 144 h 24829"/>
                <a:gd name="connsiteX1" fmla="*/ 691 w 20096"/>
                <a:gd name="connsiteY1" fmla="*/ 7739 h 24829"/>
                <a:gd name="connsiteX2" fmla="*/ 869 w 20096"/>
                <a:gd name="connsiteY2" fmla="*/ 18126 h 24829"/>
                <a:gd name="connsiteX3" fmla="*/ 16201 w 20096"/>
                <a:gd name="connsiteY3" fmla="*/ 22164 h 24829"/>
                <a:gd name="connsiteX4" fmla="*/ 19524 w 20096"/>
                <a:gd name="connsiteY4" fmla="*/ 8513 h 24829"/>
                <a:gd name="connsiteX5" fmla="*/ 16842 w 20096"/>
                <a:gd name="connsiteY5" fmla="*/ 4128 h 24829"/>
                <a:gd name="connsiteX6" fmla="*/ 15836 w 20096"/>
                <a:gd name="connsiteY6" fmla="*/ 2794 h 24829"/>
                <a:gd name="connsiteX7" fmla="*/ 11987 w 20096"/>
                <a:gd name="connsiteY7" fmla="*/ 144 h 24829"/>
                <a:gd name="connsiteX8" fmla="*/ 11987 w 20096"/>
                <a:gd name="connsiteY8" fmla="*/ 144 h 2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96" h="24829">
                  <a:moveTo>
                    <a:pt x="11987" y="144"/>
                  </a:moveTo>
                  <a:cubicBezTo>
                    <a:pt x="6535" y="-737"/>
                    <a:pt x="2196" y="2501"/>
                    <a:pt x="691" y="7739"/>
                  </a:cubicBezTo>
                  <a:cubicBezTo>
                    <a:pt x="-254" y="11012"/>
                    <a:pt x="-263" y="14898"/>
                    <a:pt x="869" y="18126"/>
                  </a:cubicBezTo>
                  <a:cubicBezTo>
                    <a:pt x="3096" y="24494"/>
                    <a:pt x="11069" y="27304"/>
                    <a:pt x="16201" y="22164"/>
                  </a:cubicBezTo>
                  <a:cubicBezTo>
                    <a:pt x="19854" y="18500"/>
                    <a:pt x="20878" y="13413"/>
                    <a:pt x="19524" y="8513"/>
                  </a:cubicBezTo>
                  <a:cubicBezTo>
                    <a:pt x="19034" y="6752"/>
                    <a:pt x="18081" y="5267"/>
                    <a:pt x="16842" y="4128"/>
                  </a:cubicBezTo>
                  <a:cubicBezTo>
                    <a:pt x="16709" y="4004"/>
                    <a:pt x="15889" y="2883"/>
                    <a:pt x="15836" y="2794"/>
                  </a:cubicBezTo>
                  <a:cubicBezTo>
                    <a:pt x="14900" y="1425"/>
                    <a:pt x="13617" y="402"/>
                    <a:pt x="11987" y="144"/>
                  </a:cubicBezTo>
                  <a:lnTo>
                    <a:pt x="11987" y="144"/>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7" name="Freeform: Shape 36">
              <a:extLst>
                <a:ext uri="{FF2B5EF4-FFF2-40B4-BE49-F238E27FC236}">
                  <a16:creationId xmlns:a16="http://schemas.microsoft.com/office/drawing/2014/main" id="{D88A8077-D817-B946-0DCF-899787E32525}"/>
                </a:ext>
              </a:extLst>
            </p:cNvPr>
            <p:cNvSpPr/>
            <p:nvPr/>
          </p:nvSpPr>
          <p:spPr>
            <a:xfrm>
              <a:off x="6252019" y="3158184"/>
              <a:ext cx="81486" cy="91615"/>
            </a:xfrm>
            <a:custGeom>
              <a:avLst/>
              <a:gdLst>
                <a:gd name="connsiteX0" fmla="*/ 79251 w 81486"/>
                <a:gd name="connsiteY0" fmla="*/ 32911 h 91615"/>
                <a:gd name="connsiteX1" fmla="*/ 47135 w 81486"/>
                <a:gd name="connsiteY1" fmla="*/ 1953 h 91615"/>
                <a:gd name="connsiteX2" fmla="*/ 45674 w 81486"/>
                <a:gd name="connsiteY2" fmla="*/ 5 h 91615"/>
                <a:gd name="connsiteX3" fmla="*/ 4052 w 81486"/>
                <a:gd name="connsiteY3" fmla="*/ 28366 h 91615"/>
                <a:gd name="connsiteX4" fmla="*/ 12996 w 81486"/>
                <a:gd name="connsiteY4" fmla="*/ 82652 h 91615"/>
                <a:gd name="connsiteX5" fmla="*/ 64819 w 81486"/>
                <a:gd name="connsiteY5" fmla="*/ 82234 h 91615"/>
                <a:gd name="connsiteX6" fmla="*/ 79251 w 81486"/>
                <a:gd name="connsiteY6" fmla="*/ 32911 h 91615"/>
                <a:gd name="connsiteX7" fmla="*/ 42458 w 81486"/>
                <a:gd name="connsiteY7" fmla="*/ 82003 h 91615"/>
                <a:gd name="connsiteX8" fmla="*/ 16373 w 81486"/>
                <a:gd name="connsiteY8" fmla="*/ 71135 h 91615"/>
                <a:gd name="connsiteX9" fmla="*/ 10840 w 81486"/>
                <a:gd name="connsiteY9" fmla="*/ 43663 h 91615"/>
                <a:gd name="connsiteX10" fmla="*/ 34128 w 81486"/>
                <a:gd name="connsiteY10" fmla="*/ 7520 h 91615"/>
                <a:gd name="connsiteX11" fmla="*/ 34458 w 81486"/>
                <a:gd name="connsiteY11" fmla="*/ 7716 h 91615"/>
                <a:gd name="connsiteX12" fmla="*/ 59180 w 81486"/>
                <a:gd name="connsiteY12" fmla="*/ 14991 h 91615"/>
                <a:gd name="connsiteX13" fmla="*/ 73559 w 81486"/>
                <a:gd name="connsiteY13" fmla="*/ 40755 h 91615"/>
                <a:gd name="connsiteX14" fmla="*/ 42458 w 81486"/>
                <a:gd name="connsiteY14" fmla="*/ 82003 h 9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486" h="91615">
                  <a:moveTo>
                    <a:pt x="79251" y="32911"/>
                  </a:moveTo>
                  <a:cubicBezTo>
                    <a:pt x="74957" y="19686"/>
                    <a:pt x="61906" y="5190"/>
                    <a:pt x="47135" y="1953"/>
                  </a:cubicBezTo>
                  <a:cubicBezTo>
                    <a:pt x="47260" y="1063"/>
                    <a:pt x="46752" y="23"/>
                    <a:pt x="45674" y="5"/>
                  </a:cubicBezTo>
                  <a:cubicBezTo>
                    <a:pt x="26992" y="-279"/>
                    <a:pt x="11134" y="11202"/>
                    <a:pt x="4052" y="28366"/>
                  </a:cubicBezTo>
                  <a:cubicBezTo>
                    <a:pt x="-2933" y="45291"/>
                    <a:pt x="-1463" y="69774"/>
                    <a:pt x="12996" y="82652"/>
                  </a:cubicBezTo>
                  <a:cubicBezTo>
                    <a:pt x="27544" y="95610"/>
                    <a:pt x="50102" y="93680"/>
                    <a:pt x="64819" y="82234"/>
                  </a:cubicBezTo>
                  <a:cubicBezTo>
                    <a:pt x="79554" y="70779"/>
                    <a:pt x="84971" y="50538"/>
                    <a:pt x="79251" y="32911"/>
                  </a:cubicBezTo>
                  <a:close/>
                  <a:moveTo>
                    <a:pt x="42458" y="82003"/>
                  </a:moveTo>
                  <a:cubicBezTo>
                    <a:pt x="32489" y="83292"/>
                    <a:pt x="21878" y="79966"/>
                    <a:pt x="16373" y="71135"/>
                  </a:cubicBezTo>
                  <a:cubicBezTo>
                    <a:pt x="11446" y="63220"/>
                    <a:pt x="9967" y="52797"/>
                    <a:pt x="10840" y="43663"/>
                  </a:cubicBezTo>
                  <a:cubicBezTo>
                    <a:pt x="12292" y="28446"/>
                    <a:pt x="20996" y="14653"/>
                    <a:pt x="34128" y="7520"/>
                  </a:cubicBezTo>
                  <a:cubicBezTo>
                    <a:pt x="34262" y="7556"/>
                    <a:pt x="34306" y="7698"/>
                    <a:pt x="34458" y="7716"/>
                  </a:cubicBezTo>
                  <a:cubicBezTo>
                    <a:pt x="43527" y="9023"/>
                    <a:pt x="51385" y="9441"/>
                    <a:pt x="59180" y="14991"/>
                  </a:cubicBezTo>
                  <a:cubicBezTo>
                    <a:pt x="67786" y="21118"/>
                    <a:pt x="72641" y="30314"/>
                    <a:pt x="73559" y="40755"/>
                  </a:cubicBezTo>
                  <a:cubicBezTo>
                    <a:pt x="75278" y="60134"/>
                    <a:pt x="62396" y="79424"/>
                    <a:pt x="42458" y="82003"/>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8" name="Freeform: Shape 37">
              <a:extLst>
                <a:ext uri="{FF2B5EF4-FFF2-40B4-BE49-F238E27FC236}">
                  <a16:creationId xmlns:a16="http://schemas.microsoft.com/office/drawing/2014/main" id="{DCF05098-85AE-A0AE-6DDC-4C230BF69246}"/>
                </a:ext>
              </a:extLst>
            </p:cNvPr>
            <p:cNvSpPr/>
            <p:nvPr/>
          </p:nvSpPr>
          <p:spPr>
            <a:xfrm>
              <a:off x="6286341" y="3199236"/>
              <a:ext cx="23057" cy="23854"/>
            </a:xfrm>
            <a:custGeom>
              <a:avLst/>
              <a:gdLst>
                <a:gd name="connsiteX0" fmla="*/ 3824 w 23057"/>
                <a:gd name="connsiteY0" fmla="*/ 3322 h 23854"/>
                <a:gd name="connsiteX1" fmla="*/ 1017 w 23057"/>
                <a:gd name="connsiteY1" fmla="*/ 16831 h 23854"/>
                <a:gd name="connsiteX2" fmla="*/ 13294 w 23057"/>
                <a:gd name="connsiteY2" fmla="*/ 23670 h 23854"/>
                <a:gd name="connsiteX3" fmla="*/ 23031 w 23057"/>
                <a:gd name="connsiteY3" fmla="*/ 12713 h 23854"/>
                <a:gd name="connsiteX4" fmla="*/ 22907 w 23057"/>
                <a:gd name="connsiteY4" fmla="*/ 11068 h 23854"/>
                <a:gd name="connsiteX5" fmla="*/ 16234 w 23057"/>
                <a:gd name="connsiteY5" fmla="*/ 1267 h 23854"/>
                <a:gd name="connsiteX6" fmla="*/ 3824 w 23057"/>
                <a:gd name="connsiteY6" fmla="*/ 3322 h 23854"/>
                <a:gd name="connsiteX7" fmla="*/ 3824 w 23057"/>
                <a:gd name="connsiteY7" fmla="*/ 3322 h 2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57" h="23854">
                  <a:moveTo>
                    <a:pt x="3824" y="3322"/>
                  </a:moveTo>
                  <a:cubicBezTo>
                    <a:pt x="599" y="6701"/>
                    <a:pt x="-1281" y="12447"/>
                    <a:pt x="1017" y="16831"/>
                  </a:cubicBezTo>
                  <a:cubicBezTo>
                    <a:pt x="3601" y="22710"/>
                    <a:pt x="8670" y="24479"/>
                    <a:pt x="13294" y="23670"/>
                  </a:cubicBezTo>
                  <a:cubicBezTo>
                    <a:pt x="18675" y="22718"/>
                    <a:pt x="23459" y="18272"/>
                    <a:pt x="23031" y="12713"/>
                  </a:cubicBezTo>
                  <a:cubicBezTo>
                    <a:pt x="23022" y="12624"/>
                    <a:pt x="23067" y="13798"/>
                    <a:pt x="22907" y="11068"/>
                  </a:cubicBezTo>
                  <a:cubicBezTo>
                    <a:pt x="22666" y="6986"/>
                    <a:pt x="19895" y="3171"/>
                    <a:pt x="16234" y="1267"/>
                  </a:cubicBezTo>
                  <a:cubicBezTo>
                    <a:pt x="12448" y="-707"/>
                    <a:pt x="7699" y="-627"/>
                    <a:pt x="3824" y="3322"/>
                  </a:cubicBezTo>
                  <a:lnTo>
                    <a:pt x="3824" y="3322"/>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39" name="Freeform: Shape 38">
              <a:extLst>
                <a:ext uri="{FF2B5EF4-FFF2-40B4-BE49-F238E27FC236}">
                  <a16:creationId xmlns:a16="http://schemas.microsoft.com/office/drawing/2014/main" id="{865C8B40-367E-C2CA-4755-5A3F35E3153F}"/>
                </a:ext>
              </a:extLst>
            </p:cNvPr>
            <p:cNvSpPr/>
            <p:nvPr/>
          </p:nvSpPr>
          <p:spPr>
            <a:xfrm>
              <a:off x="6205538" y="3334894"/>
              <a:ext cx="40335" cy="55585"/>
            </a:xfrm>
            <a:custGeom>
              <a:avLst/>
              <a:gdLst>
                <a:gd name="connsiteX0" fmla="*/ 40190 w 40335"/>
                <a:gd name="connsiteY0" fmla="*/ 6420 h 55585"/>
                <a:gd name="connsiteX1" fmla="*/ 14888 w 40335"/>
                <a:gd name="connsiteY1" fmla="*/ 9124 h 55585"/>
                <a:gd name="connsiteX2" fmla="*/ 403 w 40335"/>
                <a:gd name="connsiteY2" fmla="*/ 42101 h 55585"/>
                <a:gd name="connsiteX3" fmla="*/ 24225 w 40335"/>
                <a:gd name="connsiteY3" fmla="*/ 52995 h 55585"/>
                <a:gd name="connsiteX4" fmla="*/ 31771 w 40335"/>
                <a:gd name="connsiteY4" fmla="*/ 34932 h 55585"/>
                <a:gd name="connsiteX5" fmla="*/ 32804 w 40335"/>
                <a:gd name="connsiteY5" fmla="*/ 13713 h 55585"/>
                <a:gd name="connsiteX6" fmla="*/ 31307 w 40335"/>
                <a:gd name="connsiteY6" fmla="*/ 12041 h 55585"/>
                <a:gd name="connsiteX7" fmla="*/ 37668 w 40335"/>
                <a:gd name="connsiteY7" fmla="*/ 10858 h 55585"/>
                <a:gd name="connsiteX8" fmla="*/ 40190 w 40335"/>
                <a:gd name="connsiteY8" fmla="*/ 6420 h 55585"/>
                <a:gd name="connsiteX9" fmla="*/ 16394 w 40335"/>
                <a:gd name="connsiteY9" fmla="*/ 41434 h 55585"/>
                <a:gd name="connsiteX10" fmla="*/ 13997 w 40335"/>
                <a:gd name="connsiteY10" fmla="*/ 35030 h 55585"/>
                <a:gd name="connsiteX11" fmla="*/ 19467 w 40335"/>
                <a:gd name="connsiteY11" fmla="*/ 23371 h 55585"/>
                <a:gd name="connsiteX12" fmla="*/ 18202 w 40335"/>
                <a:gd name="connsiteY12" fmla="*/ 31188 h 55585"/>
                <a:gd name="connsiteX13" fmla="*/ 16394 w 40335"/>
                <a:gd name="connsiteY13" fmla="*/ 41434 h 5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55585">
                  <a:moveTo>
                    <a:pt x="40190" y="6420"/>
                  </a:moveTo>
                  <a:cubicBezTo>
                    <a:pt x="36234" y="-6511"/>
                    <a:pt x="20519" y="3103"/>
                    <a:pt x="14888" y="9124"/>
                  </a:cubicBezTo>
                  <a:cubicBezTo>
                    <a:pt x="7102" y="17439"/>
                    <a:pt x="-2038" y="30005"/>
                    <a:pt x="403" y="42101"/>
                  </a:cubicBezTo>
                  <a:cubicBezTo>
                    <a:pt x="2452" y="52284"/>
                    <a:pt x="15040" y="59754"/>
                    <a:pt x="24225" y="52995"/>
                  </a:cubicBezTo>
                  <a:cubicBezTo>
                    <a:pt x="29953" y="48780"/>
                    <a:pt x="30577" y="41398"/>
                    <a:pt x="31771" y="34932"/>
                  </a:cubicBezTo>
                  <a:cubicBezTo>
                    <a:pt x="33071" y="27907"/>
                    <a:pt x="36056" y="20392"/>
                    <a:pt x="32804" y="13713"/>
                  </a:cubicBezTo>
                  <a:cubicBezTo>
                    <a:pt x="32448" y="12974"/>
                    <a:pt x="31904" y="12459"/>
                    <a:pt x="31307" y="12041"/>
                  </a:cubicBezTo>
                  <a:cubicBezTo>
                    <a:pt x="33401" y="11569"/>
                    <a:pt x="35637" y="11525"/>
                    <a:pt x="37668" y="10858"/>
                  </a:cubicBezTo>
                  <a:cubicBezTo>
                    <a:pt x="39477" y="10271"/>
                    <a:pt x="40786" y="8368"/>
                    <a:pt x="40190" y="6420"/>
                  </a:cubicBezTo>
                  <a:close/>
                  <a:moveTo>
                    <a:pt x="16394" y="41434"/>
                  </a:moveTo>
                  <a:cubicBezTo>
                    <a:pt x="13686" y="42981"/>
                    <a:pt x="13926" y="35404"/>
                    <a:pt x="13997" y="35030"/>
                  </a:cubicBezTo>
                  <a:cubicBezTo>
                    <a:pt x="14790" y="31019"/>
                    <a:pt x="16991" y="26991"/>
                    <a:pt x="19467" y="23371"/>
                  </a:cubicBezTo>
                  <a:cubicBezTo>
                    <a:pt x="19004" y="26030"/>
                    <a:pt x="18666" y="28725"/>
                    <a:pt x="18202" y="31188"/>
                  </a:cubicBezTo>
                  <a:cubicBezTo>
                    <a:pt x="18042" y="31971"/>
                    <a:pt x="17196" y="40980"/>
                    <a:pt x="16394" y="41434"/>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grpSp>
      <p:sp>
        <p:nvSpPr>
          <p:cNvPr id="40" name="TextBox 39">
            <a:extLst>
              <a:ext uri="{FF2B5EF4-FFF2-40B4-BE49-F238E27FC236}">
                <a16:creationId xmlns:a16="http://schemas.microsoft.com/office/drawing/2014/main" id="{8992DE1B-F7FF-E479-8B71-F362F33243D9}"/>
              </a:ext>
            </a:extLst>
          </p:cNvPr>
          <p:cNvSpPr txBox="1"/>
          <p:nvPr/>
        </p:nvSpPr>
        <p:spPr>
          <a:xfrm>
            <a:off x="3447863" y="8031480"/>
            <a:ext cx="8092440" cy="5078313"/>
          </a:xfrm>
          <a:prstGeom prst="rect">
            <a:avLst/>
          </a:prstGeom>
          <a:noFill/>
        </p:spPr>
        <p:txBody>
          <a:bodyPr wrap="square" rtlCol="0">
            <a:spAutoFit/>
          </a:bodyPr>
          <a:lstStyle/>
          <a:p>
            <a:r>
              <a:rPr lang="en-US" dirty="0">
                <a:solidFill>
                  <a:schemeClr val="bg1"/>
                </a:solidFill>
              </a:rPr>
              <a:t>Sadeghi, D. </a:t>
            </a:r>
            <a:r>
              <a:rPr lang="en-US" i="1" dirty="0">
                <a:solidFill>
                  <a:schemeClr val="bg1"/>
                </a:solidFill>
              </a:rPr>
              <a:t>et al.</a:t>
            </a:r>
            <a:r>
              <a:rPr lang="en-US" dirty="0">
                <a:solidFill>
                  <a:schemeClr val="bg1"/>
                </a:solidFill>
              </a:rPr>
              <a:t> (no date) “Automatic Diagnosis of Schizophrenia in EEG Signals Using CNN-LSTM Models Afshin </a:t>
            </a:r>
            <a:r>
              <a:rPr lang="en-US" dirty="0" err="1">
                <a:solidFill>
                  <a:schemeClr val="bg1"/>
                </a:solidFill>
              </a:rPr>
              <a:t>Shoeibi</a:t>
            </a:r>
            <a:r>
              <a:rPr lang="en-US" dirty="0">
                <a:solidFill>
                  <a:schemeClr val="bg1"/>
                </a:solidFill>
              </a:rPr>
              <a:t>.”</a:t>
            </a:r>
          </a:p>
          <a:p>
            <a:endParaRPr lang="en-US" dirty="0">
              <a:solidFill>
                <a:schemeClr val="bg1"/>
              </a:solidFill>
            </a:endParaRPr>
          </a:p>
          <a:p>
            <a:r>
              <a:rPr lang="en-US" dirty="0">
                <a:solidFill>
                  <a:schemeClr val="bg1"/>
                </a:solidFill>
              </a:rPr>
              <a:t>Shafiei, A. (2021) “Prediction modelling using logistic regression and constrained confidence partitioning: remission in real-world samples of patients living with schizophrenia,” *Journal of Psychiatric Research* [Preprint].</a:t>
            </a:r>
          </a:p>
          <a:p>
            <a:endParaRPr lang="en-US" dirty="0">
              <a:solidFill>
                <a:schemeClr val="bg1"/>
              </a:solidFill>
            </a:endParaRPr>
          </a:p>
          <a:p>
            <a:r>
              <a:rPr lang="en-US" dirty="0">
                <a:solidFill>
                  <a:schemeClr val="bg1"/>
                </a:solidFill>
              </a:rPr>
              <a:t>Bracher-Smith, M. </a:t>
            </a:r>
            <a:r>
              <a:rPr lang="en-US" i="1" dirty="0">
                <a:solidFill>
                  <a:schemeClr val="bg1"/>
                </a:solidFill>
              </a:rPr>
              <a:t>et al.</a:t>
            </a:r>
            <a:r>
              <a:rPr lang="en-US" dirty="0">
                <a:solidFill>
                  <a:schemeClr val="bg1"/>
                </a:solidFill>
              </a:rPr>
              <a:t> (2022) “Machine learning for prediction of schizophrenia using genetic and demographic factors in the UK biobank,” *Schizophrenia research*, 246, pp. 156–164. Available at: </a:t>
            </a:r>
            <a:r>
              <a:rPr lang="en-US" dirty="0">
                <a:solidFill>
                  <a:schemeClr val="bg1"/>
                </a:solidFill>
                <a:hlinkClick r:id="rId4"/>
              </a:rPr>
              <a:t>https://doi.org/10.1016/j.schres.2022.06.006</a:t>
            </a:r>
            <a:r>
              <a:rPr lang="en-US" dirty="0">
                <a:solidFill>
                  <a:schemeClr val="bg1"/>
                </a:solidFill>
              </a:rPr>
              <a:t>.</a:t>
            </a:r>
          </a:p>
          <a:p>
            <a:endParaRPr lang="en-US" dirty="0">
              <a:solidFill>
                <a:schemeClr val="bg1"/>
              </a:solidFill>
            </a:endParaRPr>
          </a:p>
          <a:p>
            <a:r>
              <a:rPr lang="en-US" dirty="0" err="1">
                <a:solidFill>
                  <a:schemeClr val="bg1"/>
                </a:solidFill>
              </a:rPr>
              <a:t>Vellido</a:t>
            </a:r>
            <a:r>
              <a:rPr lang="en-US" dirty="0">
                <a:solidFill>
                  <a:schemeClr val="bg1"/>
                </a:solidFill>
              </a:rPr>
              <a:t>, A., Martín-Guerrero, J. D., &amp; Lisboa, P. J. (2019). Making machine learning models interpretable for clinical psychiatry. Computer Methods and Programs in Biomedicine, 180, 105020. </a:t>
            </a:r>
            <a:r>
              <a:rPr lang="en-US" dirty="0">
                <a:solidFill>
                  <a:schemeClr val="bg1"/>
                </a:solidFill>
                <a:hlinkClick r:id="rId5"/>
              </a:rPr>
              <a:t>https://doi.org/10.1016/j.cmpb.2019.105020</a:t>
            </a:r>
            <a:endParaRPr lang="en-US" dirty="0">
              <a:solidFill>
                <a:schemeClr val="bg1"/>
              </a:solidFill>
            </a:endParaRPr>
          </a:p>
          <a:p>
            <a:endParaRPr lang="en-US" dirty="0">
              <a:solidFill>
                <a:schemeClr val="bg1"/>
              </a:solidFill>
            </a:endParaRPr>
          </a:p>
          <a:p>
            <a:r>
              <a:rPr lang="en-US" dirty="0">
                <a:solidFill>
                  <a:schemeClr val="bg1"/>
                </a:solidFill>
              </a:rPr>
              <a:t>Sharma, P., Chaudhary, H., &amp; Bansal, D. (2021). Predictive modeling in schizophrenia using linear regression: Toward interpretable clinical tools. Journal of Psychiatric Research, 139, 269–278. https://doi.org/10.1016/j.jpsychires.2021.05.036 </a:t>
            </a:r>
          </a:p>
        </p:txBody>
      </p:sp>
    </p:spTree>
    <p:extLst>
      <p:ext uri="{BB962C8B-B14F-4D97-AF65-F5344CB8AC3E}">
        <p14:creationId xmlns:p14="http://schemas.microsoft.com/office/powerpoint/2010/main" val="4034632735"/>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14081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D470096-ACD7-1592-119D-C102855C1D6D}"/>
              </a:ext>
            </a:extLst>
          </p:cNvPr>
          <p:cNvSpPr txBox="1"/>
          <p:nvPr/>
        </p:nvSpPr>
        <p:spPr>
          <a:xfrm>
            <a:off x="1288376" y="2198663"/>
            <a:ext cx="9637254" cy="2460674"/>
          </a:xfrm>
          <a:prstGeom prst="rect">
            <a:avLst/>
          </a:prstGeom>
          <a:noFill/>
        </p:spPr>
        <p:txBody>
          <a:bodyPr wrap="non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9500" kern="0" dirty="0">
                <a:solidFill>
                  <a:prstClr val="white"/>
                </a:solidFill>
                <a:latin typeface="Darker Grotesque" pitchFamily="2" charset="0"/>
              </a:rPr>
              <a:t>Overview</a:t>
            </a:r>
            <a:endParaRPr kumimoji="0" lang="en-US" sz="19500" b="0" i="0" u="none" strike="noStrike" kern="0" cap="none" spc="0" normalizeH="0" baseline="0" noProof="0" dirty="0">
              <a:ln>
                <a:noFill/>
              </a:ln>
              <a:solidFill>
                <a:prstClr val="white"/>
              </a:solidFill>
              <a:effectLst/>
              <a:uLnTx/>
              <a:uFillTx/>
              <a:latin typeface="Darker Grotesque" pitchFamily="2" charset="0"/>
            </a:endParaRPr>
          </a:p>
        </p:txBody>
      </p:sp>
      <p:grpSp>
        <p:nvGrpSpPr>
          <p:cNvPr id="48" name="Group 47">
            <a:extLst>
              <a:ext uri="{FF2B5EF4-FFF2-40B4-BE49-F238E27FC236}">
                <a16:creationId xmlns:a16="http://schemas.microsoft.com/office/drawing/2014/main" id="{0EBF7B49-0ED2-82F1-3A73-A4E3E0F5315B}"/>
              </a:ext>
            </a:extLst>
          </p:cNvPr>
          <p:cNvGrpSpPr/>
          <p:nvPr/>
        </p:nvGrpSpPr>
        <p:grpSpPr>
          <a:xfrm>
            <a:off x="273788" y="7359496"/>
            <a:ext cx="11644423" cy="507586"/>
            <a:chOff x="299484" y="407551"/>
            <a:chExt cx="11644423" cy="507586"/>
          </a:xfrm>
        </p:grpSpPr>
        <p:cxnSp>
          <p:nvCxnSpPr>
            <p:cNvPr id="50" name="Straight Connector 49">
              <a:extLst>
                <a:ext uri="{FF2B5EF4-FFF2-40B4-BE49-F238E27FC236}">
                  <a16:creationId xmlns:a16="http://schemas.microsoft.com/office/drawing/2014/main" id="{55583845-E54B-8245-3BFE-BC13163DFB3C}"/>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1" name="Group 50">
              <a:extLst>
                <a:ext uri="{FF2B5EF4-FFF2-40B4-BE49-F238E27FC236}">
                  <a16:creationId xmlns:a16="http://schemas.microsoft.com/office/drawing/2014/main" id="{2ADABBE2-CE58-5E33-1903-9F48F3BAA2FA}"/>
                </a:ext>
              </a:extLst>
            </p:cNvPr>
            <p:cNvGrpSpPr/>
            <p:nvPr/>
          </p:nvGrpSpPr>
          <p:grpSpPr>
            <a:xfrm>
              <a:off x="5842207" y="407551"/>
              <a:ext cx="507586" cy="507586"/>
              <a:chOff x="1985951" y="1841307"/>
              <a:chExt cx="507586" cy="507586"/>
            </a:xfrm>
          </p:grpSpPr>
          <p:sp useBgFill="1">
            <p:nvSpPr>
              <p:cNvPr id="52" name="Oval 51">
                <a:extLst>
                  <a:ext uri="{FF2B5EF4-FFF2-40B4-BE49-F238E27FC236}">
                    <a16:creationId xmlns:a16="http://schemas.microsoft.com/office/drawing/2014/main" id="{DF6088FC-BB11-88AF-8CF9-3578869583F0}"/>
                  </a:ext>
                </a:extLst>
              </p:cNvPr>
              <p:cNvSpPr/>
              <p:nvPr/>
            </p:nvSpPr>
            <p:spPr>
              <a:xfrm>
                <a:off x="1985951" y="184130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3" name="Graphic 52">
                <a:extLst>
                  <a:ext uri="{FF2B5EF4-FFF2-40B4-BE49-F238E27FC236}">
                    <a16:creationId xmlns:a16="http://schemas.microsoft.com/office/drawing/2014/main" id="{D1E0C2A4-8AF6-8719-9EFD-913BD9218B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11728" y="1967084"/>
                <a:ext cx="256032" cy="256032"/>
              </a:xfrm>
              <a:prstGeom prst="rect">
                <a:avLst/>
              </a:prstGeom>
            </p:spPr>
          </p:pic>
        </p:grpSp>
      </p:grpSp>
      <p:grpSp>
        <p:nvGrpSpPr>
          <p:cNvPr id="55" name="Group 54">
            <a:extLst>
              <a:ext uri="{FF2B5EF4-FFF2-40B4-BE49-F238E27FC236}">
                <a16:creationId xmlns:a16="http://schemas.microsoft.com/office/drawing/2014/main" id="{6845102A-13CA-CFBD-B0C0-D0822F6B068F}"/>
              </a:ext>
            </a:extLst>
          </p:cNvPr>
          <p:cNvGrpSpPr/>
          <p:nvPr/>
        </p:nvGrpSpPr>
        <p:grpSpPr>
          <a:xfrm>
            <a:off x="378036" y="7953139"/>
            <a:ext cx="11540175" cy="5228203"/>
            <a:chOff x="299484" y="831805"/>
            <a:chExt cx="11540175" cy="5228203"/>
          </a:xfrm>
        </p:grpSpPr>
        <p:sp>
          <p:nvSpPr>
            <p:cNvPr id="56" name="TextBox 55">
              <a:extLst>
                <a:ext uri="{FF2B5EF4-FFF2-40B4-BE49-F238E27FC236}">
                  <a16:creationId xmlns:a16="http://schemas.microsoft.com/office/drawing/2014/main" id="{896B61CA-FB0E-25B4-D35D-79C14B041198}"/>
                </a:ext>
              </a:extLst>
            </p:cNvPr>
            <p:cNvSpPr txBox="1"/>
            <p:nvPr/>
          </p:nvSpPr>
          <p:spPr>
            <a:xfrm>
              <a:off x="3558027" y="3146584"/>
              <a:ext cx="5331977" cy="93807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4800" dirty="0">
                  <a:effectLst>
                    <a:glow rad="139700">
                      <a:schemeClr val="accent6">
                        <a:satMod val="175000"/>
                        <a:alpha val="40000"/>
                      </a:schemeClr>
                    </a:glow>
                  </a:effectLst>
                </a:rPr>
                <a:t>Problem Statement &amp; Background</a:t>
              </a:r>
            </a:p>
          </p:txBody>
        </p:sp>
        <p:grpSp>
          <p:nvGrpSpPr>
            <p:cNvPr id="57" name="Group 56">
              <a:extLst>
                <a:ext uri="{FF2B5EF4-FFF2-40B4-BE49-F238E27FC236}">
                  <a16:creationId xmlns:a16="http://schemas.microsoft.com/office/drawing/2014/main" id="{706C2F0D-0FBF-1A5B-0A2E-B927E282B448}"/>
                </a:ext>
              </a:extLst>
            </p:cNvPr>
            <p:cNvGrpSpPr/>
            <p:nvPr/>
          </p:nvGrpSpPr>
          <p:grpSpPr>
            <a:xfrm>
              <a:off x="359444" y="909836"/>
              <a:ext cx="3733402" cy="1920950"/>
              <a:chOff x="359444" y="909836"/>
              <a:chExt cx="3733402" cy="1920950"/>
            </a:xfrm>
          </p:grpSpPr>
          <p:sp>
            <p:nvSpPr>
              <p:cNvPr id="67" name="Rectangle: Rounded Corners 66">
                <a:extLst>
                  <a:ext uri="{FF2B5EF4-FFF2-40B4-BE49-F238E27FC236}">
                    <a16:creationId xmlns:a16="http://schemas.microsoft.com/office/drawing/2014/main" id="{71B61B76-CC2F-3C03-2114-ADC0103EC456}"/>
                  </a:ext>
                </a:extLst>
              </p:cNvPr>
              <p:cNvSpPr/>
              <p:nvPr/>
            </p:nvSpPr>
            <p:spPr>
              <a:xfrm>
                <a:off x="359444" y="909836"/>
                <a:ext cx="3733402" cy="1920950"/>
              </a:xfrm>
              <a:prstGeom prst="roundRect">
                <a:avLst>
                  <a:gd name="adj" fmla="val 12077"/>
                </a:avLst>
              </a:prstGeom>
              <a:solidFill>
                <a:schemeClr val="bg1">
                  <a:alpha val="70000"/>
                </a:schemeClr>
              </a:solidFill>
              <a:ln w="6350">
                <a:solidFill>
                  <a:schemeClr val="bg1"/>
                </a:solidFill>
              </a:ln>
              <a:effectLst>
                <a:outerShdw blurRad="1270000" dir="2760000" sx="91000" sy="91000" algn="ctr" rotWithShape="0">
                  <a:schemeClr val="bg1"/>
                </a:outerShdw>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68" name="TextBox 67">
                <a:extLst>
                  <a:ext uri="{FF2B5EF4-FFF2-40B4-BE49-F238E27FC236}">
                    <a16:creationId xmlns:a16="http://schemas.microsoft.com/office/drawing/2014/main" id="{27F1F656-FD9D-2A2F-B27C-A2ADE5FA2BFB}"/>
                  </a:ext>
                </a:extLst>
              </p:cNvPr>
              <p:cNvSpPr txBox="1"/>
              <p:nvPr/>
            </p:nvSpPr>
            <p:spPr>
              <a:xfrm>
                <a:off x="543549" y="1567368"/>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chemeClr val="accent6">
                        <a:lumMod val="75000"/>
                      </a:schemeClr>
                    </a:solidFill>
                    <a:effectLst/>
                  </a:rPr>
                  <a:t>24M+ people affected globally (WHO)</a:t>
                </a:r>
                <a:endParaRPr lang="en-US" sz="2000" dirty="0">
                  <a:solidFill>
                    <a:schemeClr val="accent6">
                      <a:lumMod val="75000"/>
                    </a:schemeClr>
                  </a:solidFill>
                </a:endParaRPr>
              </a:p>
            </p:txBody>
          </p:sp>
        </p:grpSp>
        <p:grpSp>
          <p:nvGrpSpPr>
            <p:cNvPr id="58" name="Group 57">
              <a:extLst>
                <a:ext uri="{FF2B5EF4-FFF2-40B4-BE49-F238E27FC236}">
                  <a16:creationId xmlns:a16="http://schemas.microsoft.com/office/drawing/2014/main" id="{4CB8E379-AFE3-251D-5A35-78DB4BF64C97}"/>
                </a:ext>
              </a:extLst>
            </p:cNvPr>
            <p:cNvGrpSpPr/>
            <p:nvPr/>
          </p:nvGrpSpPr>
          <p:grpSpPr>
            <a:xfrm>
              <a:off x="8106257" y="831805"/>
              <a:ext cx="3733402" cy="1920950"/>
              <a:chOff x="244780" y="755436"/>
              <a:chExt cx="3733402" cy="1920950"/>
            </a:xfrm>
          </p:grpSpPr>
          <p:sp>
            <p:nvSpPr>
              <p:cNvPr id="65" name="Rectangle: Rounded Corners 64">
                <a:extLst>
                  <a:ext uri="{FF2B5EF4-FFF2-40B4-BE49-F238E27FC236}">
                    <a16:creationId xmlns:a16="http://schemas.microsoft.com/office/drawing/2014/main" id="{0B82C8DB-4398-06DC-F21F-56FF0B9EDD36}"/>
                  </a:ext>
                </a:extLst>
              </p:cNvPr>
              <p:cNvSpPr/>
              <p:nvPr/>
            </p:nvSpPr>
            <p:spPr>
              <a:xfrm>
                <a:off x="244780" y="755436"/>
                <a:ext cx="3733402" cy="1920950"/>
              </a:xfrm>
              <a:prstGeom prst="roundRect">
                <a:avLst>
                  <a:gd name="adj" fmla="val 12077"/>
                </a:avLst>
              </a:prstGeom>
              <a:solidFill>
                <a:schemeClr val="bg1">
                  <a:alpha val="70000"/>
                </a:schemeClr>
              </a:solidFill>
              <a:ln w="6350" cap="rnd">
                <a:solidFill>
                  <a:schemeClr val="bg1">
                    <a:alpha val="30000"/>
                  </a:schemeClr>
                </a:solidFill>
                <a:round/>
              </a:ln>
              <a:effectLst>
                <a:outerShdw blurRad="1270000" dist="139700" dir="5880000" sx="107000" sy="107000" algn="ctr" rotWithShape="0">
                  <a:srgbClr val="FFFFFF"/>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66" name="TextBox 65">
                <a:extLst>
                  <a:ext uri="{FF2B5EF4-FFF2-40B4-BE49-F238E27FC236}">
                    <a16:creationId xmlns:a16="http://schemas.microsoft.com/office/drawing/2014/main" id="{7CB74285-A121-F532-93A9-07A8CEFF8670}"/>
                  </a:ext>
                </a:extLst>
              </p:cNvPr>
              <p:cNvSpPr txBox="1"/>
              <p:nvPr/>
            </p:nvSpPr>
            <p:spPr>
              <a:xfrm>
                <a:off x="428885" y="1413321"/>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chemeClr val="accent6">
                        <a:lumMod val="75000"/>
                      </a:schemeClr>
                    </a:solidFill>
                  </a:rPr>
                  <a:t>Diagnosis often occurs late which can worsen outcomes</a:t>
                </a:r>
              </a:p>
            </p:txBody>
          </p:sp>
        </p:grpSp>
        <p:grpSp>
          <p:nvGrpSpPr>
            <p:cNvPr id="59" name="Group 58">
              <a:extLst>
                <a:ext uri="{FF2B5EF4-FFF2-40B4-BE49-F238E27FC236}">
                  <a16:creationId xmlns:a16="http://schemas.microsoft.com/office/drawing/2014/main" id="{2C0381C6-E989-3577-8028-56FD37F7F264}"/>
                </a:ext>
              </a:extLst>
            </p:cNvPr>
            <p:cNvGrpSpPr/>
            <p:nvPr/>
          </p:nvGrpSpPr>
          <p:grpSpPr>
            <a:xfrm>
              <a:off x="299484" y="4139058"/>
              <a:ext cx="3733402" cy="1920950"/>
              <a:chOff x="349031" y="1917633"/>
              <a:chExt cx="3733402" cy="1920950"/>
            </a:xfrm>
          </p:grpSpPr>
          <p:sp>
            <p:nvSpPr>
              <p:cNvPr id="63" name="Rectangle: Rounded Corners 62">
                <a:extLst>
                  <a:ext uri="{FF2B5EF4-FFF2-40B4-BE49-F238E27FC236}">
                    <a16:creationId xmlns:a16="http://schemas.microsoft.com/office/drawing/2014/main" id="{708A2461-46AA-84A2-4591-F4B49BBD5F84}"/>
                  </a:ext>
                </a:extLst>
              </p:cNvPr>
              <p:cNvSpPr/>
              <p:nvPr/>
            </p:nvSpPr>
            <p:spPr>
              <a:xfrm>
                <a:off x="349031" y="1917633"/>
                <a:ext cx="3733402" cy="1920950"/>
              </a:xfrm>
              <a:prstGeom prst="roundRect">
                <a:avLst>
                  <a:gd name="adj" fmla="val 12077"/>
                </a:avLst>
              </a:prstGeom>
              <a:solidFill>
                <a:schemeClr val="bg1">
                  <a:alpha val="70000"/>
                </a:schemeClr>
              </a:solidFill>
              <a:ln w="6350" cap="rnd">
                <a:solidFill>
                  <a:schemeClr val="bg1">
                    <a:alpha val="30000"/>
                  </a:schemeClr>
                </a:solidFill>
                <a:round/>
              </a:ln>
              <a:effectLst>
                <a:outerShdw blurRad="1270000" dir="5640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64" name="TextBox 63">
                <a:extLst>
                  <a:ext uri="{FF2B5EF4-FFF2-40B4-BE49-F238E27FC236}">
                    <a16:creationId xmlns:a16="http://schemas.microsoft.com/office/drawing/2014/main" id="{B744CE1C-EFEB-5404-2772-822E747CC9BE}"/>
                  </a:ext>
                </a:extLst>
              </p:cNvPr>
              <p:cNvSpPr txBox="1"/>
              <p:nvPr/>
            </p:nvSpPr>
            <p:spPr>
              <a:xfrm>
                <a:off x="569444" y="2515935"/>
                <a:ext cx="3365192" cy="615553"/>
              </a:xfrm>
              <a:prstGeom prst="rect">
                <a:avLst/>
              </a:prstGeom>
              <a:noFill/>
              <a:effectLst>
                <a:outerShdw blurRad="50800" dist="50800" dir="5400000" sx="121000" sy="121000" algn="ctr" rotWithShape="0">
                  <a:schemeClr val="bg1"/>
                </a:outerShdw>
              </a:effectLst>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chemeClr val="accent6">
                        <a:lumMod val="75000"/>
                      </a:schemeClr>
                    </a:solidFill>
                    <a:effectLst/>
                  </a:rPr>
                  <a:t>Early symptoms are vague causing difficult detection</a:t>
                </a:r>
                <a:endParaRPr lang="en-US" sz="2000" dirty="0">
                  <a:solidFill>
                    <a:schemeClr val="accent6">
                      <a:lumMod val="75000"/>
                    </a:schemeClr>
                  </a:solidFill>
                </a:endParaRPr>
              </a:p>
            </p:txBody>
          </p:sp>
        </p:grpSp>
        <p:grpSp>
          <p:nvGrpSpPr>
            <p:cNvPr id="60" name="Group 59">
              <a:extLst>
                <a:ext uri="{FF2B5EF4-FFF2-40B4-BE49-F238E27FC236}">
                  <a16:creationId xmlns:a16="http://schemas.microsoft.com/office/drawing/2014/main" id="{7BE1D5DE-7E0A-77F1-674E-C05633B66817}"/>
                </a:ext>
              </a:extLst>
            </p:cNvPr>
            <p:cNvGrpSpPr/>
            <p:nvPr/>
          </p:nvGrpSpPr>
          <p:grpSpPr>
            <a:xfrm>
              <a:off x="8099156" y="4139058"/>
              <a:ext cx="3733402" cy="1920950"/>
              <a:chOff x="237679" y="1917633"/>
              <a:chExt cx="3733402" cy="1920950"/>
            </a:xfrm>
          </p:grpSpPr>
          <p:sp>
            <p:nvSpPr>
              <p:cNvPr id="61" name="Rectangle: Rounded Corners 60">
                <a:extLst>
                  <a:ext uri="{FF2B5EF4-FFF2-40B4-BE49-F238E27FC236}">
                    <a16:creationId xmlns:a16="http://schemas.microsoft.com/office/drawing/2014/main" id="{7C195DD2-0263-A47E-C638-3622A00A3116}"/>
                  </a:ext>
                </a:extLst>
              </p:cNvPr>
              <p:cNvSpPr/>
              <p:nvPr/>
            </p:nvSpPr>
            <p:spPr>
              <a:xfrm>
                <a:off x="237679" y="1917633"/>
                <a:ext cx="3733402" cy="1920950"/>
              </a:xfrm>
              <a:prstGeom prst="roundRect">
                <a:avLst>
                  <a:gd name="adj" fmla="val 12077"/>
                </a:avLst>
              </a:prstGeom>
              <a:solidFill>
                <a:schemeClr val="bg1">
                  <a:alpha val="70000"/>
                </a:schemeClr>
              </a:solidFill>
              <a:ln w="6350" cap="rnd">
                <a:solidFill>
                  <a:schemeClr val="bg1">
                    <a:alpha val="30000"/>
                  </a:schemeClr>
                </a:solidFill>
                <a:round/>
              </a:ln>
              <a:effectLst>
                <a:outerShdw blurRad="1270000" dir="20340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62" name="TextBox 61">
                <a:extLst>
                  <a:ext uri="{FF2B5EF4-FFF2-40B4-BE49-F238E27FC236}">
                    <a16:creationId xmlns:a16="http://schemas.microsoft.com/office/drawing/2014/main" id="{2ABA609A-0803-96D5-CBEF-A13265147471}"/>
                  </a:ext>
                </a:extLst>
              </p:cNvPr>
              <p:cNvSpPr txBox="1"/>
              <p:nvPr/>
            </p:nvSpPr>
            <p:spPr>
              <a:xfrm>
                <a:off x="445434" y="2570331"/>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chemeClr val="accent6">
                        <a:lumMod val="75000"/>
                      </a:schemeClr>
                    </a:solidFill>
                  </a:rPr>
                  <a:t>Traditional methods lack predictive accuracy</a:t>
                </a:r>
              </a:p>
            </p:txBody>
          </p:sp>
        </p:grpSp>
      </p:grpSp>
    </p:spTree>
    <p:custDataLst>
      <p:tags r:id="rId1"/>
    </p:custDataLst>
    <p:extLst>
      <p:ext uri="{BB962C8B-B14F-4D97-AF65-F5344CB8AC3E}">
        <p14:creationId xmlns:p14="http://schemas.microsoft.com/office/powerpoint/2010/main" val="978745888"/>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FB639-1112-1ED9-1906-8EA464A9003B}"/>
              </a:ext>
            </a:extLst>
          </p:cNvPr>
          <p:cNvSpPr txBox="1"/>
          <p:nvPr/>
        </p:nvSpPr>
        <p:spPr>
          <a:xfrm>
            <a:off x="299484" y="407551"/>
            <a:ext cx="1046761"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ferences</a:t>
            </a:r>
          </a:p>
        </p:txBody>
      </p:sp>
      <p:grpSp>
        <p:nvGrpSpPr>
          <p:cNvPr id="6" name="Group 5">
            <a:extLst>
              <a:ext uri="{FF2B5EF4-FFF2-40B4-BE49-F238E27FC236}">
                <a16:creationId xmlns:a16="http://schemas.microsoft.com/office/drawing/2014/main" id="{342A39F6-2958-5B11-7423-627835FECF35}"/>
              </a:ext>
            </a:extLst>
          </p:cNvPr>
          <p:cNvGrpSpPr/>
          <p:nvPr/>
        </p:nvGrpSpPr>
        <p:grpSpPr>
          <a:xfrm>
            <a:off x="299484" y="407551"/>
            <a:ext cx="11644423" cy="507586"/>
            <a:chOff x="299484" y="407551"/>
            <a:chExt cx="11644423" cy="507586"/>
          </a:xfrm>
        </p:grpSpPr>
        <p:cxnSp>
          <p:nvCxnSpPr>
            <p:cNvPr id="10" name="Straight Connector 9">
              <a:extLst>
                <a:ext uri="{FF2B5EF4-FFF2-40B4-BE49-F238E27FC236}">
                  <a16:creationId xmlns:a16="http://schemas.microsoft.com/office/drawing/2014/main" id="{28524FAE-90ED-B32B-21F7-676C0CDD01F7}"/>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3" name="Group 2">
              <a:extLst>
                <a:ext uri="{FF2B5EF4-FFF2-40B4-BE49-F238E27FC236}">
                  <a16:creationId xmlns:a16="http://schemas.microsoft.com/office/drawing/2014/main" id="{1A1F0A8F-000D-2C1B-5E26-B9707E9D2DC9}"/>
                </a:ext>
              </a:extLst>
            </p:cNvPr>
            <p:cNvGrpSpPr/>
            <p:nvPr/>
          </p:nvGrpSpPr>
          <p:grpSpPr>
            <a:xfrm>
              <a:off x="5867902" y="407551"/>
              <a:ext cx="507586" cy="507586"/>
              <a:chOff x="7858113" y="1596782"/>
              <a:chExt cx="507586" cy="507586"/>
            </a:xfrm>
          </p:grpSpPr>
          <p:sp useBgFill="1">
            <p:nvSpPr>
              <p:cNvPr id="4" name="Oval 3">
                <a:extLst>
                  <a:ext uri="{FF2B5EF4-FFF2-40B4-BE49-F238E27FC236}">
                    <a16:creationId xmlns:a16="http://schemas.microsoft.com/office/drawing/2014/main" id="{A0679E3B-FEB6-16B2-2381-31827A1F1D9A}"/>
                  </a:ext>
                </a:extLst>
              </p:cNvPr>
              <p:cNvSpPr/>
              <p:nvPr/>
            </p:nvSpPr>
            <p:spPr>
              <a:xfrm>
                <a:off x="7858113" y="1596782"/>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5" name="Graphic 17">
                <a:extLst>
                  <a:ext uri="{FF2B5EF4-FFF2-40B4-BE49-F238E27FC236}">
                    <a16:creationId xmlns:a16="http://schemas.microsoft.com/office/drawing/2014/main" id="{ABEE29ED-0A61-EDA4-B237-730FF1910571}"/>
                  </a:ext>
                </a:extLst>
              </p:cNvPr>
              <p:cNvSpPr/>
              <p:nvPr/>
            </p:nvSpPr>
            <p:spPr>
              <a:xfrm>
                <a:off x="8020233" y="1760715"/>
                <a:ext cx="160020" cy="208026"/>
              </a:xfrm>
              <a:custGeom>
                <a:avLst/>
                <a:gdLst>
                  <a:gd name="connsiteX0" fmla="*/ 144018 w 160020"/>
                  <a:gd name="connsiteY0" fmla="*/ 0 h 208026"/>
                  <a:gd name="connsiteX1" fmla="*/ 48006 w 160020"/>
                  <a:gd name="connsiteY1" fmla="*/ 0 h 208026"/>
                  <a:gd name="connsiteX2" fmla="*/ 32004 w 160020"/>
                  <a:gd name="connsiteY2" fmla="*/ 16002 h 208026"/>
                  <a:gd name="connsiteX3" fmla="*/ 32004 w 160020"/>
                  <a:gd name="connsiteY3" fmla="*/ 32004 h 208026"/>
                  <a:gd name="connsiteX4" fmla="*/ 16002 w 160020"/>
                  <a:gd name="connsiteY4" fmla="*/ 32004 h 208026"/>
                  <a:gd name="connsiteX5" fmla="*/ 0 w 160020"/>
                  <a:gd name="connsiteY5" fmla="*/ 48006 h 208026"/>
                  <a:gd name="connsiteX6" fmla="*/ 0 w 160020"/>
                  <a:gd name="connsiteY6" fmla="*/ 200025 h 208026"/>
                  <a:gd name="connsiteX7" fmla="*/ 8001 w 160020"/>
                  <a:gd name="connsiteY7" fmla="*/ 208026 h 208026"/>
                  <a:gd name="connsiteX8" fmla="*/ 12652 w 160020"/>
                  <a:gd name="connsiteY8" fmla="*/ 206536 h 208026"/>
                  <a:gd name="connsiteX9" fmla="*/ 64008 w 160020"/>
                  <a:gd name="connsiteY9" fmla="*/ 169851 h 208026"/>
                  <a:gd name="connsiteX10" fmla="*/ 115374 w 160020"/>
                  <a:gd name="connsiteY10" fmla="*/ 206536 h 208026"/>
                  <a:gd name="connsiteX11" fmla="*/ 126533 w 160020"/>
                  <a:gd name="connsiteY11" fmla="*/ 204659 h 208026"/>
                  <a:gd name="connsiteX12" fmla="*/ 128016 w 160020"/>
                  <a:gd name="connsiteY12" fmla="*/ 200025 h 208026"/>
                  <a:gd name="connsiteX13" fmla="*/ 128016 w 160020"/>
                  <a:gd name="connsiteY13" fmla="*/ 160710 h 208026"/>
                  <a:gd name="connsiteX14" fmla="*/ 147368 w 160020"/>
                  <a:gd name="connsiteY14" fmla="*/ 174532 h 208026"/>
                  <a:gd name="connsiteX15" fmla="*/ 158530 w 160020"/>
                  <a:gd name="connsiteY15" fmla="*/ 172672 h 208026"/>
                  <a:gd name="connsiteX16" fmla="*/ 160020 w 160020"/>
                  <a:gd name="connsiteY16" fmla="*/ 168021 h 208026"/>
                  <a:gd name="connsiteX17" fmla="*/ 160020 w 160020"/>
                  <a:gd name="connsiteY17" fmla="*/ 16002 h 208026"/>
                  <a:gd name="connsiteX18" fmla="*/ 144018 w 160020"/>
                  <a:gd name="connsiteY18" fmla="*/ 0 h 208026"/>
                  <a:gd name="connsiteX19" fmla="*/ 112014 w 160020"/>
                  <a:gd name="connsiteY19" fmla="*/ 184483 h 208026"/>
                  <a:gd name="connsiteX20" fmla="*/ 68649 w 160020"/>
                  <a:gd name="connsiteY20" fmla="*/ 153479 h 208026"/>
                  <a:gd name="connsiteX21" fmla="*/ 59347 w 160020"/>
                  <a:gd name="connsiteY21" fmla="*/ 153479 h 208026"/>
                  <a:gd name="connsiteX22" fmla="*/ 16002 w 160020"/>
                  <a:gd name="connsiteY22" fmla="*/ 184473 h 208026"/>
                  <a:gd name="connsiteX23" fmla="*/ 16002 w 160020"/>
                  <a:gd name="connsiteY23" fmla="*/ 48006 h 208026"/>
                  <a:gd name="connsiteX24" fmla="*/ 112014 w 160020"/>
                  <a:gd name="connsiteY24" fmla="*/ 48006 h 208026"/>
                  <a:gd name="connsiteX25" fmla="*/ 144018 w 160020"/>
                  <a:gd name="connsiteY25" fmla="*/ 152479 h 208026"/>
                  <a:gd name="connsiteX26" fmla="*/ 128016 w 160020"/>
                  <a:gd name="connsiteY26" fmla="*/ 141018 h 208026"/>
                  <a:gd name="connsiteX27" fmla="*/ 128016 w 160020"/>
                  <a:gd name="connsiteY27" fmla="*/ 48006 h 208026"/>
                  <a:gd name="connsiteX28" fmla="*/ 112014 w 160020"/>
                  <a:gd name="connsiteY28" fmla="*/ 32004 h 208026"/>
                  <a:gd name="connsiteX29" fmla="*/ 48006 w 160020"/>
                  <a:gd name="connsiteY29" fmla="*/ 32004 h 208026"/>
                  <a:gd name="connsiteX30" fmla="*/ 48006 w 160020"/>
                  <a:gd name="connsiteY30" fmla="*/ 16002 h 208026"/>
                  <a:gd name="connsiteX31" fmla="*/ 144018 w 160020"/>
                  <a:gd name="connsiteY31" fmla="*/ 16002 h 20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0020" h="208026">
                    <a:moveTo>
                      <a:pt x="144018" y="0"/>
                    </a:moveTo>
                    <a:lnTo>
                      <a:pt x="48006" y="0"/>
                    </a:lnTo>
                    <a:cubicBezTo>
                      <a:pt x="39168" y="0"/>
                      <a:pt x="32004" y="7164"/>
                      <a:pt x="32004" y="16002"/>
                    </a:cubicBezTo>
                    <a:lnTo>
                      <a:pt x="32004" y="32004"/>
                    </a:lnTo>
                    <a:lnTo>
                      <a:pt x="16002" y="32004"/>
                    </a:lnTo>
                    <a:cubicBezTo>
                      <a:pt x="7164" y="32004"/>
                      <a:pt x="0" y="39168"/>
                      <a:pt x="0" y="48006"/>
                    </a:cubicBezTo>
                    <a:lnTo>
                      <a:pt x="0" y="200025"/>
                    </a:lnTo>
                    <a:cubicBezTo>
                      <a:pt x="0" y="204444"/>
                      <a:pt x="3582" y="208026"/>
                      <a:pt x="8001" y="208026"/>
                    </a:cubicBezTo>
                    <a:cubicBezTo>
                      <a:pt x="9669" y="208026"/>
                      <a:pt x="11295" y="207505"/>
                      <a:pt x="12652" y="206536"/>
                    </a:cubicBezTo>
                    <a:lnTo>
                      <a:pt x="64008" y="169851"/>
                    </a:lnTo>
                    <a:lnTo>
                      <a:pt x="115374" y="206536"/>
                    </a:lnTo>
                    <a:cubicBezTo>
                      <a:pt x="118974" y="209099"/>
                      <a:pt x="123969" y="208258"/>
                      <a:pt x="126533" y="204659"/>
                    </a:cubicBezTo>
                    <a:cubicBezTo>
                      <a:pt x="127496" y="203305"/>
                      <a:pt x="128015" y="201686"/>
                      <a:pt x="128016" y="200025"/>
                    </a:cubicBezTo>
                    <a:lnTo>
                      <a:pt x="128016" y="160710"/>
                    </a:lnTo>
                    <a:lnTo>
                      <a:pt x="147368" y="174532"/>
                    </a:lnTo>
                    <a:cubicBezTo>
                      <a:pt x="150964" y="177100"/>
                      <a:pt x="155962" y="176267"/>
                      <a:pt x="158530" y="172672"/>
                    </a:cubicBezTo>
                    <a:cubicBezTo>
                      <a:pt x="159499" y="171314"/>
                      <a:pt x="160020" y="169688"/>
                      <a:pt x="160020" y="168021"/>
                    </a:cubicBezTo>
                    <a:lnTo>
                      <a:pt x="160020" y="16002"/>
                    </a:lnTo>
                    <a:cubicBezTo>
                      <a:pt x="160020" y="7164"/>
                      <a:pt x="152856" y="0"/>
                      <a:pt x="144018" y="0"/>
                    </a:cubicBezTo>
                    <a:close/>
                    <a:moveTo>
                      <a:pt x="112014" y="184483"/>
                    </a:moveTo>
                    <a:lnTo>
                      <a:pt x="68649" y="153479"/>
                    </a:lnTo>
                    <a:cubicBezTo>
                      <a:pt x="65866" y="151492"/>
                      <a:pt x="62130" y="151492"/>
                      <a:pt x="59347" y="153479"/>
                    </a:cubicBezTo>
                    <a:lnTo>
                      <a:pt x="16002" y="184473"/>
                    </a:lnTo>
                    <a:lnTo>
                      <a:pt x="16002" y="48006"/>
                    </a:lnTo>
                    <a:lnTo>
                      <a:pt x="112014" y="48006"/>
                    </a:lnTo>
                    <a:close/>
                    <a:moveTo>
                      <a:pt x="144018" y="152479"/>
                    </a:moveTo>
                    <a:lnTo>
                      <a:pt x="128016" y="141018"/>
                    </a:lnTo>
                    <a:lnTo>
                      <a:pt x="128016" y="48006"/>
                    </a:lnTo>
                    <a:cubicBezTo>
                      <a:pt x="128016" y="39168"/>
                      <a:pt x="120852" y="32004"/>
                      <a:pt x="112014" y="32004"/>
                    </a:cubicBezTo>
                    <a:lnTo>
                      <a:pt x="48006" y="32004"/>
                    </a:lnTo>
                    <a:lnTo>
                      <a:pt x="48006" y="16002"/>
                    </a:lnTo>
                    <a:lnTo>
                      <a:pt x="144018" y="16002"/>
                    </a:lnTo>
                    <a:close/>
                  </a:path>
                </a:pathLst>
              </a:custGeom>
              <a:solidFill>
                <a:schemeClr val="bg1">
                  <a:lumMod val="85000"/>
                </a:schemeClr>
              </a:solidFill>
              <a:ln w="967" cap="flat">
                <a:noFill/>
                <a:prstDash val="solid"/>
                <a:miter/>
              </a:ln>
            </p:spPr>
            <p:txBody>
              <a:bodyPr rtlCol="0" anchor="ctr"/>
              <a:lstStyle/>
              <a:p>
                <a:endParaRPr lang="en-IN"/>
              </a:p>
            </p:txBody>
          </p:sp>
        </p:grpSp>
      </p:grpSp>
      <p:grpSp>
        <p:nvGrpSpPr>
          <p:cNvPr id="120" name="Group 119">
            <a:extLst>
              <a:ext uri="{FF2B5EF4-FFF2-40B4-BE49-F238E27FC236}">
                <a16:creationId xmlns:a16="http://schemas.microsoft.com/office/drawing/2014/main" id="{5A0CD97D-2F40-F02A-CE51-F85A12DDC642}"/>
              </a:ext>
            </a:extLst>
          </p:cNvPr>
          <p:cNvGrpSpPr/>
          <p:nvPr/>
        </p:nvGrpSpPr>
        <p:grpSpPr>
          <a:xfrm>
            <a:off x="824731" y="2347614"/>
            <a:ext cx="1695279" cy="2389305"/>
            <a:chOff x="5427843" y="2850534"/>
            <a:chExt cx="1695279" cy="2389305"/>
          </a:xfrm>
        </p:grpSpPr>
        <p:sp>
          <p:nvSpPr>
            <p:cNvPr id="54" name="Rounded Rectangle 4">
              <a:extLst>
                <a:ext uri="{FF2B5EF4-FFF2-40B4-BE49-F238E27FC236}">
                  <a16:creationId xmlns:a16="http://schemas.microsoft.com/office/drawing/2014/main" id="{FD5AEF08-ED04-373B-5EA0-64F7B7EA8D6F}"/>
                </a:ext>
              </a:extLst>
            </p:cNvPr>
            <p:cNvSpPr/>
            <p:nvPr/>
          </p:nvSpPr>
          <p:spPr>
            <a:xfrm>
              <a:off x="5427843"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55" name="TextBox 54">
              <a:extLst>
                <a:ext uri="{FF2B5EF4-FFF2-40B4-BE49-F238E27FC236}">
                  <a16:creationId xmlns:a16="http://schemas.microsoft.com/office/drawing/2014/main" id="{0558D29D-FCC6-6A34-E6BB-A8A0BEBF2140}"/>
                </a:ext>
              </a:extLst>
            </p:cNvPr>
            <p:cNvSpPr txBox="1"/>
            <p:nvPr/>
          </p:nvSpPr>
          <p:spPr>
            <a:xfrm>
              <a:off x="5643903" y="4901285"/>
              <a:ext cx="934582" cy="338554"/>
            </a:xfrm>
            <a:prstGeom prst="rect">
              <a:avLst/>
            </a:prstGeom>
            <a:noFill/>
          </p:spPr>
          <p:txBody>
            <a:bodyPr wrap="square" rtlCol="0">
              <a:spAutoFit/>
            </a:bodyPr>
            <a:lstStyle/>
            <a:p>
              <a:pPr algn="ctr"/>
              <a:endParaRPr lang="en-GB" sz="1600" dirty="0">
                <a:solidFill>
                  <a:schemeClr val="bg1"/>
                </a:solidFill>
                <a:latin typeface="Darker Grotesque" pitchFamily="2" charset="0"/>
              </a:endParaRPr>
            </a:p>
          </p:txBody>
        </p:sp>
        <p:sp>
          <p:nvSpPr>
            <p:cNvPr id="58" name="Freeform: Shape 57">
              <a:extLst>
                <a:ext uri="{FF2B5EF4-FFF2-40B4-BE49-F238E27FC236}">
                  <a16:creationId xmlns:a16="http://schemas.microsoft.com/office/drawing/2014/main" id="{EA423968-72E2-02CE-4884-00928EEDEB86}"/>
                </a:ext>
              </a:extLst>
            </p:cNvPr>
            <p:cNvSpPr/>
            <p:nvPr/>
          </p:nvSpPr>
          <p:spPr>
            <a:xfrm>
              <a:off x="5560132" y="3364558"/>
              <a:ext cx="1557220" cy="1071945"/>
            </a:xfrm>
            <a:custGeom>
              <a:avLst/>
              <a:gdLst>
                <a:gd name="connsiteX0" fmla="*/ 414401 w 1557220"/>
                <a:gd name="connsiteY0" fmla="*/ 11183 h 1071945"/>
                <a:gd name="connsiteX1" fmla="*/ 424236 w 1557220"/>
                <a:gd name="connsiteY1" fmla="*/ 91224 h 1071945"/>
                <a:gd name="connsiteX2" fmla="*/ 377420 w 1557220"/>
                <a:gd name="connsiteY2" fmla="*/ 134882 h 1071945"/>
                <a:gd name="connsiteX3" fmla="*/ 366961 w 1557220"/>
                <a:gd name="connsiteY3" fmla="*/ 129901 h 1071945"/>
                <a:gd name="connsiteX4" fmla="*/ 157790 w 1557220"/>
                <a:gd name="connsiteY4" fmla="*/ 207692 h 1071945"/>
                <a:gd name="connsiteX5" fmla="*/ 77512 w 1557220"/>
                <a:gd name="connsiteY5" fmla="*/ 282175 h 1071945"/>
                <a:gd name="connsiteX6" fmla="*/ 1208 w 1557220"/>
                <a:gd name="connsiteY6" fmla="*/ 673790 h 1071945"/>
                <a:gd name="connsiteX7" fmla="*/ 29868 w 1557220"/>
                <a:gd name="connsiteY7" fmla="*/ 931478 h 1071945"/>
                <a:gd name="connsiteX8" fmla="*/ 107615 w 1557220"/>
                <a:gd name="connsiteY8" fmla="*/ 980632 h 1071945"/>
                <a:gd name="connsiteX9" fmla="*/ 116711 w 1557220"/>
                <a:gd name="connsiteY9" fmla="*/ 992247 h 1071945"/>
                <a:gd name="connsiteX10" fmla="*/ 106929 w 1557220"/>
                <a:gd name="connsiteY10" fmla="*/ 1050481 h 1071945"/>
                <a:gd name="connsiteX11" fmla="*/ 118146 w 1557220"/>
                <a:gd name="connsiteY11" fmla="*/ 1064373 h 1071945"/>
                <a:gd name="connsiteX12" fmla="*/ 542430 w 1557220"/>
                <a:gd name="connsiteY12" fmla="*/ 1066827 h 1071945"/>
                <a:gd name="connsiteX13" fmla="*/ 911756 w 1557220"/>
                <a:gd name="connsiteY13" fmla="*/ 1011892 h 1071945"/>
                <a:gd name="connsiteX14" fmla="*/ 905680 w 1557220"/>
                <a:gd name="connsiteY14" fmla="*/ 899408 h 1071945"/>
                <a:gd name="connsiteX15" fmla="*/ 911827 w 1557220"/>
                <a:gd name="connsiteY15" fmla="*/ 893565 h 1071945"/>
                <a:gd name="connsiteX16" fmla="*/ 1142941 w 1557220"/>
                <a:gd name="connsiteY16" fmla="*/ 854460 h 1071945"/>
                <a:gd name="connsiteX17" fmla="*/ 1348593 w 1557220"/>
                <a:gd name="connsiteY17" fmla="*/ 813399 h 1071945"/>
                <a:gd name="connsiteX18" fmla="*/ 1373627 w 1557220"/>
                <a:gd name="connsiteY18" fmla="*/ 724340 h 1071945"/>
                <a:gd name="connsiteX19" fmla="*/ 1379685 w 1557220"/>
                <a:gd name="connsiteY19" fmla="*/ 715046 h 1071945"/>
                <a:gd name="connsiteX20" fmla="*/ 1428015 w 1557220"/>
                <a:gd name="connsiteY20" fmla="*/ 654820 h 1071945"/>
                <a:gd name="connsiteX21" fmla="*/ 1543813 w 1557220"/>
                <a:gd name="connsiteY21" fmla="*/ 306134 h 1071945"/>
                <a:gd name="connsiteX22" fmla="*/ 1552071 w 1557220"/>
                <a:gd name="connsiteY22" fmla="*/ 221104 h 1071945"/>
                <a:gd name="connsiteX23" fmla="*/ 1490805 w 1557220"/>
                <a:gd name="connsiteY23" fmla="*/ 207515 h 1071945"/>
                <a:gd name="connsiteX24" fmla="*/ 1239673 w 1557220"/>
                <a:gd name="connsiteY24" fmla="*/ 208840 h 1071945"/>
                <a:gd name="connsiteX25" fmla="*/ 1097844 w 1557220"/>
                <a:gd name="connsiteY25" fmla="*/ 254143 h 1071945"/>
                <a:gd name="connsiteX26" fmla="*/ 1007348 w 1557220"/>
                <a:gd name="connsiteY26" fmla="*/ 586794 h 1071945"/>
                <a:gd name="connsiteX27" fmla="*/ 997753 w 1557220"/>
                <a:gd name="connsiteY27" fmla="*/ 586243 h 1071945"/>
                <a:gd name="connsiteX28" fmla="*/ 967356 w 1557220"/>
                <a:gd name="connsiteY28" fmla="*/ 400254 h 1071945"/>
                <a:gd name="connsiteX29" fmla="*/ 865029 w 1557220"/>
                <a:gd name="connsiteY29" fmla="*/ 258385 h 1071945"/>
                <a:gd name="connsiteX30" fmla="*/ 718870 w 1557220"/>
                <a:gd name="connsiteY30" fmla="*/ 181083 h 1071945"/>
                <a:gd name="connsiteX31" fmla="*/ 661381 w 1557220"/>
                <a:gd name="connsiteY31" fmla="*/ 177303 h 1071945"/>
                <a:gd name="connsiteX32" fmla="*/ 647671 w 1557220"/>
                <a:gd name="connsiteY32" fmla="*/ 100535 h 1071945"/>
                <a:gd name="connsiteX33" fmla="*/ 643706 w 1557220"/>
                <a:gd name="connsiteY33" fmla="*/ 65744 h 1071945"/>
                <a:gd name="connsiteX34" fmla="*/ 421225 w 1557220"/>
                <a:gd name="connsiteY34" fmla="*/ 235 h 1071945"/>
                <a:gd name="connsiteX35" fmla="*/ 414401 w 1557220"/>
                <a:gd name="connsiteY35" fmla="*/ 11183 h 107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57220" h="1071945">
                  <a:moveTo>
                    <a:pt x="414401" y="11183"/>
                  </a:moveTo>
                  <a:cubicBezTo>
                    <a:pt x="414401" y="11183"/>
                    <a:pt x="437475" y="54600"/>
                    <a:pt x="424236" y="91224"/>
                  </a:cubicBezTo>
                  <a:cubicBezTo>
                    <a:pt x="411586" y="126228"/>
                    <a:pt x="394436" y="188491"/>
                    <a:pt x="377420" y="134882"/>
                  </a:cubicBezTo>
                  <a:cubicBezTo>
                    <a:pt x="376030" y="130515"/>
                    <a:pt x="371229" y="128229"/>
                    <a:pt x="366961" y="129901"/>
                  </a:cubicBezTo>
                  <a:cubicBezTo>
                    <a:pt x="344573" y="138661"/>
                    <a:pt x="275645" y="165288"/>
                    <a:pt x="157790" y="207692"/>
                  </a:cubicBezTo>
                  <a:cubicBezTo>
                    <a:pt x="116408" y="222580"/>
                    <a:pt x="89432" y="260573"/>
                    <a:pt x="77512" y="282175"/>
                  </a:cubicBezTo>
                  <a:cubicBezTo>
                    <a:pt x="44701" y="341637"/>
                    <a:pt x="6669" y="507011"/>
                    <a:pt x="1208" y="673790"/>
                  </a:cubicBezTo>
                  <a:cubicBezTo>
                    <a:pt x="-1785" y="765117"/>
                    <a:pt x="-1509" y="858018"/>
                    <a:pt x="29868" y="931478"/>
                  </a:cubicBezTo>
                  <a:cubicBezTo>
                    <a:pt x="29868" y="931478"/>
                    <a:pt x="54465" y="977217"/>
                    <a:pt x="107615" y="980632"/>
                  </a:cubicBezTo>
                  <a:cubicBezTo>
                    <a:pt x="113477" y="981005"/>
                    <a:pt x="117682" y="986457"/>
                    <a:pt x="116711" y="992247"/>
                  </a:cubicBezTo>
                  <a:lnTo>
                    <a:pt x="106929" y="1050481"/>
                  </a:lnTo>
                  <a:cubicBezTo>
                    <a:pt x="105905" y="1057489"/>
                    <a:pt x="111063" y="1063892"/>
                    <a:pt x="118146" y="1064373"/>
                  </a:cubicBezTo>
                  <a:cubicBezTo>
                    <a:pt x="167358" y="1067699"/>
                    <a:pt x="348172" y="1078113"/>
                    <a:pt x="542430" y="1066827"/>
                  </a:cubicBezTo>
                  <a:cubicBezTo>
                    <a:pt x="670887" y="1059366"/>
                    <a:pt x="806631" y="1053078"/>
                    <a:pt x="911756" y="1011892"/>
                  </a:cubicBezTo>
                  <a:lnTo>
                    <a:pt x="905680" y="899408"/>
                  </a:lnTo>
                  <a:cubicBezTo>
                    <a:pt x="905493" y="895984"/>
                    <a:pt x="908397" y="893369"/>
                    <a:pt x="911827" y="893565"/>
                  </a:cubicBezTo>
                  <a:cubicBezTo>
                    <a:pt x="964897" y="896553"/>
                    <a:pt x="1039170" y="902716"/>
                    <a:pt x="1142941" y="854460"/>
                  </a:cubicBezTo>
                  <a:cubicBezTo>
                    <a:pt x="1142941" y="854460"/>
                    <a:pt x="1314552" y="863523"/>
                    <a:pt x="1348593" y="813399"/>
                  </a:cubicBezTo>
                  <a:cubicBezTo>
                    <a:pt x="1382634" y="763276"/>
                    <a:pt x="1373627" y="724340"/>
                    <a:pt x="1373627" y="724340"/>
                  </a:cubicBezTo>
                  <a:cubicBezTo>
                    <a:pt x="1374651" y="720694"/>
                    <a:pt x="1376772" y="717465"/>
                    <a:pt x="1379685" y="715046"/>
                  </a:cubicBezTo>
                  <a:cubicBezTo>
                    <a:pt x="1389244" y="707140"/>
                    <a:pt x="1412220" y="686089"/>
                    <a:pt x="1428015" y="654820"/>
                  </a:cubicBezTo>
                  <a:cubicBezTo>
                    <a:pt x="1477941" y="555996"/>
                    <a:pt x="1543813" y="306134"/>
                    <a:pt x="1543813" y="306134"/>
                  </a:cubicBezTo>
                  <a:cubicBezTo>
                    <a:pt x="1543813" y="306134"/>
                    <a:pt x="1567332" y="252035"/>
                    <a:pt x="1552071" y="221104"/>
                  </a:cubicBezTo>
                  <a:cubicBezTo>
                    <a:pt x="1544294" y="205345"/>
                    <a:pt x="1524694" y="207034"/>
                    <a:pt x="1490805" y="207515"/>
                  </a:cubicBezTo>
                  <a:cubicBezTo>
                    <a:pt x="1430510" y="208368"/>
                    <a:pt x="1328744" y="206572"/>
                    <a:pt x="1239673" y="208840"/>
                  </a:cubicBezTo>
                  <a:cubicBezTo>
                    <a:pt x="1169748" y="210618"/>
                    <a:pt x="1117907" y="217431"/>
                    <a:pt x="1097844" y="254143"/>
                  </a:cubicBezTo>
                  <a:lnTo>
                    <a:pt x="1007348" y="586794"/>
                  </a:lnTo>
                  <a:cubicBezTo>
                    <a:pt x="1005914" y="591854"/>
                    <a:pt x="998600" y="591436"/>
                    <a:pt x="997753" y="586243"/>
                  </a:cubicBezTo>
                  <a:lnTo>
                    <a:pt x="967356" y="400254"/>
                  </a:lnTo>
                  <a:cubicBezTo>
                    <a:pt x="967356" y="400254"/>
                    <a:pt x="958242" y="304765"/>
                    <a:pt x="865029" y="258385"/>
                  </a:cubicBezTo>
                  <a:cubicBezTo>
                    <a:pt x="771816" y="212015"/>
                    <a:pt x="732866" y="192405"/>
                    <a:pt x="718870" y="181083"/>
                  </a:cubicBezTo>
                  <a:cubicBezTo>
                    <a:pt x="704874" y="169753"/>
                    <a:pt x="661381" y="177303"/>
                    <a:pt x="661381" y="177303"/>
                  </a:cubicBezTo>
                  <a:cubicBezTo>
                    <a:pt x="657996" y="173773"/>
                    <a:pt x="648223" y="105391"/>
                    <a:pt x="647671" y="100535"/>
                  </a:cubicBezTo>
                  <a:lnTo>
                    <a:pt x="643706" y="65744"/>
                  </a:lnTo>
                  <a:lnTo>
                    <a:pt x="421225" y="235"/>
                  </a:lnTo>
                  <a:cubicBezTo>
                    <a:pt x="415693" y="-1357"/>
                    <a:pt x="414775" y="5464"/>
                    <a:pt x="414401" y="1118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59" name="Freeform: Shape 58">
              <a:extLst>
                <a:ext uri="{FF2B5EF4-FFF2-40B4-BE49-F238E27FC236}">
                  <a16:creationId xmlns:a16="http://schemas.microsoft.com/office/drawing/2014/main" id="{0FC9A4E1-8B77-D08B-8BAB-3250562C17B9}"/>
                </a:ext>
              </a:extLst>
            </p:cNvPr>
            <p:cNvSpPr/>
            <p:nvPr/>
          </p:nvSpPr>
          <p:spPr>
            <a:xfrm>
              <a:off x="5566507" y="4097137"/>
              <a:ext cx="202010" cy="180602"/>
            </a:xfrm>
            <a:custGeom>
              <a:avLst/>
              <a:gdLst>
                <a:gd name="connsiteX0" fmla="*/ 202009 w 202010"/>
                <a:gd name="connsiteY0" fmla="*/ 9619 h 180602"/>
                <a:gd name="connsiteX1" fmla="*/ 2557 w 202010"/>
                <a:gd name="connsiteY1" fmla="*/ 29345 h 180602"/>
                <a:gd name="connsiteX2" fmla="*/ 9 w 202010"/>
                <a:gd name="connsiteY2" fmla="*/ 34779 h 180602"/>
                <a:gd name="connsiteX3" fmla="*/ 8598 w 202010"/>
                <a:gd name="connsiteY3" fmla="*/ 118422 h 180602"/>
                <a:gd name="connsiteX4" fmla="*/ 22050 w 202010"/>
                <a:gd name="connsiteY4" fmla="*/ 176416 h 180602"/>
                <a:gd name="connsiteX5" fmla="*/ 33721 w 202010"/>
                <a:gd name="connsiteY5" fmla="*/ 177252 h 180602"/>
                <a:gd name="connsiteX6" fmla="*/ 153188 w 202010"/>
                <a:gd name="connsiteY6" fmla="*/ 45896 h 180602"/>
                <a:gd name="connsiteX7" fmla="*/ 202009 w 202010"/>
                <a:gd name="connsiteY7" fmla="*/ 9619 h 1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010" h="180602">
                  <a:moveTo>
                    <a:pt x="202009" y="9619"/>
                  </a:moveTo>
                  <a:cubicBezTo>
                    <a:pt x="189857" y="-12134"/>
                    <a:pt x="20010" y="6729"/>
                    <a:pt x="2557" y="29345"/>
                  </a:cubicBezTo>
                  <a:cubicBezTo>
                    <a:pt x="856" y="30617"/>
                    <a:pt x="-106" y="32662"/>
                    <a:pt x="9" y="34779"/>
                  </a:cubicBezTo>
                  <a:cubicBezTo>
                    <a:pt x="1551" y="64012"/>
                    <a:pt x="4446" y="92151"/>
                    <a:pt x="8598" y="118422"/>
                  </a:cubicBezTo>
                  <a:cubicBezTo>
                    <a:pt x="11413" y="136271"/>
                    <a:pt x="15217" y="157118"/>
                    <a:pt x="22050" y="176416"/>
                  </a:cubicBezTo>
                  <a:cubicBezTo>
                    <a:pt x="23698" y="181530"/>
                    <a:pt x="31351" y="182135"/>
                    <a:pt x="33721" y="177252"/>
                  </a:cubicBezTo>
                  <a:cubicBezTo>
                    <a:pt x="65008" y="123420"/>
                    <a:pt x="106248" y="82661"/>
                    <a:pt x="153188" y="45896"/>
                  </a:cubicBezTo>
                  <a:cubicBezTo>
                    <a:pt x="162961" y="37225"/>
                    <a:pt x="202294" y="21430"/>
                    <a:pt x="202009" y="9619"/>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60" name="Freeform: Shape 59">
              <a:extLst>
                <a:ext uri="{FF2B5EF4-FFF2-40B4-BE49-F238E27FC236}">
                  <a16:creationId xmlns:a16="http://schemas.microsoft.com/office/drawing/2014/main" id="{5354B5BF-0B32-833E-BCF9-45A9C83629CB}"/>
                </a:ext>
              </a:extLst>
            </p:cNvPr>
            <p:cNvSpPr/>
            <p:nvPr/>
          </p:nvSpPr>
          <p:spPr>
            <a:xfrm>
              <a:off x="6016824" y="4185558"/>
              <a:ext cx="324545" cy="264361"/>
            </a:xfrm>
            <a:custGeom>
              <a:avLst/>
              <a:gdLst>
                <a:gd name="connsiteX0" fmla="*/ 321547 w 324545"/>
                <a:gd name="connsiteY0" fmla="*/ 210529 h 264361"/>
                <a:gd name="connsiteX1" fmla="*/ 315783 w 324545"/>
                <a:gd name="connsiteY1" fmla="*/ 155052 h 264361"/>
                <a:gd name="connsiteX2" fmla="*/ 318607 w 324545"/>
                <a:gd name="connsiteY2" fmla="*/ 35861 h 264361"/>
                <a:gd name="connsiteX3" fmla="*/ 319463 w 324545"/>
                <a:gd name="connsiteY3" fmla="*/ 7198 h 264361"/>
                <a:gd name="connsiteX4" fmla="*/ 312665 w 324545"/>
                <a:gd name="connsiteY4" fmla="*/ 30 h 264361"/>
                <a:gd name="connsiteX5" fmla="*/ 123521 w 324545"/>
                <a:gd name="connsiteY5" fmla="*/ 17656 h 264361"/>
                <a:gd name="connsiteX6" fmla="*/ 66246 w 324545"/>
                <a:gd name="connsiteY6" fmla="*/ 22068 h 264361"/>
                <a:gd name="connsiteX7" fmla="*/ 3358 w 324545"/>
                <a:gd name="connsiteY7" fmla="*/ 58211 h 264361"/>
                <a:gd name="connsiteX8" fmla="*/ 730 w 324545"/>
                <a:gd name="connsiteY8" fmla="*/ 66775 h 264361"/>
                <a:gd name="connsiteX9" fmla="*/ 11421 w 324545"/>
                <a:gd name="connsiteY9" fmla="*/ 228085 h 264361"/>
                <a:gd name="connsiteX10" fmla="*/ 18664 w 324545"/>
                <a:gd name="connsiteY10" fmla="*/ 264361 h 264361"/>
                <a:gd name="connsiteX11" fmla="*/ 313636 w 324545"/>
                <a:gd name="connsiteY11" fmla="*/ 236596 h 264361"/>
                <a:gd name="connsiteX12" fmla="*/ 324389 w 324545"/>
                <a:gd name="connsiteY12" fmla="*/ 225817 h 264361"/>
                <a:gd name="connsiteX13" fmla="*/ 321547 w 324545"/>
                <a:gd name="connsiteY13" fmla="*/ 210529 h 26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545" h="264361">
                  <a:moveTo>
                    <a:pt x="321547" y="210529"/>
                  </a:moveTo>
                  <a:cubicBezTo>
                    <a:pt x="313779" y="193738"/>
                    <a:pt x="316059" y="173870"/>
                    <a:pt x="315783" y="155052"/>
                  </a:cubicBezTo>
                  <a:cubicBezTo>
                    <a:pt x="315952" y="115449"/>
                    <a:pt x="318803" y="75624"/>
                    <a:pt x="318607" y="35861"/>
                  </a:cubicBezTo>
                  <a:cubicBezTo>
                    <a:pt x="318447" y="26274"/>
                    <a:pt x="318278" y="16358"/>
                    <a:pt x="319463" y="7198"/>
                  </a:cubicBezTo>
                  <a:cubicBezTo>
                    <a:pt x="320051" y="3347"/>
                    <a:pt x="316567" y="-371"/>
                    <a:pt x="312665" y="30"/>
                  </a:cubicBezTo>
                  <a:cubicBezTo>
                    <a:pt x="254633" y="4405"/>
                    <a:pt x="185749" y="9243"/>
                    <a:pt x="123521" y="17656"/>
                  </a:cubicBezTo>
                  <a:cubicBezTo>
                    <a:pt x="104705" y="20316"/>
                    <a:pt x="85240" y="23064"/>
                    <a:pt x="66246" y="22068"/>
                  </a:cubicBezTo>
                  <a:cubicBezTo>
                    <a:pt x="47119" y="33656"/>
                    <a:pt x="27893" y="45538"/>
                    <a:pt x="3358" y="58211"/>
                  </a:cubicBezTo>
                  <a:cubicBezTo>
                    <a:pt x="276" y="59865"/>
                    <a:pt x="-891" y="63680"/>
                    <a:pt x="730" y="66775"/>
                  </a:cubicBezTo>
                  <a:cubicBezTo>
                    <a:pt x="21149" y="105773"/>
                    <a:pt x="15492" y="194841"/>
                    <a:pt x="11421" y="228085"/>
                  </a:cubicBezTo>
                  <a:cubicBezTo>
                    <a:pt x="9220" y="246041"/>
                    <a:pt x="4588" y="263605"/>
                    <a:pt x="18664" y="264361"/>
                  </a:cubicBezTo>
                  <a:cubicBezTo>
                    <a:pt x="117802" y="259781"/>
                    <a:pt x="216342" y="257531"/>
                    <a:pt x="313636" y="236596"/>
                  </a:cubicBezTo>
                  <a:cubicBezTo>
                    <a:pt x="318251" y="235457"/>
                    <a:pt x="325449" y="229783"/>
                    <a:pt x="324389" y="225817"/>
                  </a:cubicBezTo>
                  <a:cubicBezTo>
                    <a:pt x="325360" y="220988"/>
                    <a:pt x="321476" y="215749"/>
                    <a:pt x="321547" y="21052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61" name="Freeform: Shape 60">
              <a:extLst>
                <a:ext uri="{FF2B5EF4-FFF2-40B4-BE49-F238E27FC236}">
                  <a16:creationId xmlns:a16="http://schemas.microsoft.com/office/drawing/2014/main" id="{74D6A2A0-DF3F-941D-F7F5-1BC8FCB636B9}"/>
                </a:ext>
              </a:extLst>
            </p:cNvPr>
            <p:cNvSpPr/>
            <p:nvPr/>
          </p:nvSpPr>
          <p:spPr>
            <a:xfrm>
              <a:off x="6204304" y="4114890"/>
              <a:ext cx="141962" cy="43056"/>
            </a:xfrm>
            <a:custGeom>
              <a:avLst/>
              <a:gdLst>
                <a:gd name="connsiteX0" fmla="*/ 136259 w 141962"/>
                <a:gd name="connsiteY0" fmla="*/ 8790 h 43056"/>
                <a:gd name="connsiteX1" fmla="*/ 105657 w 141962"/>
                <a:gd name="connsiteY1" fmla="*/ 590 h 43056"/>
                <a:gd name="connsiteX2" fmla="*/ 100098 w 141962"/>
                <a:gd name="connsiteY2" fmla="*/ 679 h 43056"/>
                <a:gd name="connsiteX3" fmla="*/ 29629 w 141962"/>
                <a:gd name="connsiteY3" fmla="*/ 15451 h 43056"/>
                <a:gd name="connsiteX4" fmla="*/ 6724 w 141962"/>
                <a:gd name="connsiteY4" fmla="*/ 29094 h 43056"/>
                <a:gd name="connsiteX5" fmla="*/ 6172 w 141962"/>
                <a:gd name="connsiteY5" fmla="*/ 43056 h 43056"/>
                <a:gd name="connsiteX6" fmla="*/ 135404 w 141962"/>
                <a:gd name="connsiteY6" fmla="*/ 30356 h 43056"/>
                <a:gd name="connsiteX7" fmla="*/ 141943 w 141962"/>
                <a:gd name="connsiteY7" fmla="*/ 15620 h 43056"/>
                <a:gd name="connsiteX8" fmla="*/ 136259 w 141962"/>
                <a:gd name="connsiteY8" fmla="*/ 8790 h 4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62" h="43056">
                  <a:moveTo>
                    <a:pt x="136259" y="8790"/>
                  </a:moveTo>
                  <a:cubicBezTo>
                    <a:pt x="125132" y="7607"/>
                    <a:pt x="114833" y="4841"/>
                    <a:pt x="105657" y="590"/>
                  </a:cubicBezTo>
                  <a:cubicBezTo>
                    <a:pt x="103893" y="-228"/>
                    <a:pt x="101844" y="-193"/>
                    <a:pt x="100098" y="679"/>
                  </a:cubicBezTo>
                  <a:cubicBezTo>
                    <a:pt x="77799" y="12534"/>
                    <a:pt x="48338" y="21321"/>
                    <a:pt x="29629" y="15451"/>
                  </a:cubicBezTo>
                  <a:cubicBezTo>
                    <a:pt x="23402" y="14188"/>
                    <a:pt x="15883" y="26194"/>
                    <a:pt x="6724" y="29094"/>
                  </a:cubicBezTo>
                  <a:cubicBezTo>
                    <a:pt x="-1071" y="30881"/>
                    <a:pt x="-3129" y="42345"/>
                    <a:pt x="6172" y="43056"/>
                  </a:cubicBezTo>
                  <a:cubicBezTo>
                    <a:pt x="34974" y="39686"/>
                    <a:pt x="124170" y="31246"/>
                    <a:pt x="135404" y="30356"/>
                  </a:cubicBezTo>
                  <a:cubicBezTo>
                    <a:pt x="142486" y="30107"/>
                    <a:pt x="141355" y="20369"/>
                    <a:pt x="141943" y="15620"/>
                  </a:cubicBezTo>
                  <a:cubicBezTo>
                    <a:pt x="142210" y="12187"/>
                    <a:pt x="139689" y="9154"/>
                    <a:pt x="136259" y="8790"/>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62" name="Freeform: Shape 61">
              <a:extLst>
                <a:ext uri="{FF2B5EF4-FFF2-40B4-BE49-F238E27FC236}">
                  <a16:creationId xmlns:a16="http://schemas.microsoft.com/office/drawing/2014/main" id="{DEBED1C6-F1A1-99C4-CCBA-DCAC36D0BD68}"/>
                </a:ext>
              </a:extLst>
            </p:cNvPr>
            <p:cNvSpPr/>
            <p:nvPr/>
          </p:nvSpPr>
          <p:spPr>
            <a:xfrm>
              <a:off x="5956956" y="3571001"/>
              <a:ext cx="381909" cy="518746"/>
            </a:xfrm>
            <a:custGeom>
              <a:avLst/>
              <a:gdLst>
                <a:gd name="connsiteX0" fmla="*/ 376043 w 381909"/>
                <a:gd name="connsiteY0" fmla="*/ 411256 h 518746"/>
                <a:gd name="connsiteX1" fmla="*/ 381014 w 381909"/>
                <a:gd name="connsiteY1" fmla="*/ 403892 h 518746"/>
                <a:gd name="connsiteX2" fmla="*/ 327900 w 381909"/>
                <a:gd name="connsiteY2" fmla="*/ 31772 h 518746"/>
                <a:gd name="connsiteX3" fmla="*/ 316844 w 381909"/>
                <a:gd name="connsiteY3" fmla="*/ 28997 h 518746"/>
                <a:gd name="connsiteX4" fmla="*/ 37355 w 381909"/>
                <a:gd name="connsiteY4" fmla="*/ 15764 h 518746"/>
                <a:gd name="connsiteX5" fmla="*/ 0 w 381909"/>
                <a:gd name="connsiteY5" fmla="*/ 689 h 518746"/>
                <a:gd name="connsiteX6" fmla="*/ 48117 w 381909"/>
                <a:gd name="connsiteY6" fmla="*/ 512472 h 518746"/>
                <a:gd name="connsiteX7" fmla="*/ 56081 w 381909"/>
                <a:gd name="connsiteY7" fmla="*/ 518538 h 518746"/>
                <a:gd name="connsiteX8" fmla="*/ 376043 w 381909"/>
                <a:gd name="connsiteY8" fmla="*/ 411256 h 51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909" h="518746">
                  <a:moveTo>
                    <a:pt x="376043" y="411256"/>
                  </a:moveTo>
                  <a:cubicBezTo>
                    <a:pt x="378912" y="409877"/>
                    <a:pt x="380818" y="407058"/>
                    <a:pt x="381014" y="403892"/>
                  </a:cubicBezTo>
                  <a:cubicBezTo>
                    <a:pt x="388311" y="285565"/>
                    <a:pt x="349272" y="131459"/>
                    <a:pt x="327900" y="31772"/>
                  </a:cubicBezTo>
                  <a:cubicBezTo>
                    <a:pt x="326911" y="26836"/>
                    <a:pt x="320069" y="25022"/>
                    <a:pt x="316844" y="28997"/>
                  </a:cubicBezTo>
                  <a:cubicBezTo>
                    <a:pt x="247818" y="106522"/>
                    <a:pt x="74157" y="32163"/>
                    <a:pt x="37355" y="15764"/>
                  </a:cubicBezTo>
                  <a:cubicBezTo>
                    <a:pt x="28704" y="13772"/>
                    <a:pt x="6459" y="-3642"/>
                    <a:pt x="0" y="689"/>
                  </a:cubicBezTo>
                  <a:cubicBezTo>
                    <a:pt x="25248" y="153710"/>
                    <a:pt x="45578" y="334070"/>
                    <a:pt x="48117" y="512472"/>
                  </a:cubicBezTo>
                  <a:cubicBezTo>
                    <a:pt x="48179" y="516599"/>
                    <a:pt x="52081" y="519578"/>
                    <a:pt x="56081" y="518538"/>
                  </a:cubicBezTo>
                  <a:cubicBezTo>
                    <a:pt x="160057" y="491457"/>
                    <a:pt x="277066" y="458836"/>
                    <a:pt x="376043" y="41125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99" name="Freeform: Shape 98">
              <a:extLst>
                <a:ext uri="{FF2B5EF4-FFF2-40B4-BE49-F238E27FC236}">
                  <a16:creationId xmlns:a16="http://schemas.microsoft.com/office/drawing/2014/main" id="{7F3AD146-E047-410D-DED6-EEB598AC7683}"/>
                </a:ext>
              </a:extLst>
            </p:cNvPr>
            <p:cNvSpPr/>
            <p:nvPr/>
          </p:nvSpPr>
          <p:spPr>
            <a:xfrm>
              <a:off x="5672855" y="4248642"/>
              <a:ext cx="360034" cy="202334"/>
            </a:xfrm>
            <a:custGeom>
              <a:avLst/>
              <a:gdLst>
                <a:gd name="connsiteX0" fmla="*/ 345991 w 360034"/>
                <a:gd name="connsiteY0" fmla="*/ 5211 h 202334"/>
                <a:gd name="connsiteX1" fmla="*/ 336708 w 360034"/>
                <a:gd name="connsiteY1" fmla="*/ 765 h 202334"/>
                <a:gd name="connsiteX2" fmla="*/ 196554 w 360034"/>
                <a:gd name="connsiteY2" fmla="*/ 60920 h 202334"/>
                <a:gd name="connsiteX3" fmla="*/ 12648 w 360034"/>
                <a:gd name="connsiteY3" fmla="*/ 102008 h 202334"/>
                <a:gd name="connsiteX4" fmla="*/ 6278 w 360034"/>
                <a:gd name="connsiteY4" fmla="*/ 108829 h 202334"/>
                <a:gd name="connsiteX5" fmla="*/ 5263 w 360034"/>
                <a:gd name="connsiteY5" fmla="*/ 187305 h 202334"/>
                <a:gd name="connsiteX6" fmla="*/ 345786 w 360034"/>
                <a:gd name="connsiteY6" fmla="*/ 201712 h 202334"/>
                <a:gd name="connsiteX7" fmla="*/ 356521 w 360034"/>
                <a:gd name="connsiteY7" fmla="*/ 192570 h 202334"/>
                <a:gd name="connsiteX8" fmla="*/ 345991 w 360034"/>
                <a:gd name="connsiteY8" fmla="*/ 5211 h 20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34" h="202334">
                  <a:moveTo>
                    <a:pt x="345991" y="5211"/>
                  </a:moveTo>
                  <a:cubicBezTo>
                    <a:pt x="345314" y="1103"/>
                    <a:pt x="340361" y="-1325"/>
                    <a:pt x="336708" y="765"/>
                  </a:cubicBezTo>
                  <a:cubicBezTo>
                    <a:pt x="291228" y="25071"/>
                    <a:pt x="242470" y="44040"/>
                    <a:pt x="196554" y="60920"/>
                  </a:cubicBezTo>
                  <a:cubicBezTo>
                    <a:pt x="138646" y="82362"/>
                    <a:pt x="76275" y="102177"/>
                    <a:pt x="12648" y="102008"/>
                  </a:cubicBezTo>
                  <a:cubicBezTo>
                    <a:pt x="9058" y="101937"/>
                    <a:pt x="5940" y="105254"/>
                    <a:pt x="6278" y="108829"/>
                  </a:cubicBezTo>
                  <a:cubicBezTo>
                    <a:pt x="10955" y="123308"/>
                    <a:pt x="-9081" y="188257"/>
                    <a:pt x="5263" y="187305"/>
                  </a:cubicBezTo>
                  <a:cubicBezTo>
                    <a:pt x="119296" y="199400"/>
                    <a:pt x="231619" y="204158"/>
                    <a:pt x="345786" y="201712"/>
                  </a:cubicBezTo>
                  <a:cubicBezTo>
                    <a:pt x="349804" y="201739"/>
                    <a:pt x="357733" y="196394"/>
                    <a:pt x="356521" y="192570"/>
                  </a:cubicBezTo>
                  <a:cubicBezTo>
                    <a:pt x="365332" y="130467"/>
                    <a:pt x="355978" y="63393"/>
                    <a:pt x="345991" y="5211"/>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0" name="Freeform: Shape 99">
              <a:extLst>
                <a:ext uri="{FF2B5EF4-FFF2-40B4-BE49-F238E27FC236}">
                  <a16:creationId xmlns:a16="http://schemas.microsoft.com/office/drawing/2014/main" id="{F3496FFB-64A5-040A-7960-590C82BB50C1}"/>
                </a:ext>
              </a:extLst>
            </p:cNvPr>
            <p:cNvSpPr/>
            <p:nvPr/>
          </p:nvSpPr>
          <p:spPr>
            <a:xfrm>
              <a:off x="6334013" y="4176031"/>
              <a:ext cx="135520" cy="241987"/>
            </a:xfrm>
            <a:custGeom>
              <a:avLst/>
              <a:gdLst>
                <a:gd name="connsiteX0" fmla="*/ 134151 w 135520"/>
                <a:gd name="connsiteY0" fmla="*/ 204021 h 241987"/>
                <a:gd name="connsiteX1" fmla="*/ 124263 w 135520"/>
                <a:gd name="connsiteY1" fmla="*/ 104467 h 241987"/>
                <a:gd name="connsiteX2" fmla="*/ 127398 w 135520"/>
                <a:gd name="connsiteY2" fmla="*/ 8525 h 241987"/>
                <a:gd name="connsiteX3" fmla="*/ 120842 w 135520"/>
                <a:gd name="connsiteY3" fmla="*/ 40 h 241987"/>
                <a:gd name="connsiteX4" fmla="*/ 33651 w 135520"/>
                <a:gd name="connsiteY4" fmla="*/ 6773 h 241987"/>
                <a:gd name="connsiteX5" fmla="*/ 5917 w 135520"/>
                <a:gd name="connsiteY5" fmla="*/ 15595 h 241987"/>
                <a:gd name="connsiteX6" fmla="*/ 483 w 135520"/>
                <a:gd name="connsiteY6" fmla="*/ 206653 h 241987"/>
                <a:gd name="connsiteX7" fmla="*/ 1614 w 135520"/>
                <a:gd name="connsiteY7" fmla="*/ 235824 h 241987"/>
                <a:gd name="connsiteX8" fmla="*/ 14069 w 135520"/>
                <a:gd name="connsiteY8" fmla="*/ 241373 h 241987"/>
                <a:gd name="connsiteX9" fmla="*/ 84262 w 135520"/>
                <a:gd name="connsiteY9" fmla="*/ 226583 h 241987"/>
                <a:gd name="connsiteX10" fmla="*/ 134151 w 135520"/>
                <a:gd name="connsiteY10" fmla="*/ 204021 h 24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520" h="241987">
                  <a:moveTo>
                    <a:pt x="134151" y="204021"/>
                  </a:moveTo>
                  <a:cubicBezTo>
                    <a:pt x="124298" y="173116"/>
                    <a:pt x="127381" y="135452"/>
                    <a:pt x="124263" y="104467"/>
                  </a:cubicBezTo>
                  <a:cubicBezTo>
                    <a:pt x="123915" y="73358"/>
                    <a:pt x="119853" y="38576"/>
                    <a:pt x="127398" y="8525"/>
                  </a:cubicBezTo>
                  <a:cubicBezTo>
                    <a:pt x="129029" y="4354"/>
                    <a:pt x="125323" y="-493"/>
                    <a:pt x="120842" y="40"/>
                  </a:cubicBezTo>
                  <a:cubicBezTo>
                    <a:pt x="91816" y="2548"/>
                    <a:pt x="62248" y="4701"/>
                    <a:pt x="33651" y="6773"/>
                  </a:cubicBezTo>
                  <a:cubicBezTo>
                    <a:pt x="25535" y="9147"/>
                    <a:pt x="6087" y="3473"/>
                    <a:pt x="5917" y="15595"/>
                  </a:cubicBezTo>
                  <a:cubicBezTo>
                    <a:pt x="7378" y="78089"/>
                    <a:pt x="100" y="141989"/>
                    <a:pt x="483" y="206653"/>
                  </a:cubicBezTo>
                  <a:cubicBezTo>
                    <a:pt x="554" y="218926"/>
                    <a:pt x="-1219" y="227037"/>
                    <a:pt x="1614" y="235824"/>
                  </a:cubicBezTo>
                  <a:cubicBezTo>
                    <a:pt x="3120" y="240475"/>
                    <a:pt x="9606" y="243303"/>
                    <a:pt x="14069" y="241373"/>
                  </a:cubicBezTo>
                  <a:cubicBezTo>
                    <a:pt x="34114" y="235424"/>
                    <a:pt x="58123" y="229020"/>
                    <a:pt x="84262" y="226583"/>
                  </a:cubicBezTo>
                  <a:cubicBezTo>
                    <a:pt x="94106" y="225641"/>
                    <a:pt x="144397" y="221470"/>
                    <a:pt x="134151" y="204021"/>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1" name="Freeform: Shape 100">
              <a:extLst>
                <a:ext uri="{FF2B5EF4-FFF2-40B4-BE49-F238E27FC236}">
                  <a16:creationId xmlns:a16="http://schemas.microsoft.com/office/drawing/2014/main" id="{7A2839C2-CAB1-6FC4-6C84-4E59C7BBB12B}"/>
                </a:ext>
              </a:extLst>
            </p:cNvPr>
            <p:cNvSpPr/>
            <p:nvPr/>
          </p:nvSpPr>
          <p:spPr>
            <a:xfrm>
              <a:off x="6340802" y="4100558"/>
              <a:ext cx="144596" cy="44858"/>
            </a:xfrm>
            <a:custGeom>
              <a:avLst/>
              <a:gdLst>
                <a:gd name="connsiteX0" fmla="*/ 139514 w 144596"/>
                <a:gd name="connsiteY0" fmla="*/ 18044 h 44858"/>
                <a:gd name="connsiteX1" fmla="*/ 37258 w 144596"/>
                <a:gd name="connsiteY1" fmla="*/ 20685 h 44858"/>
                <a:gd name="connsiteX2" fmla="*/ 7610 w 144596"/>
                <a:gd name="connsiteY2" fmla="*/ 23255 h 44858"/>
                <a:gd name="connsiteX3" fmla="*/ 572 w 144596"/>
                <a:gd name="connsiteY3" fmla="*/ 29090 h 44858"/>
                <a:gd name="connsiteX4" fmla="*/ 6754 w 144596"/>
                <a:gd name="connsiteY4" fmla="*/ 44831 h 44858"/>
                <a:gd name="connsiteX5" fmla="*/ 139140 w 144596"/>
                <a:gd name="connsiteY5" fmla="*/ 30619 h 44858"/>
                <a:gd name="connsiteX6" fmla="*/ 139514 w 144596"/>
                <a:gd name="connsiteY6" fmla="*/ 18044 h 4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596" h="44858">
                  <a:moveTo>
                    <a:pt x="139514" y="18044"/>
                  </a:moveTo>
                  <a:cubicBezTo>
                    <a:pt x="67700" y="-4074"/>
                    <a:pt x="113901" y="-8814"/>
                    <a:pt x="37258" y="20685"/>
                  </a:cubicBezTo>
                  <a:cubicBezTo>
                    <a:pt x="25418" y="23629"/>
                    <a:pt x="20296" y="24616"/>
                    <a:pt x="7610" y="23255"/>
                  </a:cubicBezTo>
                  <a:cubicBezTo>
                    <a:pt x="4144" y="22811"/>
                    <a:pt x="768" y="25603"/>
                    <a:pt x="572" y="29090"/>
                  </a:cubicBezTo>
                  <a:cubicBezTo>
                    <a:pt x="117" y="34479"/>
                    <a:pt x="-2074" y="45480"/>
                    <a:pt x="6754" y="44831"/>
                  </a:cubicBezTo>
                  <a:cubicBezTo>
                    <a:pt x="45134" y="41665"/>
                    <a:pt x="87914" y="37067"/>
                    <a:pt x="139140" y="30619"/>
                  </a:cubicBezTo>
                  <a:cubicBezTo>
                    <a:pt x="146151" y="29926"/>
                    <a:pt x="146543" y="19156"/>
                    <a:pt x="139514" y="18044"/>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02" name="Freeform: Shape 101">
              <a:extLst>
                <a:ext uri="{FF2B5EF4-FFF2-40B4-BE49-F238E27FC236}">
                  <a16:creationId xmlns:a16="http://schemas.microsoft.com/office/drawing/2014/main" id="{9FCCA74C-598B-5ADF-846A-B6540B6FFE5A}"/>
                </a:ext>
              </a:extLst>
            </p:cNvPr>
            <p:cNvSpPr/>
            <p:nvPr/>
          </p:nvSpPr>
          <p:spPr>
            <a:xfrm>
              <a:off x="6230547" y="3540371"/>
              <a:ext cx="324961" cy="489005"/>
            </a:xfrm>
            <a:custGeom>
              <a:avLst/>
              <a:gdLst>
                <a:gd name="connsiteX0" fmla="*/ 324016 w 324961"/>
                <a:gd name="connsiteY0" fmla="*/ 437883 h 489005"/>
                <a:gd name="connsiteX1" fmla="*/ 309120 w 324961"/>
                <a:gd name="connsiteY1" fmla="*/ 380360 h 489005"/>
                <a:gd name="connsiteX2" fmla="*/ 78425 w 324961"/>
                <a:gd name="connsiteY2" fmla="*/ 30020 h 489005"/>
                <a:gd name="connsiteX3" fmla="*/ 38380 w 324961"/>
                <a:gd name="connsiteY3" fmla="*/ 3509 h 489005"/>
                <a:gd name="connsiteX4" fmla="*/ 125 w 324961"/>
                <a:gd name="connsiteY4" fmla="*/ 4220 h 489005"/>
                <a:gd name="connsiteX5" fmla="*/ 36438 w 324961"/>
                <a:gd name="connsiteY5" fmla="*/ 46455 h 489005"/>
                <a:gd name="connsiteX6" fmla="*/ 46059 w 324961"/>
                <a:gd name="connsiteY6" fmla="*/ 48127 h 489005"/>
                <a:gd name="connsiteX7" fmla="*/ 57881 w 324961"/>
                <a:gd name="connsiteY7" fmla="*/ 57537 h 489005"/>
                <a:gd name="connsiteX8" fmla="*/ 111370 w 324961"/>
                <a:gd name="connsiteY8" fmla="*/ 427238 h 489005"/>
                <a:gd name="connsiteX9" fmla="*/ 119949 w 324961"/>
                <a:gd name="connsiteY9" fmla="*/ 433223 h 489005"/>
                <a:gd name="connsiteX10" fmla="*/ 247791 w 324961"/>
                <a:gd name="connsiteY10" fmla="*/ 449782 h 489005"/>
                <a:gd name="connsiteX11" fmla="*/ 260558 w 324961"/>
                <a:gd name="connsiteY11" fmla="*/ 455377 h 489005"/>
                <a:gd name="connsiteX12" fmla="*/ 306020 w 324961"/>
                <a:gd name="connsiteY12" fmla="*/ 487028 h 489005"/>
                <a:gd name="connsiteX13" fmla="*/ 314768 w 324961"/>
                <a:gd name="connsiteY13" fmla="*/ 485232 h 489005"/>
                <a:gd name="connsiteX14" fmla="*/ 324016 w 324961"/>
                <a:gd name="connsiteY14" fmla="*/ 437883 h 4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4961" h="489005">
                  <a:moveTo>
                    <a:pt x="324016" y="437883"/>
                  </a:moveTo>
                  <a:cubicBezTo>
                    <a:pt x="312657" y="425059"/>
                    <a:pt x="312657" y="398725"/>
                    <a:pt x="309120" y="380360"/>
                  </a:cubicBezTo>
                  <a:cubicBezTo>
                    <a:pt x="292416" y="180177"/>
                    <a:pt x="286411" y="118839"/>
                    <a:pt x="78425" y="30020"/>
                  </a:cubicBezTo>
                  <a:cubicBezTo>
                    <a:pt x="73338" y="28117"/>
                    <a:pt x="41079" y="4398"/>
                    <a:pt x="38380" y="3509"/>
                  </a:cubicBezTo>
                  <a:cubicBezTo>
                    <a:pt x="29800" y="850"/>
                    <a:pt x="5176" y="-3170"/>
                    <a:pt x="125" y="4220"/>
                  </a:cubicBezTo>
                  <a:cubicBezTo>
                    <a:pt x="-2120" y="17649"/>
                    <a:pt x="26477" y="38709"/>
                    <a:pt x="36438" y="46455"/>
                  </a:cubicBezTo>
                  <a:cubicBezTo>
                    <a:pt x="37979" y="47514"/>
                    <a:pt x="41578" y="48038"/>
                    <a:pt x="46059" y="48127"/>
                  </a:cubicBezTo>
                  <a:cubicBezTo>
                    <a:pt x="51672" y="48234"/>
                    <a:pt x="56518" y="52094"/>
                    <a:pt x="57881" y="57537"/>
                  </a:cubicBezTo>
                  <a:cubicBezTo>
                    <a:pt x="85704" y="168269"/>
                    <a:pt x="111504" y="295766"/>
                    <a:pt x="111370" y="427238"/>
                  </a:cubicBezTo>
                  <a:cubicBezTo>
                    <a:pt x="111254" y="431515"/>
                    <a:pt x="115940" y="434833"/>
                    <a:pt x="119949" y="433223"/>
                  </a:cubicBezTo>
                  <a:cubicBezTo>
                    <a:pt x="161126" y="416966"/>
                    <a:pt x="195577" y="427753"/>
                    <a:pt x="247791" y="449782"/>
                  </a:cubicBezTo>
                  <a:cubicBezTo>
                    <a:pt x="249680" y="450574"/>
                    <a:pt x="257698" y="448502"/>
                    <a:pt x="260558" y="455377"/>
                  </a:cubicBezTo>
                  <a:cubicBezTo>
                    <a:pt x="264362" y="464519"/>
                    <a:pt x="275908" y="462705"/>
                    <a:pt x="306020" y="487028"/>
                  </a:cubicBezTo>
                  <a:cubicBezTo>
                    <a:pt x="309423" y="490088"/>
                    <a:pt x="313753" y="489679"/>
                    <a:pt x="314768" y="485232"/>
                  </a:cubicBezTo>
                  <a:cubicBezTo>
                    <a:pt x="316559" y="472087"/>
                    <a:pt x="328336" y="446661"/>
                    <a:pt x="324016" y="437883"/>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3" name="Freeform: Shape 102">
              <a:extLst>
                <a:ext uri="{FF2B5EF4-FFF2-40B4-BE49-F238E27FC236}">
                  <a16:creationId xmlns:a16="http://schemas.microsoft.com/office/drawing/2014/main" id="{9C284389-4855-229B-E100-3BF551186EC7}"/>
                </a:ext>
              </a:extLst>
            </p:cNvPr>
            <p:cNvSpPr/>
            <p:nvPr/>
          </p:nvSpPr>
          <p:spPr>
            <a:xfrm>
              <a:off x="5565150" y="3493036"/>
              <a:ext cx="438135" cy="633267"/>
            </a:xfrm>
            <a:custGeom>
              <a:avLst/>
              <a:gdLst>
                <a:gd name="connsiteX0" fmla="*/ 204301 w 438135"/>
                <a:gd name="connsiteY0" fmla="*/ 607894 h 633267"/>
                <a:gd name="connsiteX1" fmla="*/ 246511 w 438135"/>
                <a:gd name="connsiteY1" fmla="*/ 625032 h 633267"/>
                <a:gd name="connsiteX2" fmla="*/ 272846 w 438135"/>
                <a:gd name="connsiteY2" fmla="*/ 630208 h 633267"/>
                <a:gd name="connsiteX3" fmla="*/ 303590 w 438135"/>
                <a:gd name="connsiteY3" fmla="*/ 633267 h 633267"/>
                <a:gd name="connsiteX4" fmla="*/ 414319 w 438135"/>
                <a:gd name="connsiteY4" fmla="*/ 607103 h 633267"/>
                <a:gd name="connsiteX5" fmla="*/ 437758 w 438135"/>
                <a:gd name="connsiteY5" fmla="*/ 595995 h 633267"/>
                <a:gd name="connsiteX6" fmla="*/ 434150 w 438135"/>
                <a:gd name="connsiteY6" fmla="*/ 537583 h 633267"/>
                <a:gd name="connsiteX7" fmla="*/ 432466 w 438135"/>
                <a:gd name="connsiteY7" fmla="*/ 456786 h 633267"/>
                <a:gd name="connsiteX8" fmla="*/ 413517 w 438135"/>
                <a:gd name="connsiteY8" fmla="*/ 227139 h 633267"/>
                <a:gd name="connsiteX9" fmla="*/ 384091 w 438135"/>
                <a:gd name="connsiteY9" fmla="*/ 64931 h 633267"/>
                <a:gd name="connsiteX10" fmla="*/ 371654 w 438135"/>
                <a:gd name="connsiteY10" fmla="*/ 5122 h 633267"/>
                <a:gd name="connsiteX11" fmla="*/ 367645 w 438135"/>
                <a:gd name="connsiteY11" fmla="*/ 409 h 633267"/>
                <a:gd name="connsiteX12" fmla="*/ 361516 w 438135"/>
                <a:gd name="connsiteY12" fmla="*/ 1307 h 633267"/>
                <a:gd name="connsiteX13" fmla="*/ 295973 w 438135"/>
                <a:gd name="connsiteY13" fmla="*/ 31216 h 633267"/>
                <a:gd name="connsiteX14" fmla="*/ 246066 w 438135"/>
                <a:gd name="connsiteY14" fmla="*/ 47695 h 633267"/>
                <a:gd name="connsiteX15" fmla="*/ 106553 w 438135"/>
                <a:gd name="connsiteY15" fmla="*/ 117420 h 633267"/>
                <a:gd name="connsiteX16" fmla="*/ 106268 w 438135"/>
                <a:gd name="connsiteY16" fmla="*/ 117722 h 633267"/>
                <a:gd name="connsiteX17" fmla="*/ 12386 w 438135"/>
                <a:gd name="connsiteY17" fmla="*/ 398231 h 633267"/>
                <a:gd name="connsiteX18" fmla="*/ 10792 w 438135"/>
                <a:gd name="connsiteY18" fmla="*/ 409882 h 633267"/>
                <a:gd name="connsiteX19" fmla="*/ 10774 w 438135"/>
                <a:gd name="connsiteY19" fmla="*/ 410059 h 633267"/>
                <a:gd name="connsiteX20" fmla="*/ 529 w 438135"/>
                <a:gd name="connsiteY20" fmla="*/ 618753 h 633267"/>
                <a:gd name="connsiteX21" fmla="*/ 3709 w 438135"/>
                <a:gd name="connsiteY21" fmla="*/ 624063 h 633267"/>
                <a:gd name="connsiteX22" fmla="*/ 9901 w 438135"/>
                <a:gd name="connsiteY22" fmla="*/ 624178 h 633267"/>
                <a:gd name="connsiteX23" fmla="*/ 105671 w 438135"/>
                <a:gd name="connsiteY23" fmla="*/ 603545 h 633267"/>
                <a:gd name="connsiteX24" fmla="*/ 204301 w 438135"/>
                <a:gd name="connsiteY24" fmla="*/ 607894 h 6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8135" h="633267">
                  <a:moveTo>
                    <a:pt x="204301" y="607894"/>
                  </a:moveTo>
                  <a:cubicBezTo>
                    <a:pt x="206288" y="608419"/>
                    <a:pt x="238235" y="623129"/>
                    <a:pt x="246511" y="625032"/>
                  </a:cubicBezTo>
                  <a:cubicBezTo>
                    <a:pt x="255046" y="626989"/>
                    <a:pt x="263875" y="629016"/>
                    <a:pt x="272846" y="630208"/>
                  </a:cubicBezTo>
                  <a:cubicBezTo>
                    <a:pt x="283207" y="632334"/>
                    <a:pt x="293443" y="633267"/>
                    <a:pt x="303590" y="633267"/>
                  </a:cubicBezTo>
                  <a:cubicBezTo>
                    <a:pt x="341774" y="633267"/>
                    <a:pt x="378523" y="620016"/>
                    <a:pt x="414319" y="607103"/>
                  </a:cubicBezTo>
                  <a:cubicBezTo>
                    <a:pt x="420350" y="604924"/>
                    <a:pt x="434230" y="601375"/>
                    <a:pt x="437758" y="595995"/>
                  </a:cubicBezTo>
                  <a:cubicBezTo>
                    <a:pt x="439557" y="593256"/>
                    <a:pt x="434346" y="554276"/>
                    <a:pt x="434150" y="537583"/>
                  </a:cubicBezTo>
                  <a:cubicBezTo>
                    <a:pt x="433838" y="511116"/>
                    <a:pt x="433508" y="483742"/>
                    <a:pt x="432466" y="456786"/>
                  </a:cubicBezTo>
                  <a:cubicBezTo>
                    <a:pt x="429303" y="374681"/>
                    <a:pt x="423103" y="299549"/>
                    <a:pt x="413517" y="227139"/>
                  </a:cubicBezTo>
                  <a:cubicBezTo>
                    <a:pt x="406897" y="172399"/>
                    <a:pt x="395307" y="117767"/>
                    <a:pt x="384091" y="64931"/>
                  </a:cubicBezTo>
                  <a:cubicBezTo>
                    <a:pt x="379930" y="45339"/>
                    <a:pt x="375636" y="25079"/>
                    <a:pt x="371654" y="5122"/>
                  </a:cubicBezTo>
                  <a:cubicBezTo>
                    <a:pt x="371226" y="2961"/>
                    <a:pt x="369712" y="1183"/>
                    <a:pt x="367645" y="409"/>
                  </a:cubicBezTo>
                  <a:cubicBezTo>
                    <a:pt x="365578" y="-365"/>
                    <a:pt x="363262" y="-27"/>
                    <a:pt x="361516" y="1307"/>
                  </a:cubicBezTo>
                  <a:cubicBezTo>
                    <a:pt x="342674" y="15697"/>
                    <a:pt x="318931" y="23585"/>
                    <a:pt x="295973" y="31216"/>
                  </a:cubicBezTo>
                  <a:cubicBezTo>
                    <a:pt x="295973" y="31216"/>
                    <a:pt x="261282" y="42937"/>
                    <a:pt x="246066" y="47695"/>
                  </a:cubicBezTo>
                  <a:cubicBezTo>
                    <a:pt x="196239" y="63277"/>
                    <a:pt x="144728" y="79383"/>
                    <a:pt x="106553" y="117420"/>
                  </a:cubicBezTo>
                  <a:cubicBezTo>
                    <a:pt x="106455" y="117518"/>
                    <a:pt x="106357" y="117625"/>
                    <a:pt x="106268" y="117722"/>
                  </a:cubicBezTo>
                  <a:cubicBezTo>
                    <a:pt x="40423" y="192579"/>
                    <a:pt x="25527" y="301835"/>
                    <a:pt x="12386" y="398231"/>
                  </a:cubicBezTo>
                  <a:lnTo>
                    <a:pt x="10792" y="409882"/>
                  </a:lnTo>
                  <a:cubicBezTo>
                    <a:pt x="10783" y="409944"/>
                    <a:pt x="10774" y="410006"/>
                    <a:pt x="10774" y="410059"/>
                  </a:cubicBezTo>
                  <a:cubicBezTo>
                    <a:pt x="1874" y="492235"/>
                    <a:pt x="-1387" y="558545"/>
                    <a:pt x="529" y="618753"/>
                  </a:cubicBezTo>
                  <a:cubicBezTo>
                    <a:pt x="600" y="620950"/>
                    <a:pt x="1803" y="622960"/>
                    <a:pt x="3709" y="624063"/>
                  </a:cubicBezTo>
                  <a:cubicBezTo>
                    <a:pt x="5616" y="625165"/>
                    <a:pt x="7959" y="625210"/>
                    <a:pt x="9901" y="624178"/>
                  </a:cubicBezTo>
                  <a:cubicBezTo>
                    <a:pt x="37349" y="609629"/>
                    <a:pt x="105671" y="603545"/>
                    <a:pt x="105671" y="603545"/>
                  </a:cubicBezTo>
                  <a:cubicBezTo>
                    <a:pt x="139525" y="600148"/>
                    <a:pt x="172229" y="599410"/>
                    <a:pt x="204301" y="607894"/>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4" name="Freeform: Shape 103">
              <a:extLst>
                <a:ext uri="{FF2B5EF4-FFF2-40B4-BE49-F238E27FC236}">
                  <a16:creationId xmlns:a16="http://schemas.microsoft.com/office/drawing/2014/main" id="{8FE3F0C8-B100-2EB9-29D9-455835CB894C}"/>
                </a:ext>
              </a:extLst>
            </p:cNvPr>
            <p:cNvSpPr/>
            <p:nvPr/>
          </p:nvSpPr>
          <p:spPr>
            <a:xfrm>
              <a:off x="6062885" y="3569887"/>
              <a:ext cx="1050323" cy="636955"/>
            </a:xfrm>
            <a:custGeom>
              <a:avLst/>
              <a:gdLst>
                <a:gd name="connsiteX0" fmla="*/ 1049203 w 1050323"/>
                <a:gd name="connsiteY0" fmla="*/ 32503 h 636955"/>
                <a:gd name="connsiteX1" fmla="*/ 953246 w 1050323"/>
                <a:gd name="connsiteY1" fmla="*/ 2559 h 636955"/>
                <a:gd name="connsiteX2" fmla="*/ 658460 w 1050323"/>
                <a:gd name="connsiteY2" fmla="*/ 9798 h 636955"/>
                <a:gd name="connsiteX3" fmla="*/ 578975 w 1050323"/>
                <a:gd name="connsiteY3" fmla="*/ 107155 h 636955"/>
                <a:gd name="connsiteX4" fmla="*/ 462082 w 1050323"/>
                <a:gd name="connsiteY4" fmla="*/ 549764 h 636955"/>
                <a:gd name="connsiteX5" fmla="*/ 446224 w 1050323"/>
                <a:gd name="connsiteY5" fmla="*/ 555883 h 636955"/>
                <a:gd name="connsiteX6" fmla="*/ 114334 w 1050323"/>
                <a:gd name="connsiteY6" fmla="*/ 594090 h 636955"/>
                <a:gd name="connsiteX7" fmla="*/ 5289 w 1050323"/>
                <a:gd name="connsiteY7" fmla="*/ 610044 h 636955"/>
                <a:gd name="connsiteX8" fmla="*/ 12933 w 1050323"/>
                <a:gd name="connsiteY8" fmla="*/ 635177 h 636955"/>
                <a:gd name="connsiteX9" fmla="*/ 30929 w 1050323"/>
                <a:gd name="connsiteY9" fmla="*/ 636956 h 636955"/>
                <a:gd name="connsiteX10" fmla="*/ 234577 w 1050323"/>
                <a:gd name="connsiteY10" fmla="*/ 617239 h 636955"/>
                <a:gd name="connsiteX11" fmla="*/ 347960 w 1050323"/>
                <a:gd name="connsiteY11" fmla="*/ 608337 h 636955"/>
                <a:gd name="connsiteX12" fmla="*/ 455026 w 1050323"/>
                <a:gd name="connsiteY12" fmla="*/ 597549 h 636955"/>
                <a:gd name="connsiteX13" fmla="*/ 489700 w 1050323"/>
                <a:gd name="connsiteY13" fmla="*/ 587855 h 636955"/>
                <a:gd name="connsiteX14" fmla="*/ 553942 w 1050323"/>
                <a:gd name="connsiteY14" fmla="*/ 580340 h 636955"/>
                <a:gd name="connsiteX15" fmla="*/ 662336 w 1050323"/>
                <a:gd name="connsiteY15" fmla="*/ 563736 h 636955"/>
                <a:gd name="connsiteX16" fmla="*/ 706844 w 1050323"/>
                <a:gd name="connsiteY16" fmla="*/ 545878 h 636955"/>
                <a:gd name="connsiteX17" fmla="*/ 754819 w 1050323"/>
                <a:gd name="connsiteY17" fmla="*/ 462769 h 636955"/>
                <a:gd name="connsiteX18" fmla="*/ 776075 w 1050323"/>
                <a:gd name="connsiteY18" fmla="*/ 429098 h 636955"/>
                <a:gd name="connsiteX19" fmla="*/ 792886 w 1050323"/>
                <a:gd name="connsiteY19" fmla="*/ 435377 h 636955"/>
                <a:gd name="connsiteX20" fmla="*/ 797447 w 1050323"/>
                <a:gd name="connsiteY20" fmla="*/ 429489 h 636955"/>
                <a:gd name="connsiteX21" fmla="*/ 826045 w 1050323"/>
                <a:gd name="connsiteY21" fmla="*/ 414895 h 636955"/>
                <a:gd name="connsiteX22" fmla="*/ 850268 w 1050323"/>
                <a:gd name="connsiteY22" fmla="*/ 418079 h 636955"/>
                <a:gd name="connsiteX23" fmla="*/ 883721 w 1050323"/>
                <a:gd name="connsiteY23" fmla="*/ 504906 h 636955"/>
                <a:gd name="connsiteX24" fmla="*/ 891088 w 1050323"/>
                <a:gd name="connsiteY24" fmla="*/ 496839 h 636955"/>
                <a:gd name="connsiteX25" fmla="*/ 919089 w 1050323"/>
                <a:gd name="connsiteY25" fmla="*/ 457201 h 636955"/>
                <a:gd name="connsiteX26" fmla="*/ 1049203 w 1050323"/>
                <a:gd name="connsiteY26" fmla="*/ 32503 h 63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50323" h="636955">
                  <a:moveTo>
                    <a:pt x="1049203" y="32503"/>
                  </a:moveTo>
                  <a:cubicBezTo>
                    <a:pt x="1060277" y="-11413"/>
                    <a:pt x="986467" y="1536"/>
                    <a:pt x="953246" y="2559"/>
                  </a:cubicBezTo>
                  <a:cubicBezTo>
                    <a:pt x="844094" y="6036"/>
                    <a:pt x="744351" y="5867"/>
                    <a:pt x="658460" y="9798"/>
                  </a:cubicBezTo>
                  <a:cubicBezTo>
                    <a:pt x="602156" y="16842"/>
                    <a:pt x="591528" y="61193"/>
                    <a:pt x="578975" y="107155"/>
                  </a:cubicBezTo>
                  <a:cubicBezTo>
                    <a:pt x="535304" y="254173"/>
                    <a:pt x="502163" y="403716"/>
                    <a:pt x="462082" y="549764"/>
                  </a:cubicBezTo>
                  <a:cubicBezTo>
                    <a:pt x="461672" y="551250"/>
                    <a:pt x="449191" y="554860"/>
                    <a:pt x="446224" y="555883"/>
                  </a:cubicBezTo>
                  <a:cubicBezTo>
                    <a:pt x="335764" y="576632"/>
                    <a:pt x="224679" y="575440"/>
                    <a:pt x="114334" y="594090"/>
                  </a:cubicBezTo>
                  <a:cubicBezTo>
                    <a:pt x="78859" y="596571"/>
                    <a:pt x="42279" y="604477"/>
                    <a:pt x="5289" y="610044"/>
                  </a:cubicBezTo>
                  <a:cubicBezTo>
                    <a:pt x="-7058" y="615114"/>
                    <a:pt x="5040" y="628712"/>
                    <a:pt x="12933" y="635177"/>
                  </a:cubicBezTo>
                  <a:cubicBezTo>
                    <a:pt x="18002" y="637836"/>
                    <a:pt x="24916" y="635889"/>
                    <a:pt x="30929" y="636956"/>
                  </a:cubicBezTo>
                  <a:cubicBezTo>
                    <a:pt x="99002" y="630615"/>
                    <a:pt x="167154" y="621117"/>
                    <a:pt x="234577" y="617239"/>
                  </a:cubicBezTo>
                  <a:cubicBezTo>
                    <a:pt x="271905" y="614509"/>
                    <a:pt x="310462" y="610783"/>
                    <a:pt x="347960" y="608337"/>
                  </a:cubicBezTo>
                  <a:cubicBezTo>
                    <a:pt x="383266" y="605909"/>
                    <a:pt x="419765" y="603392"/>
                    <a:pt x="455026" y="597549"/>
                  </a:cubicBezTo>
                  <a:cubicBezTo>
                    <a:pt x="460568" y="596464"/>
                    <a:pt x="481031" y="586130"/>
                    <a:pt x="489700" y="587855"/>
                  </a:cubicBezTo>
                  <a:cubicBezTo>
                    <a:pt x="511224" y="586299"/>
                    <a:pt x="532409" y="583106"/>
                    <a:pt x="553942" y="580340"/>
                  </a:cubicBezTo>
                  <a:cubicBezTo>
                    <a:pt x="590263" y="576240"/>
                    <a:pt x="626059" y="566484"/>
                    <a:pt x="662336" y="563736"/>
                  </a:cubicBezTo>
                  <a:cubicBezTo>
                    <a:pt x="676527" y="557057"/>
                    <a:pt x="692118" y="552424"/>
                    <a:pt x="706844" y="545878"/>
                  </a:cubicBezTo>
                  <a:cubicBezTo>
                    <a:pt x="741322" y="532689"/>
                    <a:pt x="740306" y="467295"/>
                    <a:pt x="754819" y="462769"/>
                  </a:cubicBezTo>
                  <a:cubicBezTo>
                    <a:pt x="776699" y="481054"/>
                    <a:pt x="766311" y="435261"/>
                    <a:pt x="776075" y="429098"/>
                  </a:cubicBezTo>
                  <a:cubicBezTo>
                    <a:pt x="782596" y="424625"/>
                    <a:pt x="786098" y="437840"/>
                    <a:pt x="792886" y="435377"/>
                  </a:cubicBezTo>
                  <a:cubicBezTo>
                    <a:pt x="795514" y="434594"/>
                    <a:pt x="797358" y="432220"/>
                    <a:pt x="797447" y="429489"/>
                  </a:cubicBezTo>
                  <a:cubicBezTo>
                    <a:pt x="798427" y="404926"/>
                    <a:pt x="815541" y="393809"/>
                    <a:pt x="826045" y="414895"/>
                  </a:cubicBezTo>
                  <a:cubicBezTo>
                    <a:pt x="831675" y="422979"/>
                    <a:pt x="842838" y="411018"/>
                    <a:pt x="850268" y="418079"/>
                  </a:cubicBezTo>
                  <a:cubicBezTo>
                    <a:pt x="880033" y="438667"/>
                    <a:pt x="865066" y="516636"/>
                    <a:pt x="883721" y="504906"/>
                  </a:cubicBezTo>
                  <a:cubicBezTo>
                    <a:pt x="887017" y="502976"/>
                    <a:pt x="890269" y="500664"/>
                    <a:pt x="891088" y="496839"/>
                  </a:cubicBezTo>
                  <a:cubicBezTo>
                    <a:pt x="903231" y="482726"/>
                    <a:pt x="912131" y="470132"/>
                    <a:pt x="919089" y="457201"/>
                  </a:cubicBezTo>
                  <a:cubicBezTo>
                    <a:pt x="972212" y="327641"/>
                    <a:pt x="1030806" y="184857"/>
                    <a:pt x="1049203" y="3250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05" name="Freeform: Shape 104">
              <a:extLst>
                <a:ext uri="{FF2B5EF4-FFF2-40B4-BE49-F238E27FC236}">
                  <a16:creationId xmlns:a16="http://schemas.microsoft.com/office/drawing/2014/main" id="{2DFFA06E-7A97-3DF6-C348-347D7134254C}"/>
                </a:ext>
              </a:extLst>
            </p:cNvPr>
            <p:cNvSpPr/>
            <p:nvPr/>
          </p:nvSpPr>
          <p:spPr>
            <a:xfrm>
              <a:off x="5546364" y="3368067"/>
              <a:ext cx="1576758" cy="1077197"/>
            </a:xfrm>
            <a:custGeom>
              <a:avLst/>
              <a:gdLst>
                <a:gd name="connsiteX0" fmla="*/ 1575657 w 1576758"/>
                <a:gd name="connsiteY0" fmla="*/ 220903 h 1077197"/>
                <a:gd name="connsiteX1" fmla="*/ 1567675 w 1576758"/>
                <a:gd name="connsiteY1" fmla="*/ 203649 h 1077197"/>
                <a:gd name="connsiteX2" fmla="*/ 1543220 w 1576758"/>
                <a:gd name="connsiteY2" fmla="*/ 195227 h 1077197"/>
                <a:gd name="connsiteX3" fmla="*/ 1180745 w 1576758"/>
                <a:gd name="connsiteY3" fmla="*/ 200777 h 1077197"/>
                <a:gd name="connsiteX4" fmla="*/ 1156611 w 1576758"/>
                <a:gd name="connsiteY4" fmla="*/ 205339 h 1077197"/>
                <a:gd name="connsiteX5" fmla="*/ 1088422 w 1576758"/>
                <a:gd name="connsiteY5" fmla="*/ 294443 h 1077197"/>
                <a:gd name="connsiteX6" fmla="*/ 1014889 w 1576758"/>
                <a:gd name="connsiteY6" fmla="*/ 568877 h 1077197"/>
                <a:gd name="connsiteX7" fmla="*/ 843972 w 1576758"/>
                <a:gd name="connsiteY7" fmla="*/ 221232 h 1077197"/>
                <a:gd name="connsiteX8" fmla="*/ 740959 w 1576758"/>
                <a:gd name="connsiteY8" fmla="*/ 175395 h 1077197"/>
                <a:gd name="connsiteX9" fmla="*/ 682134 w 1576758"/>
                <a:gd name="connsiteY9" fmla="*/ 166066 h 1077197"/>
                <a:gd name="connsiteX10" fmla="*/ 668378 w 1576758"/>
                <a:gd name="connsiteY10" fmla="*/ 111860 h 1077197"/>
                <a:gd name="connsiteX11" fmla="*/ 660574 w 1576758"/>
                <a:gd name="connsiteY11" fmla="*/ 109752 h 1077197"/>
                <a:gd name="connsiteX12" fmla="*/ 712851 w 1576758"/>
                <a:gd name="connsiteY12" fmla="*/ 226043 h 1077197"/>
                <a:gd name="connsiteX13" fmla="*/ 612386 w 1576758"/>
                <a:gd name="connsiteY13" fmla="*/ 250927 h 1077197"/>
                <a:gd name="connsiteX14" fmla="*/ 413122 w 1576758"/>
                <a:gd name="connsiteY14" fmla="*/ 188166 h 1077197"/>
                <a:gd name="connsiteX15" fmla="*/ 406208 w 1576758"/>
                <a:gd name="connsiteY15" fmla="*/ 161930 h 1077197"/>
                <a:gd name="connsiteX16" fmla="*/ 447626 w 1576758"/>
                <a:gd name="connsiteY16" fmla="*/ 56987 h 1077197"/>
                <a:gd name="connsiteX17" fmla="*/ 431020 w 1576758"/>
                <a:gd name="connsiteY17" fmla="*/ 1581 h 1077197"/>
                <a:gd name="connsiteX18" fmla="*/ 421942 w 1576758"/>
                <a:gd name="connsiteY18" fmla="*/ 5334 h 1077197"/>
                <a:gd name="connsiteX19" fmla="*/ 427287 w 1576758"/>
                <a:gd name="connsiteY19" fmla="*/ 32344 h 1077197"/>
                <a:gd name="connsiteX20" fmla="*/ 400534 w 1576758"/>
                <a:gd name="connsiteY20" fmla="*/ 143209 h 1077197"/>
                <a:gd name="connsiteX21" fmla="*/ 392560 w 1576758"/>
                <a:gd name="connsiteY21" fmla="*/ 120416 h 1077197"/>
                <a:gd name="connsiteX22" fmla="*/ 383999 w 1576758"/>
                <a:gd name="connsiteY22" fmla="*/ 118379 h 1077197"/>
                <a:gd name="connsiteX23" fmla="*/ 133642 w 1576758"/>
                <a:gd name="connsiteY23" fmla="*/ 210488 h 1077197"/>
                <a:gd name="connsiteX24" fmla="*/ 0 w 1576758"/>
                <a:gd name="connsiteY24" fmla="*/ 687213 h 1077197"/>
                <a:gd name="connsiteX25" fmla="*/ 38299 w 1576758"/>
                <a:gd name="connsiteY25" fmla="*/ 941504 h 1077197"/>
                <a:gd name="connsiteX26" fmla="*/ 120546 w 1576758"/>
                <a:gd name="connsiteY26" fmla="*/ 988568 h 1077197"/>
                <a:gd name="connsiteX27" fmla="*/ 109481 w 1576758"/>
                <a:gd name="connsiteY27" fmla="*/ 1045682 h 1077197"/>
                <a:gd name="connsiteX28" fmla="*/ 109561 w 1576758"/>
                <a:gd name="connsiteY28" fmla="*/ 1071766 h 1077197"/>
                <a:gd name="connsiteX29" fmla="*/ 128849 w 1576758"/>
                <a:gd name="connsiteY29" fmla="*/ 1071766 h 1077197"/>
                <a:gd name="connsiteX30" fmla="*/ 133633 w 1576758"/>
                <a:gd name="connsiteY30" fmla="*/ 1047603 h 1077197"/>
                <a:gd name="connsiteX31" fmla="*/ 139139 w 1576758"/>
                <a:gd name="connsiteY31" fmla="*/ 988924 h 1077197"/>
                <a:gd name="connsiteX32" fmla="*/ 325263 w 1576758"/>
                <a:gd name="connsiteY32" fmla="*/ 947445 h 1077197"/>
                <a:gd name="connsiteX33" fmla="*/ 466210 w 1576758"/>
                <a:gd name="connsiteY33" fmla="*/ 886934 h 1077197"/>
                <a:gd name="connsiteX34" fmla="*/ 474130 w 1576758"/>
                <a:gd name="connsiteY34" fmla="*/ 1050564 h 1077197"/>
                <a:gd name="connsiteX35" fmla="*/ 491146 w 1576758"/>
                <a:gd name="connsiteY35" fmla="*/ 1050564 h 1077197"/>
                <a:gd name="connsiteX36" fmla="*/ 476856 w 1576758"/>
                <a:gd name="connsiteY36" fmla="*/ 881295 h 1077197"/>
                <a:gd name="connsiteX37" fmla="*/ 533124 w 1576758"/>
                <a:gd name="connsiteY37" fmla="*/ 849688 h 1077197"/>
                <a:gd name="connsiteX38" fmla="*/ 536376 w 1576758"/>
                <a:gd name="connsiteY38" fmla="*/ 845899 h 1077197"/>
                <a:gd name="connsiteX39" fmla="*/ 625375 w 1576758"/>
                <a:gd name="connsiteY39" fmla="*/ 837673 h 1077197"/>
                <a:gd name="connsiteX40" fmla="*/ 783597 w 1576758"/>
                <a:gd name="connsiteY40" fmla="*/ 823861 h 1077197"/>
                <a:gd name="connsiteX41" fmla="*/ 782741 w 1576758"/>
                <a:gd name="connsiteY41" fmla="*/ 869663 h 1077197"/>
                <a:gd name="connsiteX42" fmla="*/ 781022 w 1576758"/>
                <a:gd name="connsiteY42" fmla="*/ 921725 h 1077197"/>
                <a:gd name="connsiteX43" fmla="*/ 779873 w 1576758"/>
                <a:gd name="connsiteY43" fmla="*/ 972409 h 1077197"/>
                <a:gd name="connsiteX44" fmla="*/ 780782 w 1576758"/>
                <a:gd name="connsiteY44" fmla="*/ 1024507 h 1077197"/>
                <a:gd name="connsiteX45" fmla="*/ 797192 w 1576758"/>
                <a:gd name="connsiteY45" fmla="*/ 1024507 h 1077197"/>
                <a:gd name="connsiteX46" fmla="*/ 798947 w 1576758"/>
                <a:gd name="connsiteY46" fmla="*/ 973787 h 1077197"/>
                <a:gd name="connsiteX47" fmla="*/ 800087 w 1576758"/>
                <a:gd name="connsiteY47" fmla="*/ 871041 h 1077197"/>
                <a:gd name="connsiteX48" fmla="*/ 799891 w 1576758"/>
                <a:gd name="connsiteY48" fmla="*/ 822679 h 1077197"/>
                <a:gd name="connsiteX49" fmla="*/ 909051 w 1576758"/>
                <a:gd name="connsiteY49" fmla="*/ 814328 h 1077197"/>
                <a:gd name="connsiteX50" fmla="*/ 904552 w 1576758"/>
                <a:gd name="connsiteY50" fmla="*/ 861436 h 1077197"/>
                <a:gd name="connsiteX51" fmla="*/ 905550 w 1576758"/>
                <a:gd name="connsiteY51" fmla="*/ 912680 h 1077197"/>
                <a:gd name="connsiteX52" fmla="*/ 910566 w 1576758"/>
                <a:gd name="connsiteY52" fmla="*/ 989707 h 1077197"/>
                <a:gd name="connsiteX53" fmla="*/ 916250 w 1576758"/>
                <a:gd name="connsiteY53" fmla="*/ 1015124 h 1077197"/>
                <a:gd name="connsiteX54" fmla="*/ 935208 w 1576758"/>
                <a:gd name="connsiteY54" fmla="*/ 1012652 h 1077197"/>
                <a:gd name="connsiteX55" fmla="*/ 935992 w 1576758"/>
                <a:gd name="connsiteY55" fmla="*/ 988435 h 1077197"/>
                <a:gd name="connsiteX56" fmla="*/ 934041 w 1576758"/>
                <a:gd name="connsiteY56" fmla="*/ 963933 h 1077197"/>
                <a:gd name="connsiteX57" fmla="*/ 930504 w 1576758"/>
                <a:gd name="connsiteY57" fmla="*/ 892821 h 1077197"/>
                <a:gd name="connsiteX58" fmla="*/ 987405 w 1576758"/>
                <a:gd name="connsiteY58" fmla="*/ 899740 h 1077197"/>
                <a:gd name="connsiteX59" fmla="*/ 1158589 w 1576758"/>
                <a:gd name="connsiteY59" fmla="*/ 859622 h 1077197"/>
                <a:gd name="connsiteX60" fmla="*/ 1202999 w 1576758"/>
                <a:gd name="connsiteY60" fmla="*/ 862397 h 1077197"/>
                <a:gd name="connsiteX61" fmla="*/ 1252372 w 1576758"/>
                <a:gd name="connsiteY61" fmla="*/ 859337 h 1077197"/>
                <a:gd name="connsiteX62" fmla="*/ 1396491 w 1576758"/>
                <a:gd name="connsiteY62" fmla="*/ 720502 h 1077197"/>
                <a:gd name="connsiteX63" fmla="*/ 1423048 w 1576758"/>
                <a:gd name="connsiteY63" fmla="*/ 696071 h 1077197"/>
                <a:gd name="connsiteX64" fmla="*/ 1463370 w 1576758"/>
                <a:gd name="connsiteY64" fmla="*/ 620032 h 1077197"/>
                <a:gd name="connsiteX65" fmla="*/ 1500671 w 1576758"/>
                <a:gd name="connsiteY65" fmla="*/ 521893 h 1077197"/>
                <a:gd name="connsiteX66" fmla="*/ 1571924 w 1576758"/>
                <a:gd name="connsiteY66" fmla="*/ 272111 h 1077197"/>
                <a:gd name="connsiteX67" fmla="*/ 1575657 w 1576758"/>
                <a:gd name="connsiteY67" fmla="*/ 220903 h 1077197"/>
                <a:gd name="connsiteX68" fmla="*/ 759276 w 1576758"/>
                <a:gd name="connsiteY68" fmla="*/ 207749 h 1077197"/>
                <a:gd name="connsiteX69" fmla="*/ 812417 w 1576758"/>
                <a:gd name="connsiteY69" fmla="*/ 234439 h 1077197"/>
                <a:gd name="connsiteX70" fmla="*/ 986977 w 1576758"/>
                <a:gd name="connsiteY70" fmla="*/ 553571 h 1077197"/>
                <a:gd name="connsiteX71" fmla="*/ 1003405 w 1576758"/>
                <a:gd name="connsiteY71" fmla="*/ 614385 h 1077197"/>
                <a:gd name="connsiteX72" fmla="*/ 992759 w 1576758"/>
                <a:gd name="connsiteY72" fmla="*/ 655944 h 1077197"/>
                <a:gd name="connsiteX73" fmla="*/ 950148 w 1576758"/>
                <a:gd name="connsiteY73" fmla="*/ 626969 h 1077197"/>
                <a:gd name="connsiteX74" fmla="*/ 921310 w 1576758"/>
                <a:gd name="connsiteY74" fmla="*/ 423558 h 1077197"/>
                <a:gd name="connsiteX75" fmla="*/ 916820 w 1576758"/>
                <a:gd name="connsiteY75" fmla="*/ 424794 h 1077197"/>
                <a:gd name="connsiteX76" fmla="*/ 934504 w 1576758"/>
                <a:gd name="connsiteY76" fmla="*/ 618618 h 1077197"/>
                <a:gd name="connsiteX77" fmla="*/ 801931 w 1576758"/>
                <a:gd name="connsiteY77" fmla="*/ 599542 h 1077197"/>
                <a:gd name="connsiteX78" fmla="*/ 739248 w 1576758"/>
                <a:gd name="connsiteY78" fmla="*/ 193173 h 1077197"/>
                <a:gd name="connsiteX79" fmla="*/ 759276 w 1576758"/>
                <a:gd name="connsiteY79" fmla="*/ 207749 h 1077197"/>
                <a:gd name="connsiteX80" fmla="*/ 703934 w 1576758"/>
                <a:gd name="connsiteY80" fmla="*/ 196561 h 1077197"/>
                <a:gd name="connsiteX81" fmla="*/ 690000 w 1576758"/>
                <a:gd name="connsiteY81" fmla="*/ 179388 h 1077197"/>
                <a:gd name="connsiteX82" fmla="*/ 720442 w 1576758"/>
                <a:gd name="connsiteY82" fmla="*/ 181807 h 1077197"/>
                <a:gd name="connsiteX83" fmla="*/ 726696 w 1576758"/>
                <a:gd name="connsiteY83" fmla="*/ 212836 h 1077197"/>
                <a:gd name="connsiteX84" fmla="*/ 724522 w 1576758"/>
                <a:gd name="connsiteY84" fmla="*/ 213708 h 1077197"/>
                <a:gd name="connsiteX85" fmla="*/ 703934 w 1576758"/>
                <a:gd name="connsiteY85" fmla="*/ 196561 h 1077197"/>
                <a:gd name="connsiteX86" fmla="*/ 448356 w 1576758"/>
                <a:gd name="connsiteY86" fmla="*/ 225919 h 1077197"/>
                <a:gd name="connsiteX87" fmla="*/ 732255 w 1576758"/>
                <a:gd name="connsiteY87" fmla="*/ 236102 h 1077197"/>
                <a:gd name="connsiteX88" fmla="*/ 777868 w 1576758"/>
                <a:gd name="connsiteY88" fmla="*/ 511888 h 1077197"/>
                <a:gd name="connsiteX89" fmla="*/ 782946 w 1576758"/>
                <a:gd name="connsiteY89" fmla="*/ 607768 h 1077197"/>
                <a:gd name="connsiteX90" fmla="*/ 466878 w 1576758"/>
                <a:gd name="connsiteY90" fmla="*/ 713565 h 1077197"/>
                <a:gd name="connsiteX91" fmla="*/ 418280 w 1576758"/>
                <a:gd name="connsiteY91" fmla="*/ 210560 h 1077197"/>
                <a:gd name="connsiteX92" fmla="*/ 448356 w 1576758"/>
                <a:gd name="connsiteY92" fmla="*/ 225919 h 1077197"/>
                <a:gd name="connsiteX93" fmla="*/ 35903 w 1576758"/>
                <a:gd name="connsiteY93" fmla="*/ 535731 h 1077197"/>
                <a:gd name="connsiteX94" fmla="*/ 129847 w 1576758"/>
                <a:gd name="connsiteY94" fmla="*/ 246916 h 1077197"/>
                <a:gd name="connsiteX95" fmla="*/ 312808 w 1576758"/>
                <a:gd name="connsiteY95" fmla="*/ 163558 h 1077197"/>
                <a:gd name="connsiteX96" fmla="*/ 384177 w 1576758"/>
                <a:gd name="connsiteY96" fmla="*/ 131354 h 1077197"/>
                <a:gd name="connsiteX97" fmla="*/ 425950 w 1576758"/>
                <a:gd name="connsiteY97" fmla="*/ 352891 h 1077197"/>
                <a:gd name="connsiteX98" fmla="*/ 444864 w 1576758"/>
                <a:gd name="connsiteY98" fmla="*/ 582013 h 1077197"/>
                <a:gd name="connsiteX99" fmla="*/ 447323 w 1576758"/>
                <a:gd name="connsiteY99" fmla="*/ 713618 h 1077197"/>
                <a:gd name="connsiteX100" fmla="*/ 449345 w 1576758"/>
                <a:gd name="connsiteY100" fmla="*/ 719514 h 1077197"/>
                <a:gd name="connsiteX101" fmla="*/ 292692 w 1576758"/>
                <a:gd name="connsiteY101" fmla="*/ 748907 h 1077197"/>
                <a:gd name="connsiteX102" fmla="*/ 240896 w 1576758"/>
                <a:gd name="connsiteY102" fmla="*/ 738724 h 1077197"/>
                <a:gd name="connsiteX103" fmla="*/ 240121 w 1576758"/>
                <a:gd name="connsiteY103" fmla="*/ 713440 h 1077197"/>
                <a:gd name="connsiteX104" fmla="*/ 239114 w 1576758"/>
                <a:gd name="connsiteY104" fmla="*/ 684261 h 1077197"/>
                <a:gd name="connsiteX105" fmla="*/ 239987 w 1576758"/>
                <a:gd name="connsiteY105" fmla="*/ 518344 h 1077197"/>
                <a:gd name="connsiteX106" fmla="*/ 231140 w 1576758"/>
                <a:gd name="connsiteY106" fmla="*/ 515908 h 1077197"/>
                <a:gd name="connsiteX107" fmla="*/ 222677 w 1576758"/>
                <a:gd name="connsiteY107" fmla="*/ 626942 h 1077197"/>
                <a:gd name="connsiteX108" fmla="*/ 223995 w 1576758"/>
                <a:gd name="connsiteY108" fmla="*/ 724246 h 1077197"/>
                <a:gd name="connsiteX109" fmla="*/ 119192 w 1576758"/>
                <a:gd name="connsiteY109" fmla="*/ 722654 h 1077197"/>
                <a:gd name="connsiteX110" fmla="*/ 25675 w 1576758"/>
                <a:gd name="connsiteY110" fmla="*/ 743536 h 1077197"/>
                <a:gd name="connsiteX111" fmla="*/ 35903 w 1576758"/>
                <a:gd name="connsiteY111" fmla="*/ 535731 h 1077197"/>
                <a:gd name="connsiteX112" fmla="*/ 48215 w 1576758"/>
                <a:gd name="connsiteY112" fmla="*/ 903360 h 1077197"/>
                <a:gd name="connsiteX113" fmla="*/ 35039 w 1576758"/>
                <a:gd name="connsiteY113" fmla="*/ 846495 h 1077197"/>
                <a:gd name="connsiteX114" fmla="*/ 26522 w 1576758"/>
                <a:gd name="connsiteY114" fmla="*/ 763510 h 1077197"/>
                <a:gd name="connsiteX115" fmla="*/ 149615 w 1576758"/>
                <a:gd name="connsiteY115" fmla="*/ 736759 h 1077197"/>
                <a:gd name="connsiteX116" fmla="*/ 215906 w 1576758"/>
                <a:gd name="connsiteY116" fmla="*/ 740005 h 1077197"/>
                <a:gd name="connsiteX117" fmla="*/ 169767 w 1576758"/>
                <a:gd name="connsiteY117" fmla="*/ 769673 h 1077197"/>
                <a:gd name="connsiteX118" fmla="*/ 118399 w 1576758"/>
                <a:gd name="connsiteY118" fmla="*/ 815075 h 1077197"/>
                <a:gd name="connsiteX119" fmla="*/ 48215 w 1576758"/>
                <a:gd name="connsiteY119" fmla="*/ 903360 h 1077197"/>
                <a:gd name="connsiteX120" fmla="*/ 359677 w 1576758"/>
                <a:gd name="connsiteY120" fmla="*/ 907406 h 1077197"/>
                <a:gd name="connsiteX121" fmla="*/ 84919 w 1576758"/>
                <a:gd name="connsiteY121" fmla="*/ 954524 h 1077197"/>
                <a:gd name="connsiteX122" fmla="*/ 54424 w 1576758"/>
                <a:gd name="connsiteY122" fmla="*/ 918390 h 1077197"/>
                <a:gd name="connsiteX123" fmla="*/ 131299 w 1576758"/>
                <a:gd name="connsiteY123" fmla="*/ 822963 h 1077197"/>
                <a:gd name="connsiteX124" fmla="*/ 183095 w 1576758"/>
                <a:gd name="connsiteY124" fmla="*/ 778540 h 1077197"/>
                <a:gd name="connsiteX125" fmla="*/ 210775 w 1576758"/>
                <a:gd name="connsiteY125" fmla="*/ 761527 h 1077197"/>
                <a:gd name="connsiteX126" fmla="*/ 233225 w 1576758"/>
                <a:gd name="connsiteY126" fmla="*/ 744816 h 1077197"/>
                <a:gd name="connsiteX127" fmla="*/ 239933 w 1576758"/>
                <a:gd name="connsiteY127" fmla="*/ 742122 h 1077197"/>
                <a:gd name="connsiteX128" fmla="*/ 355143 w 1576758"/>
                <a:gd name="connsiteY128" fmla="*/ 762763 h 1077197"/>
                <a:gd name="connsiteX129" fmla="*/ 438851 w 1576758"/>
                <a:gd name="connsiteY129" fmla="*/ 737701 h 1077197"/>
                <a:gd name="connsiteX130" fmla="*/ 700219 w 1576758"/>
                <a:gd name="connsiteY130" fmla="*/ 657563 h 1077197"/>
                <a:gd name="connsiteX131" fmla="*/ 774483 w 1576758"/>
                <a:gd name="connsiteY131" fmla="*/ 627983 h 1077197"/>
                <a:gd name="connsiteX132" fmla="*/ 990692 w 1576758"/>
                <a:gd name="connsiteY132" fmla="*/ 663877 h 1077197"/>
                <a:gd name="connsiteX133" fmla="*/ 983369 w 1576758"/>
                <a:gd name="connsiteY133" fmla="*/ 691642 h 1077197"/>
                <a:gd name="connsiteX134" fmla="*/ 892846 w 1576758"/>
                <a:gd name="connsiteY134" fmla="*/ 634742 h 1077197"/>
                <a:gd name="connsiteX135" fmla="*/ 843144 w 1576758"/>
                <a:gd name="connsiteY135" fmla="*/ 638975 h 1077197"/>
                <a:gd name="connsiteX136" fmla="*/ 843144 w 1576758"/>
                <a:gd name="connsiteY136" fmla="*/ 644712 h 1077197"/>
                <a:gd name="connsiteX137" fmla="*/ 888222 w 1576758"/>
                <a:gd name="connsiteY137" fmla="*/ 647148 h 1077197"/>
                <a:gd name="connsiteX138" fmla="*/ 979039 w 1576758"/>
                <a:gd name="connsiteY138" fmla="*/ 707837 h 1077197"/>
                <a:gd name="connsiteX139" fmla="*/ 974193 w 1576758"/>
                <a:gd name="connsiteY139" fmla="*/ 725927 h 1077197"/>
                <a:gd name="connsiteX140" fmla="*/ 860008 w 1576758"/>
                <a:gd name="connsiteY140" fmla="*/ 680890 h 1077197"/>
                <a:gd name="connsiteX141" fmla="*/ 791401 w 1576758"/>
                <a:gd name="connsiteY141" fmla="*/ 684812 h 1077197"/>
                <a:gd name="connsiteX142" fmla="*/ 791695 w 1576758"/>
                <a:gd name="connsiteY142" fmla="*/ 686955 h 1077197"/>
                <a:gd name="connsiteX143" fmla="*/ 933907 w 1576758"/>
                <a:gd name="connsiteY143" fmla="*/ 742486 h 1077197"/>
                <a:gd name="connsiteX144" fmla="*/ 898966 w 1576758"/>
                <a:gd name="connsiteY144" fmla="*/ 729715 h 1077197"/>
                <a:gd name="connsiteX145" fmla="*/ 796185 w 1576758"/>
                <a:gd name="connsiteY145" fmla="*/ 720181 h 1077197"/>
                <a:gd name="connsiteX146" fmla="*/ 739409 w 1576758"/>
                <a:gd name="connsiteY146" fmla="*/ 749352 h 1077197"/>
                <a:gd name="connsiteX147" fmla="*/ 667550 w 1576758"/>
                <a:gd name="connsiteY147" fmla="*/ 753914 h 1077197"/>
                <a:gd name="connsiteX148" fmla="*/ 665251 w 1576758"/>
                <a:gd name="connsiteY148" fmla="*/ 759366 h 1077197"/>
                <a:gd name="connsiteX149" fmla="*/ 674249 w 1576758"/>
                <a:gd name="connsiteY149" fmla="*/ 764311 h 1077197"/>
                <a:gd name="connsiteX150" fmla="*/ 634667 w 1576758"/>
                <a:gd name="connsiteY150" fmla="*/ 787229 h 1077197"/>
                <a:gd name="connsiteX151" fmla="*/ 509337 w 1576758"/>
                <a:gd name="connsiteY151" fmla="*/ 806323 h 1077197"/>
                <a:gd name="connsiteX152" fmla="*/ 508553 w 1576758"/>
                <a:gd name="connsiteY152" fmla="*/ 819424 h 1077197"/>
                <a:gd name="connsiteX153" fmla="*/ 520883 w 1576758"/>
                <a:gd name="connsiteY153" fmla="*/ 839718 h 1077197"/>
                <a:gd name="connsiteX154" fmla="*/ 359677 w 1576758"/>
                <a:gd name="connsiteY154" fmla="*/ 907406 h 1077197"/>
                <a:gd name="connsiteX155" fmla="*/ 954273 w 1576758"/>
                <a:gd name="connsiteY155" fmla="*/ 746061 h 1077197"/>
                <a:gd name="connsiteX156" fmla="*/ 895946 w 1576758"/>
                <a:gd name="connsiteY156" fmla="*/ 693946 h 1077197"/>
                <a:gd name="connsiteX157" fmla="*/ 944794 w 1576758"/>
                <a:gd name="connsiteY157" fmla="*/ 719123 h 1077197"/>
                <a:gd name="connsiteX158" fmla="*/ 968812 w 1576758"/>
                <a:gd name="connsiteY158" fmla="*/ 741241 h 1077197"/>
                <a:gd name="connsiteX159" fmla="*/ 962086 w 1576758"/>
                <a:gd name="connsiteY159" fmla="*/ 753505 h 1077197"/>
                <a:gd name="connsiteX160" fmla="*/ 953141 w 1576758"/>
                <a:gd name="connsiteY160" fmla="*/ 754510 h 1077197"/>
                <a:gd name="connsiteX161" fmla="*/ 953729 w 1576758"/>
                <a:gd name="connsiteY161" fmla="*/ 753194 h 1077197"/>
                <a:gd name="connsiteX162" fmla="*/ 954273 w 1576758"/>
                <a:gd name="connsiteY162" fmla="*/ 746061 h 1077197"/>
                <a:gd name="connsiteX163" fmla="*/ 785102 w 1576758"/>
                <a:gd name="connsiteY163" fmla="*/ 771461 h 1077197"/>
                <a:gd name="connsiteX164" fmla="*/ 737217 w 1576758"/>
                <a:gd name="connsiteY164" fmla="*/ 775481 h 1077197"/>
                <a:gd name="connsiteX165" fmla="*/ 664111 w 1576758"/>
                <a:gd name="connsiteY165" fmla="*/ 783512 h 1077197"/>
                <a:gd name="connsiteX166" fmla="*/ 686009 w 1576758"/>
                <a:gd name="connsiteY166" fmla="*/ 768464 h 1077197"/>
                <a:gd name="connsiteX167" fmla="*/ 745805 w 1576758"/>
                <a:gd name="connsiteY167" fmla="*/ 760220 h 1077197"/>
                <a:gd name="connsiteX168" fmla="*/ 756442 w 1576758"/>
                <a:gd name="connsiteY168" fmla="*/ 755399 h 1077197"/>
                <a:gd name="connsiteX169" fmla="*/ 760906 w 1576758"/>
                <a:gd name="connsiteY169" fmla="*/ 753203 h 1077197"/>
                <a:gd name="connsiteX170" fmla="*/ 785182 w 1576758"/>
                <a:gd name="connsiteY170" fmla="*/ 760753 h 1077197"/>
                <a:gd name="connsiteX171" fmla="*/ 785076 w 1576758"/>
                <a:gd name="connsiteY171" fmla="*/ 762043 h 1077197"/>
                <a:gd name="connsiteX172" fmla="*/ 785076 w 1576758"/>
                <a:gd name="connsiteY172" fmla="*/ 771105 h 1077197"/>
                <a:gd name="connsiteX173" fmla="*/ 785102 w 1576758"/>
                <a:gd name="connsiteY173" fmla="*/ 771461 h 1077197"/>
                <a:gd name="connsiteX174" fmla="*/ 772692 w 1576758"/>
                <a:gd name="connsiteY174" fmla="*/ 747093 h 1077197"/>
                <a:gd name="connsiteX175" fmla="*/ 866903 w 1576758"/>
                <a:gd name="connsiteY175" fmla="*/ 730338 h 1077197"/>
                <a:gd name="connsiteX176" fmla="*/ 772692 w 1576758"/>
                <a:gd name="connsiteY176" fmla="*/ 747093 h 1077197"/>
                <a:gd name="connsiteX177" fmla="*/ 801967 w 1576758"/>
                <a:gd name="connsiteY177" fmla="*/ 762550 h 1077197"/>
                <a:gd name="connsiteX178" fmla="*/ 833237 w 1576758"/>
                <a:gd name="connsiteY178" fmla="*/ 759348 h 1077197"/>
                <a:gd name="connsiteX179" fmla="*/ 866743 w 1576758"/>
                <a:gd name="connsiteY179" fmla="*/ 745181 h 1077197"/>
                <a:gd name="connsiteX180" fmla="*/ 885710 w 1576758"/>
                <a:gd name="connsiteY180" fmla="*/ 738297 h 1077197"/>
                <a:gd name="connsiteX181" fmla="*/ 932776 w 1576758"/>
                <a:gd name="connsiteY181" fmla="*/ 756787 h 1077197"/>
                <a:gd name="connsiteX182" fmla="*/ 801976 w 1576758"/>
                <a:gd name="connsiteY182" fmla="*/ 770065 h 1077197"/>
                <a:gd name="connsiteX183" fmla="*/ 801967 w 1576758"/>
                <a:gd name="connsiteY183" fmla="*/ 762550 h 1077197"/>
                <a:gd name="connsiteX184" fmla="*/ 810038 w 1576758"/>
                <a:gd name="connsiteY184" fmla="*/ 807915 h 1077197"/>
                <a:gd name="connsiteX185" fmla="*/ 573187 w 1576758"/>
                <a:gd name="connsiteY185" fmla="*/ 830282 h 1077197"/>
                <a:gd name="connsiteX186" fmla="*/ 547004 w 1576758"/>
                <a:gd name="connsiteY186" fmla="*/ 832390 h 1077197"/>
                <a:gd name="connsiteX187" fmla="*/ 533044 w 1576758"/>
                <a:gd name="connsiteY187" fmla="*/ 832017 h 1077197"/>
                <a:gd name="connsiteX188" fmla="*/ 522496 w 1576758"/>
                <a:gd name="connsiteY188" fmla="*/ 818143 h 1077197"/>
                <a:gd name="connsiteX189" fmla="*/ 628128 w 1576758"/>
                <a:gd name="connsiteY189" fmla="*/ 801832 h 1077197"/>
                <a:gd name="connsiteX190" fmla="*/ 634302 w 1576758"/>
                <a:gd name="connsiteY190" fmla="*/ 801014 h 1077197"/>
                <a:gd name="connsiteX191" fmla="*/ 963502 w 1576758"/>
                <a:gd name="connsiteY191" fmla="*/ 763973 h 1077197"/>
                <a:gd name="connsiteX192" fmla="*/ 972108 w 1576758"/>
                <a:gd name="connsiteY192" fmla="*/ 765698 h 1077197"/>
                <a:gd name="connsiteX193" fmla="*/ 971413 w 1576758"/>
                <a:gd name="connsiteY193" fmla="*/ 791738 h 1077197"/>
                <a:gd name="connsiteX194" fmla="*/ 970113 w 1576758"/>
                <a:gd name="connsiteY194" fmla="*/ 793090 h 1077197"/>
                <a:gd name="connsiteX195" fmla="*/ 810038 w 1576758"/>
                <a:gd name="connsiteY195" fmla="*/ 807915 h 1077197"/>
                <a:gd name="connsiteX196" fmla="*/ 1378780 w 1576758"/>
                <a:gd name="connsiteY196" fmla="*/ 740005 h 1077197"/>
                <a:gd name="connsiteX197" fmla="*/ 1337380 w 1576758"/>
                <a:gd name="connsiteY197" fmla="*/ 819468 h 1077197"/>
                <a:gd name="connsiteX198" fmla="*/ 1182001 w 1576758"/>
                <a:gd name="connsiteY198" fmla="*/ 845499 h 1077197"/>
                <a:gd name="connsiteX199" fmla="*/ 1148530 w 1576758"/>
                <a:gd name="connsiteY199" fmla="*/ 847847 h 1077197"/>
                <a:gd name="connsiteX200" fmla="*/ 984705 w 1576758"/>
                <a:gd name="connsiteY200" fmla="*/ 887227 h 1077197"/>
                <a:gd name="connsiteX201" fmla="*/ 930370 w 1576758"/>
                <a:gd name="connsiteY201" fmla="*/ 887707 h 1077197"/>
                <a:gd name="connsiteX202" fmla="*/ 928954 w 1576758"/>
                <a:gd name="connsiteY202" fmla="*/ 838215 h 1077197"/>
                <a:gd name="connsiteX203" fmla="*/ 926032 w 1576758"/>
                <a:gd name="connsiteY203" fmla="*/ 812700 h 1077197"/>
                <a:gd name="connsiteX204" fmla="*/ 973053 w 1576758"/>
                <a:gd name="connsiteY204" fmla="*/ 806154 h 1077197"/>
                <a:gd name="connsiteX205" fmla="*/ 980928 w 1576758"/>
                <a:gd name="connsiteY205" fmla="*/ 805683 h 1077197"/>
                <a:gd name="connsiteX206" fmla="*/ 1003111 w 1576758"/>
                <a:gd name="connsiteY206" fmla="*/ 800898 h 1077197"/>
                <a:gd name="connsiteX207" fmla="*/ 1158152 w 1576758"/>
                <a:gd name="connsiteY207" fmla="*/ 778496 h 1077197"/>
                <a:gd name="connsiteX208" fmla="*/ 1156139 w 1576758"/>
                <a:gd name="connsiteY208" fmla="*/ 792681 h 1077197"/>
                <a:gd name="connsiteX209" fmla="*/ 1163809 w 1576758"/>
                <a:gd name="connsiteY209" fmla="*/ 794700 h 1077197"/>
                <a:gd name="connsiteX210" fmla="*/ 1177048 w 1576758"/>
                <a:gd name="connsiteY210" fmla="*/ 777740 h 1077197"/>
                <a:gd name="connsiteX211" fmla="*/ 1232773 w 1576758"/>
                <a:gd name="connsiteY211" fmla="*/ 751815 h 1077197"/>
                <a:gd name="connsiteX212" fmla="*/ 1270555 w 1576758"/>
                <a:gd name="connsiteY212" fmla="*/ 678862 h 1077197"/>
                <a:gd name="connsiteX213" fmla="*/ 1274475 w 1576758"/>
                <a:gd name="connsiteY213" fmla="*/ 737871 h 1077197"/>
                <a:gd name="connsiteX214" fmla="*/ 1246332 w 1576758"/>
                <a:gd name="connsiteY214" fmla="*/ 790191 h 1077197"/>
                <a:gd name="connsiteX215" fmla="*/ 1245664 w 1576758"/>
                <a:gd name="connsiteY215" fmla="*/ 795287 h 1077197"/>
                <a:gd name="connsiteX216" fmla="*/ 1283384 w 1576758"/>
                <a:gd name="connsiteY216" fmla="*/ 763866 h 1077197"/>
                <a:gd name="connsiteX217" fmla="*/ 1287678 w 1576758"/>
                <a:gd name="connsiteY217" fmla="*/ 686466 h 1077197"/>
                <a:gd name="connsiteX218" fmla="*/ 1294858 w 1576758"/>
                <a:gd name="connsiteY218" fmla="*/ 636441 h 1077197"/>
                <a:gd name="connsiteX219" fmla="*/ 1303714 w 1576758"/>
                <a:gd name="connsiteY219" fmla="*/ 662685 h 1077197"/>
                <a:gd name="connsiteX220" fmla="*/ 1311197 w 1576758"/>
                <a:gd name="connsiteY220" fmla="*/ 709998 h 1077197"/>
                <a:gd name="connsiteX221" fmla="*/ 1312061 w 1576758"/>
                <a:gd name="connsiteY221" fmla="*/ 768366 h 1077197"/>
                <a:gd name="connsiteX222" fmla="*/ 1310280 w 1576758"/>
                <a:gd name="connsiteY222" fmla="*/ 788563 h 1077197"/>
                <a:gd name="connsiteX223" fmla="*/ 1318725 w 1576758"/>
                <a:gd name="connsiteY223" fmla="*/ 790787 h 1077197"/>
                <a:gd name="connsiteX224" fmla="*/ 1312872 w 1576758"/>
                <a:gd name="connsiteY224" fmla="*/ 643991 h 1077197"/>
                <a:gd name="connsiteX225" fmla="*/ 1329603 w 1576758"/>
                <a:gd name="connsiteY225" fmla="*/ 610845 h 1077197"/>
                <a:gd name="connsiteX226" fmla="*/ 1343750 w 1576758"/>
                <a:gd name="connsiteY226" fmla="*/ 649896 h 1077197"/>
                <a:gd name="connsiteX227" fmla="*/ 1346664 w 1576758"/>
                <a:gd name="connsiteY227" fmla="*/ 733815 h 1077197"/>
                <a:gd name="connsiteX228" fmla="*/ 1342521 w 1576758"/>
                <a:gd name="connsiteY228" fmla="*/ 773071 h 1077197"/>
                <a:gd name="connsiteX229" fmla="*/ 1352312 w 1576758"/>
                <a:gd name="connsiteY229" fmla="*/ 775721 h 1077197"/>
                <a:gd name="connsiteX230" fmla="*/ 1361648 w 1576758"/>
                <a:gd name="connsiteY230" fmla="*/ 740316 h 1077197"/>
                <a:gd name="connsiteX231" fmla="*/ 1352151 w 1576758"/>
                <a:gd name="connsiteY231" fmla="*/ 623599 h 1077197"/>
                <a:gd name="connsiteX232" fmla="*/ 1378780 w 1576758"/>
                <a:gd name="connsiteY232" fmla="*/ 740005 h 1077197"/>
                <a:gd name="connsiteX233" fmla="*/ 1558775 w 1576758"/>
                <a:gd name="connsiteY233" fmla="*/ 246231 h 1077197"/>
                <a:gd name="connsiteX234" fmla="*/ 1449436 w 1576758"/>
                <a:gd name="connsiteY234" fmla="*/ 609333 h 1077197"/>
                <a:gd name="connsiteX235" fmla="*/ 1429560 w 1576758"/>
                <a:gd name="connsiteY235" fmla="*/ 656006 h 1077197"/>
                <a:gd name="connsiteX236" fmla="*/ 1402353 w 1576758"/>
                <a:gd name="connsiteY236" fmla="*/ 694488 h 1077197"/>
                <a:gd name="connsiteX237" fmla="*/ 1400500 w 1576758"/>
                <a:gd name="connsiteY237" fmla="*/ 698455 h 1077197"/>
                <a:gd name="connsiteX238" fmla="*/ 1396482 w 1576758"/>
                <a:gd name="connsiteY238" fmla="*/ 701301 h 1077197"/>
                <a:gd name="connsiteX239" fmla="*/ 1347706 w 1576758"/>
                <a:gd name="connsiteY239" fmla="*/ 613549 h 1077197"/>
                <a:gd name="connsiteX240" fmla="*/ 1307179 w 1576758"/>
                <a:gd name="connsiteY240" fmla="*/ 631087 h 1077197"/>
                <a:gd name="connsiteX241" fmla="*/ 1296694 w 1576758"/>
                <a:gd name="connsiteY241" fmla="*/ 623919 h 1077197"/>
                <a:gd name="connsiteX242" fmla="*/ 1278716 w 1576758"/>
                <a:gd name="connsiteY242" fmla="*/ 662587 h 1077197"/>
                <a:gd name="connsiteX243" fmla="*/ 1246902 w 1576758"/>
                <a:gd name="connsiteY243" fmla="*/ 705294 h 1077197"/>
                <a:gd name="connsiteX244" fmla="*/ 1220184 w 1576758"/>
                <a:gd name="connsiteY244" fmla="*/ 741961 h 1077197"/>
                <a:gd name="connsiteX245" fmla="*/ 1177983 w 1576758"/>
                <a:gd name="connsiteY245" fmla="*/ 759206 h 1077197"/>
                <a:gd name="connsiteX246" fmla="*/ 1069233 w 1576758"/>
                <a:gd name="connsiteY246" fmla="*/ 775846 h 1077197"/>
                <a:gd name="connsiteX247" fmla="*/ 1018354 w 1576758"/>
                <a:gd name="connsiteY247" fmla="*/ 782276 h 1077197"/>
                <a:gd name="connsiteX248" fmla="*/ 984180 w 1576758"/>
                <a:gd name="connsiteY248" fmla="*/ 785940 h 1077197"/>
                <a:gd name="connsiteX249" fmla="*/ 983369 w 1576758"/>
                <a:gd name="connsiteY249" fmla="*/ 755568 h 1077197"/>
                <a:gd name="connsiteX250" fmla="*/ 982336 w 1576758"/>
                <a:gd name="connsiteY250" fmla="*/ 752580 h 1077197"/>
                <a:gd name="connsiteX251" fmla="*/ 993819 w 1576758"/>
                <a:gd name="connsiteY251" fmla="*/ 718332 h 1077197"/>
                <a:gd name="connsiteX252" fmla="*/ 1084841 w 1576758"/>
                <a:gd name="connsiteY252" fmla="*/ 367209 h 1077197"/>
                <a:gd name="connsiteX253" fmla="*/ 1114632 w 1576758"/>
                <a:gd name="connsiteY253" fmla="*/ 267931 h 1077197"/>
                <a:gd name="connsiteX254" fmla="*/ 1139586 w 1576758"/>
                <a:gd name="connsiteY254" fmla="*/ 230926 h 1077197"/>
                <a:gd name="connsiteX255" fmla="*/ 1173894 w 1576758"/>
                <a:gd name="connsiteY255" fmla="*/ 218048 h 1077197"/>
                <a:gd name="connsiteX256" fmla="*/ 1228577 w 1576758"/>
                <a:gd name="connsiteY256" fmla="*/ 216634 h 1077197"/>
                <a:gd name="connsiteX257" fmla="*/ 1526177 w 1576758"/>
                <a:gd name="connsiteY257" fmla="*/ 212205 h 1077197"/>
                <a:gd name="connsiteX258" fmla="*/ 1548895 w 1576758"/>
                <a:gd name="connsiteY258" fmla="*/ 212392 h 1077197"/>
                <a:gd name="connsiteX259" fmla="*/ 1557037 w 1576758"/>
                <a:gd name="connsiteY259" fmla="*/ 217176 h 1077197"/>
                <a:gd name="connsiteX260" fmla="*/ 1558775 w 1576758"/>
                <a:gd name="connsiteY260" fmla="*/ 246231 h 10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576758" h="1077197">
                  <a:moveTo>
                    <a:pt x="1575657" y="220903"/>
                  </a:moveTo>
                  <a:cubicBezTo>
                    <a:pt x="1574552" y="214882"/>
                    <a:pt x="1572628" y="207580"/>
                    <a:pt x="1567675" y="203649"/>
                  </a:cubicBezTo>
                  <a:cubicBezTo>
                    <a:pt x="1560895" y="198260"/>
                    <a:pt x="1551915" y="194596"/>
                    <a:pt x="1543220" y="195227"/>
                  </a:cubicBezTo>
                  <a:cubicBezTo>
                    <a:pt x="1422389" y="195601"/>
                    <a:pt x="1301540" y="197993"/>
                    <a:pt x="1180745" y="200777"/>
                  </a:cubicBezTo>
                  <a:cubicBezTo>
                    <a:pt x="1172531" y="200563"/>
                    <a:pt x="1164264" y="202422"/>
                    <a:pt x="1156611" y="205339"/>
                  </a:cubicBezTo>
                  <a:cubicBezTo>
                    <a:pt x="1111594" y="215807"/>
                    <a:pt x="1099416" y="254920"/>
                    <a:pt x="1088422" y="294443"/>
                  </a:cubicBezTo>
                  <a:cubicBezTo>
                    <a:pt x="1060671" y="385040"/>
                    <a:pt x="1037945" y="477008"/>
                    <a:pt x="1014889" y="568877"/>
                  </a:cubicBezTo>
                  <a:cubicBezTo>
                    <a:pt x="993971" y="412886"/>
                    <a:pt x="1010782" y="297600"/>
                    <a:pt x="843972" y="221232"/>
                  </a:cubicBezTo>
                  <a:cubicBezTo>
                    <a:pt x="810626" y="203694"/>
                    <a:pt x="774029" y="193449"/>
                    <a:pt x="740959" y="175395"/>
                  </a:cubicBezTo>
                  <a:cubicBezTo>
                    <a:pt x="726910" y="161423"/>
                    <a:pt x="701118" y="160418"/>
                    <a:pt x="682134" y="166066"/>
                  </a:cubicBezTo>
                  <a:cubicBezTo>
                    <a:pt x="673563" y="149293"/>
                    <a:pt x="668966" y="130670"/>
                    <a:pt x="668378" y="111860"/>
                  </a:cubicBezTo>
                  <a:cubicBezTo>
                    <a:pt x="668263" y="108054"/>
                    <a:pt x="662374" y="105732"/>
                    <a:pt x="660574" y="109752"/>
                  </a:cubicBezTo>
                  <a:cubicBezTo>
                    <a:pt x="642890" y="150004"/>
                    <a:pt x="679007" y="204610"/>
                    <a:pt x="712851" y="226043"/>
                  </a:cubicBezTo>
                  <a:cubicBezTo>
                    <a:pt x="689305" y="253382"/>
                    <a:pt x="645590" y="252759"/>
                    <a:pt x="612386" y="250927"/>
                  </a:cubicBezTo>
                  <a:cubicBezTo>
                    <a:pt x="542639" y="245262"/>
                    <a:pt x="473533" y="223357"/>
                    <a:pt x="413122" y="188166"/>
                  </a:cubicBezTo>
                  <a:cubicBezTo>
                    <a:pt x="410975" y="179379"/>
                    <a:pt x="408685" y="170628"/>
                    <a:pt x="406208" y="161930"/>
                  </a:cubicBezTo>
                  <a:cubicBezTo>
                    <a:pt x="434405" y="134876"/>
                    <a:pt x="451171" y="96279"/>
                    <a:pt x="447626" y="56987"/>
                  </a:cubicBezTo>
                  <a:cubicBezTo>
                    <a:pt x="446067" y="40623"/>
                    <a:pt x="441710" y="14156"/>
                    <a:pt x="431020" y="1581"/>
                  </a:cubicBezTo>
                  <a:cubicBezTo>
                    <a:pt x="427732" y="-1958"/>
                    <a:pt x="422146" y="950"/>
                    <a:pt x="421942" y="5334"/>
                  </a:cubicBezTo>
                  <a:cubicBezTo>
                    <a:pt x="421523" y="14325"/>
                    <a:pt x="425567" y="23548"/>
                    <a:pt x="427287" y="32344"/>
                  </a:cubicBezTo>
                  <a:cubicBezTo>
                    <a:pt x="436213" y="72453"/>
                    <a:pt x="429345" y="112732"/>
                    <a:pt x="400534" y="143209"/>
                  </a:cubicBezTo>
                  <a:cubicBezTo>
                    <a:pt x="398057" y="135552"/>
                    <a:pt x="395420" y="127948"/>
                    <a:pt x="392560" y="120416"/>
                  </a:cubicBezTo>
                  <a:cubicBezTo>
                    <a:pt x="390956" y="116182"/>
                    <a:pt x="386351" y="115978"/>
                    <a:pt x="383999" y="118379"/>
                  </a:cubicBezTo>
                  <a:cubicBezTo>
                    <a:pt x="301494" y="150760"/>
                    <a:pt x="207425" y="157964"/>
                    <a:pt x="133642" y="210488"/>
                  </a:cubicBezTo>
                  <a:cubicBezTo>
                    <a:pt x="15573" y="303487"/>
                    <a:pt x="7492" y="546217"/>
                    <a:pt x="0" y="687213"/>
                  </a:cubicBezTo>
                  <a:cubicBezTo>
                    <a:pt x="641" y="767886"/>
                    <a:pt x="-187" y="869378"/>
                    <a:pt x="38299" y="941504"/>
                  </a:cubicBezTo>
                  <a:cubicBezTo>
                    <a:pt x="55680" y="972667"/>
                    <a:pt x="84937" y="987910"/>
                    <a:pt x="120546" y="988568"/>
                  </a:cubicBezTo>
                  <a:cubicBezTo>
                    <a:pt x="117107" y="1007805"/>
                    <a:pt x="112857" y="1026481"/>
                    <a:pt x="109481" y="1045682"/>
                  </a:cubicBezTo>
                  <a:cubicBezTo>
                    <a:pt x="107958" y="1054584"/>
                    <a:pt x="105508" y="1063344"/>
                    <a:pt x="109561" y="1071766"/>
                  </a:cubicBezTo>
                  <a:cubicBezTo>
                    <a:pt x="113526" y="1080020"/>
                    <a:pt x="124394" y="1077921"/>
                    <a:pt x="128849" y="1071766"/>
                  </a:cubicBezTo>
                  <a:cubicBezTo>
                    <a:pt x="133490" y="1065354"/>
                    <a:pt x="132626" y="1055287"/>
                    <a:pt x="133633" y="1047603"/>
                  </a:cubicBezTo>
                  <a:cubicBezTo>
                    <a:pt x="136101" y="1028037"/>
                    <a:pt x="140564" y="1008801"/>
                    <a:pt x="139139" y="988924"/>
                  </a:cubicBezTo>
                  <a:cubicBezTo>
                    <a:pt x="203407" y="989102"/>
                    <a:pt x="265618" y="969536"/>
                    <a:pt x="325263" y="947445"/>
                  </a:cubicBezTo>
                  <a:cubicBezTo>
                    <a:pt x="373290" y="929782"/>
                    <a:pt x="421015" y="911088"/>
                    <a:pt x="466210" y="886934"/>
                  </a:cubicBezTo>
                  <a:cubicBezTo>
                    <a:pt x="476286" y="940793"/>
                    <a:pt x="478281" y="995985"/>
                    <a:pt x="474130" y="1050564"/>
                  </a:cubicBezTo>
                  <a:cubicBezTo>
                    <a:pt x="473239" y="1061459"/>
                    <a:pt x="490264" y="1061406"/>
                    <a:pt x="491146" y="1050564"/>
                  </a:cubicBezTo>
                  <a:cubicBezTo>
                    <a:pt x="493613" y="1005759"/>
                    <a:pt x="497702" y="921138"/>
                    <a:pt x="476856" y="881295"/>
                  </a:cubicBezTo>
                  <a:cubicBezTo>
                    <a:pt x="495823" y="871112"/>
                    <a:pt x="514620" y="860671"/>
                    <a:pt x="533124" y="849688"/>
                  </a:cubicBezTo>
                  <a:cubicBezTo>
                    <a:pt x="534879" y="848647"/>
                    <a:pt x="535913" y="847313"/>
                    <a:pt x="536376" y="845899"/>
                  </a:cubicBezTo>
                  <a:cubicBezTo>
                    <a:pt x="566238" y="847473"/>
                    <a:pt x="595727" y="840270"/>
                    <a:pt x="625375" y="837673"/>
                  </a:cubicBezTo>
                  <a:cubicBezTo>
                    <a:pt x="677982" y="831705"/>
                    <a:pt x="730794" y="827748"/>
                    <a:pt x="783597" y="823861"/>
                  </a:cubicBezTo>
                  <a:cubicBezTo>
                    <a:pt x="781663" y="838793"/>
                    <a:pt x="783142" y="854739"/>
                    <a:pt x="782741" y="869663"/>
                  </a:cubicBezTo>
                  <a:cubicBezTo>
                    <a:pt x="782269" y="887023"/>
                    <a:pt x="781628" y="904374"/>
                    <a:pt x="781022" y="921725"/>
                  </a:cubicBezTo>
                  <a:cubicBezTo>
                    <a:pt x="780434" y="938614"/>
                    <a:pt x="780176" y="955520"/>
                    <a:pt x="779873" y="972409"/>
                  </a:cubicBezTo>
                  <a:cubicBezTo>
                    <a:pt x="779561" y="989591"/>
                    <a:pt x="777886" y="1007529"/>
                    <a:pt x="780782" y="1024507"/>
                  </a:cubicBezTo>
                  <a:cubicBezTo>
                    <a:pt x="782162" y="1032618"/>
                    <a:pt x="795802" y="1032618"/>
                    <a:pt x="797192" y="1024507"/>
                  </a:cubicBezTo>
                  <a:cubicBezTo>
                    <a:pt x="800034" y="1007947"/>
                    <a:pt x="798724" y="990560"/>
                    <a:pt x="798947" y="973787"/>
                  </a:cubicBezTo>
                  <a:cubicBezTo>
                    <a:pt x="799624" y="939548"/>
                    <a:pt x="800034" y="905299"/>
                    <a:pt x="800087" y="871041"/>
                  </a:cubicBezTo>
                  <a:cubicBezTo>
                    <a:pt x="800140" y="855353"/>
                    <a:pt x="802074" y="838349"/>
                    <a:pt x="799891" y="822679"/>
                  </a:cubicBezTo>
                  <a:cubicBezTo>
                    <a:pt x="836284" y="819993"/>
                    <a:pt x="872694" y="817485"/>
                    <a:pt x="909051" y="814328"/>
                  </a:cubicBezTo>
                  <a:cubicBezTo>
                    <a:pt x="903884" y="828788"/>
                    <a:pt x="905016" y="846433"/>
                    <a:pt x="904552" y="861436"/>
                  </a:cubicBezTo>
                  <a:cubicBezTo>
                    <a:pt x="904027" y="878494"/>
                    <a:pt x="904837" y="895640"/>
                    <a:pt x="905550" y="912680"/>
                  </a:cubicBezTo>
                  <a:cubicBezTo>
                    <a:pt x="906628" y="938391"/>
                    <a:pt x="908339" y="964067"/>
                    <a:pt x="910566" y="989707"/>
                  </a:cubicBezTo>
                  <a:cubicBezTo>
                    <a:pt x="911341" y="998627"/>
                    <a:pt x="911581" y="1007218"/>
                    <a:pt x="916250" y="1015124"/>
                  </a:cubicBezTo>
                  <a:cubicBezTo>
                    <a:pt x="921007" y="1023182"/>
                    <a:pt x="932330" y="1020851"/>
                    <a:pt x="935208" y="1012652"/>
                  </a:cubicBezTo>
                  <a:cubicBezTo>
                    <a:pt x="938023" y="1004621"/>
                    <a:pt x="936704" y="996706"/>
                    <a:pt x="935992" y="988435"/>
                  </a:cubicBezTo>
                  <a:cubicBezTo>
                    <a:pt x="935288" y="980271"/>
                    <a:pt x="934638" y="972106"/>
                    <a:pt x="934041" y="963933"/>
                  </a:cubicBezTo>
                  <a:cubicBezTo>
                    <a:pt x="932348" y="940259"/>
                    <a:pt x="930967" y="916558"/>
                    <a:pt x="930504" y="892821"/>
                  </a:cubicBezTo>
                  <a:cubicBezTo>
                    <a:pt x="949622" y="893791"/>
                    <a:pt x="968313" y="898771"/>
                    <a:pt x="987405" y="899740"/>
                  </a:cubicBezTo>
                  <a:cubicBezTo>
                    <a:pt x="1046773" y="901190"/>
                    <a:pt x="1103496" y="879116"/>
                    <a:pt x="1158589" y="859622"/>
                  </a:cubicBezTo>
                  <a:cubicBezTo>
                    <a:pt x="1173065" y="863499"/>
                    <a:pt x="1188104" y="862486"/>
                    <a:pt x="1202999" y="862397"/>
                  </a:cubicBezTo>
                  <a:cubicBezTo>
                    <a:pt x="1219489" y="862094"/>
                    <a:pt x="1235989" y="861223"/>
                    <a:pt x="1252372" y="859337"/>
                  </a:cubicBezTo>
                  <a:cubicBezTo>
                    <a:pt x="1342842" y="850097"/>
                    <a:pt x="1396063" y="818259"/>
                    <a:pt x="1396491" y="720502"/>
                  </a:cubicBezTo>
                  <a:cubicBezTo>
                    <a:pt x="1407440" y="715254"/>
                    <a:pt x="1418888" y="708051"/>
                    <a:pt x="1423048" y="696071"/>
                  </a:cubicBezTo>
                  <a:cubicBezTo>
                    <a:pt x="1441926" y="673900"/>
                    <a:pt x="1453258" y="647015"/>
                    <a:pt x="1463370" y="620032"/>
                  </a:cubicBezTo>
                  <a:cubicBezTo>
                    <a:pt x="1476448" y="587571"/>
                    <a:pt x="1488929" y="554861"/>
                    <a:pt x="1500671" y="521893"/>
                  </a:cubicBezTo>
                  <a:cubicBezTo>
                    <a:pt x="1529295" y="440233"/>
                    <a:pt x="1555986" y="357275"/>
                    <a:pt x="1571924" y="272111"/>
                  </a:cubicBezTo>
                  <a:cubicBezTo>
                    <a:pt x="1574739" y="255703"/>
                    <a:pt x="1578713" y="237560"/>
                    <a:pt x="1575657" y="220903"/>
                  </a:cubicBezTo>
                  <a:close/>
                  <a:moveTo>
                    <a:pt x="759276" y="207749"/>
                  </a:moveTo>
                  <a:cubicBezTo>
                    <a:pt x="776265" y="218181"/>
                    <a:pt x="794359" y="226070"/>
                    <a:pt x="812417" y="234439"/>
                  </a:cubicBezTo>
                  <a:cubicBezTo>
                    <a:pt x="976696" y="302198"/>
                    <a:pt x="970888" y="398621"/>
                    <a:pt x="986977" y="553571"/>
                  </a:cubicBezTo>
                  <a:cubicBezTo>
                    <a:pt x="990737" y="573350"/>
                    <a:pt x="990532" y="599755"/>
                    <a:pt x="1003405" y="614385"/>
                  </a:cubicBezTo>
                  <a:cubicBezTo>
                    <a:pt x="999886" y="628250"/>
                    <a:pt x="996349" y="642106"/>
                    <a:pt x="992759" y="655944"/>
                  </a:cubicBezTo>
                  <a:cubicBezTo>
                    <a:pt x="979690" y="644836"/>
                    <a:pt x="965124" y="635373"/>
                    <a:pt x="950148" y="626969"/>
                  </a:cubicBezTo>
                  <a:cubicBezTo>
                    <a:pt x="945310" y="558801"/>
                    <a:pt x="945943" y="488534"/>
                    <a:pt x="921310" y="423558"/>
                  </a:cubicBezTo>
                  <a:cubicBezTo>
                    <a:pt x="920303" y="420792"/>
                    <a:pt x="915965" y="421877"/>
                    <a:pt x="916820" y="424794"/>
                  </a:cubicBezTo>
                  <a:cubicBezTo>
                    <a:pt x="935484" y="487724"/>
                    <a:pt x="934246" y="553705"/>
                    <a:pt x="934504" y="618618"/>
                  </a:cubicBezTo>
                  <a:cubicBezTo>
                    <a:pt x="894227" y="598012"/>
                    <a:pt x="846181" y="583356"/>
                    <a:pt x="801931" y="599542"/>
                  </a:cubicBezTo>
                  <a:cubicBezTo>
                    <a:pt x="802074" y="461995"/>
                    <a:pt x="773904" y="325712"/>
                    <a:pt x="739248" y="193173"/>
                  </a:cubicBezTo>
                  <a:cubicBezTo>
                    <a:pt x="745609" y="198464"/>
                    <a:pt x="752229" y="203427"/>
                    <a:pt x="759276" y="207749"/>
                  </a:cubicBezTo>
                  <a:close/>
                  <a:moveTo>
                    <a:pt x="703934" y="196561"/>
                  </a:moveTo>
                  <a:cubicBezTo>
                    <a:pt x="698775" y="191252"/>
                    <a:pt x="694134" y="185498"/>
                    <a:pt x="690000" y="179388"/>
                  </a:cubicBezTo>
                  <a:cubicBezTo>
                    <a:pt x="700530" y="178952"/>
                    <a:pt x="710624" y="178365"/>
                    <a:pt x="720442" y="181807"/>
                  </a:cubicBezTo>
                  <a:cubicBezTo>
                    <a:pt x="721190" y="192399"/>
                    <a:pt x="724032" y="202573"/>
                    <a:pt x="726696" y="212836"/>
                  </a:cubicBezTo>
                  <a:cubicBezTo>
                    <a:pt x="725939" y="213041"/>
                    <a:pt x="725208" y="213343"/>
                    <a:pt x="724522" y="213708"/>
                  </a:cubicBezTo>
                  <a:cubicBezTo>
                    <a:pt x="717538" y="208318"/>
                    <a:pt x="709929" y="203249"/>
                    <a:pt x="703934" y="196561"/>
                  </a:cubicBezTo>
                  <a:close/>
                  <a:moveTo>
                    <a:pt x="448356" y="225919"/>
                  </a:moveTo>
                  <a:cubicBezTo>
                    <a:pt x="521409" y="258718"/>
                    <a:pt x="670490" y="307383"/>
                    <a:pt x="732255" y="236102"/>
                  </a:cubicBezTo>
                  <a:cubicBezTo>
                    <a:pt x="752683" y="327046"/>
                    <a:pt x="770367" y="418880"/>
                    <a:pt x="777868" y="511888"/>
                  </a:cubicBezTo>
                  <a:cubicBezTo>
                    <a:pt x="781325" y="543700"/>
                    <a:pt x="779089" y="576276"/>
                    <a:pt x="782946" y="607768"/>
                  </a:cubicBezTo>
                  <a:cubicBezTo>
                    <a:pt x="683773" y="659021"/>
                    <a:pt x="572296" y="678889"/>
                    <a:pt x="466878" y="713565"/>
                  </a:cubicBezTo>
                  <a:cubicBezTo>
                    <a:pt x="467956" y="544874"/>
                    <a:pt x="454120" y="375595"/>
                    <a:pt x="418280" y="210560"/>
                  </a:cubicBezTo>
                  <a:cubicBezTo>
                    <a:pt x="427875" y="216563"/>
                    <a:pt x="438467" y="221303"/>
                    <a:pt x="448356" y="225919"/>
                  </a:cubicBezTo>
                  <a:close/>
                  <a:moveTo>
                    <a:pt x="35903" y="535731"/>
                  </a:moveTo>
                  <a:cubicBezTo>
                    <a:pt x="49284" y="438330"/>
                    <a:pt x="62611" y="323355"/>
                    <a:pt x="129847" y="246916"/>
                  </a:cubicBezTo>
                  <a:cubicBezTo>
                    <a:pt x="178605" y="198322"/>
                    <a:pt x="250473" y="186369"/>
                    <a:pt x="312808" y="163558"/>
                  </a:cubicBezTo>
                  <a:cubicBezTo>
                    <a:pt x="337387" y="155358"/>
                    <a:pt x="363366" y="147238"/>
                    <a:pt x="384177" y="131354"/>
                  </a:cubicBezTo>
                  <a:cubicBezTo>
                    <a:pt x="398868" y="205046"/>
                    <a:pt x="416917" y="278168"/>
                    <a:pt x="425950" y="352891"/>
                  </a:cubicBezTo>
                  <a:cubicBezTo>
                    <a:pt x="436017" y="428858"/>
                    <a:pt x="441915" y="505449"/>
                    <a:pt x="444864" y="582013"/>
                  </a:cubicBezTo>
                  <a:cubicBezTo>
                    <a:pt x="446557" y="625884"/>
                    <a:pt x="446334" y="669747"/>
                    <a:pt x="447323" y="713618"/>
                  </a:cubicBezTo>
                  <a:cubicBezTo>
                    <a:pt x="447376" y="716064"/>
                    <a:pt x="448151" y="718020"/>
                    <a:pt x="449345" y="719514"/>
                  </a:cubicBezTo>
                  <a:cubicBezTo>
                    <a:pt x="399099" y="737043"/>
                    <a:pt x="346947" y="760122"/>
                    <a:pt x="292692" y="748907"/>
                  </a:cubicBezTo>
                  <a:cubicBezTo>
                    <a:pt x="275230" y="746604"/>
                    <a:pt x="258339" y="741028"/>
                    <a:pt x="240896" y="738724"/>
                  </a:cubicBezTo>
                  <a:cubicBezTo>
                    <a:pt x="242134" y="730267"/>
                    <a:pt x="240700" y="721960"/>
                    <a:pt x="240121" y="713440"/>
                  </a:cubicBezTo>
                  <a:cubicBezTo>
                    <a:pt x="239461" y="703729"/>
                    <a:pt x="239247" y="693990"/>
                    <a:pt x="239114" y="684261"/>
                  </a:cubicBezTo>
                  <a:cubicBezTo>
                    <a:pt x="239078" y="628988"/>
                    <a:pt x="231541" y="573324"/>
                    <a:pt x="239987" y="518344"/>
                  </a:cubicBezTo>
                  <a:cubicBezTo>
                    <a:pt x="240887" y="512661"/>
                    <a:pt x="232566" y="510056"/>
                    <a:pt x="231140" y="515908"/>
                  </a:cubicBezTo>
                  <a:cubicBezTo>
                    <a:pt x="222312" y="552202"/>
                    <a:pt x="221982" y="589794"/>
                    <a:pt x="222677" y="626942"/>
                  </a:cubicBezTo>
                  <a:cubicBezTo>
                    <a:pt x="223791" y="659368"/>
                    <a:pt x="221902" y="691856"/>
                    <a:pt x="223995" y="724246"/>
                  </a:cubicBezTo>
                  <a:cubicBezTo>
                    <a:pt x="189278" y="715050"/>
                    <a:pt x="154239" y="719167"/>
                    <a:pt x="119192" y="722654"/>
                  </a:cubicBezTo>
                  <a:cubicBezTo>
                    <a:pt x="87405" y="725464"/>
                    <a:pt x="54389" y="728319"/>
                    <a:pt x="25675" y="743536"/>
                  </a:cubicBezTo>
                  <a:cubicBezTo>
                    <a:pt x="23484" y="674309"/>
                    <a:pt x="28499" y="604060"/>
                    <a:pt x="35903" y="535731"/>
                  </a:cubicBezTo>
                  <a:close/>
                  <a:moveTo>
                    <a:pt x="48215" y="903360"/>
                  </a:moveTo>
                  <a:cubicBezTo>
                    <a:pt x="41685" y="884924"/>
                    <a:pt x="37925" y="864736"/>
                    <a:pt x="35039" y="846495"/>
                  </a:cubicBezTo>
                  <a:cubicBezTo>
                    <a:pt x="30718" y="819183"/>
                    <a:pt x="28001" y="791454"/>
                    <a:pt x="26522" y="763510"/>
                  </a:cubicBezTo>
                  <a:cubicBezTo>
                    <a:pt x="57480" y="740370"/>
                    <a:pt x="111904" y="741339"/>
                    <a:pt x="149615" y="736759"/>
                  </a:cubicBezTo>
                  <a:cubicBezTo>
                    <a:pt x="171692" y="734829"/>
                    <a:pt x="194284" y="734580"/>
                    <a:pt x="215906" y="740005"/>
                  </a:cubicBezTo>
                  <a:cubicBezTo>
                    <a:pt x="201474" y="751291"/>
                    <a:pt x="184948" y="759482"/>
                    <a:pt x="169767" y="769673"/>
                  </a:cubicBezTo>
                  <a:cubicBezTo>
                    <a:pt x="150595" y="782391"/>
                    <a:pt x="134613" y="798906"/>
                    <a:pt x="118399" y="815075"/>
                  </a:cubicBezTo>
                  <a:cubicBezTo>
                    <a:pt x="91868" y="841746"/>
                    <a:pt x="65810" y="869832"/>
                    <a:pt x="48215" y="903360"/>
                  </a:cubicBezTo>
                  <a:close/>
                  <a:moveTo>
                    <a:pt x="359677" y="907406"/>
                  </a:moveTo>
                  <a:cubicBezTo>
                    <a:pt x="283640" y="935510"/>
                    <a:pt x="164404" y="984753"/>
                    <a:pt x="84919" y="954524"/>
                  </a:cubicBezTo>
                  <a:cubicBezTo>
                    <a:pt x="71191" y="946618"/>
                    <a:pt x="61507" y="932886"/>
                    <a:pt x="54424" y="918390"/>
                  </a:cubicBezTo>
                  <a:cubicBezTo>
                    <a:pt x="74264" y="882327"/>
                    <a:pt x="102185" y="851742"/>
                    <a:pt x="131299" y="822963"/>
                  </a:cubicBezTo>
                  <a:cubicBezTo>
                    <a:pt x="147629" y="806777"/>
                    <a:pt x="163540" y="790867"/>
                    <a:pt x="183095" y="778540"/>
                  </a:cubicBezTo>
                  <a:cubicBezTo>
                    <a:pt x="192253" y="772768"/>
                    <a:pt x="201670" y="767397"/>
                    <a:pt x="210775" y="761527"/>
                  </a:cubicBezTo>
                  <a:cubicBezTo>
                    <a:pt x="217795" y="757000"/>
                    <a:pt x="227372" y="751655"/>
                    <a:pt x="233225" y="744816"/>
                  </a:cubicBezTo>
                  <a:cubicBezTo>
                    <a:pt x="235773" y="745208"/>
                    <a:pt x="238561" y="744283"/>
                    <a:pt x="239933" y="742122"/>
                  </a:cubicBezTo>
                  <a:cubicBezTo>
                    <a:pt x="274821" y="761047"/>
                    <a:pt x="315766" y="768553"/>
                    <a:pt x="355143" y="762763"/>
                  </a:cubicBezTo>
                  <a:cubicBezTo>
                    <a:pt x="383999" y="758041"/>
                    <a:pt x="411393" y="747360"/>
                    <a:pt x="438851" y="737701"/>
                  </a:cubicBezTo>
                  <a:cubicBezTo>
                    <a:pt x="524714" y="706939"/>
                    <a:pt x="614818" y="689606"/>
                    <a:pt x="700219" y="657563"/>
                  </a:cubicBezTo>
                  <a:cubicBezTo>
                    <a:pt x="725253" y="648056"/>
                    <a:pt x="750821" y="640674"/>
                    <a:pt x="774483" y="627983"/>
                  </a:cubicBezTo>
                  <a:cubicBezTo>
                    <a:pt x="850271" y="578464"/>
                    <a:pt x="924321" y="619712"/>
                    <a:pt x="990692" y="663877"/>
                  </a:cubicBezTo>
                  <a:cubicBezTo>
                    <a:pt x="988278" y="673135"/>
                    <a:pt x="985828" y="682393"/>
                    <a:pt x="983369" y="691642"/>
                  </a:cubicBezTo>
                  <a:cubicBezTo>
                    <a:pt x="958504" y="665869"/>
                    <a:pt x="930825" y="636699"/>
                    <a:pt x="892846" y="634742"/>
                  </a:cubicBezTo>
                  <a:cubicBezTo>
                    <a:pt x="876142" y="634013"/>
                    <a:pt x="859696" y="637348"/>
                    <a:pt x="843144" y="638975"/>
                  </a:cubicBezTo>
                  <a:cubicBezTo>
                    <a:pt x="839473" y="639340"/>
                    <a:pt x="839437" y="644382"/>
                    <a:pt x="843144" y="644712"/>
                  </a:cubicBezTo>
                  <a:cubicBezTo>
                    <a:pt x="858146" y="646028"/>
                    <a:pt x="873211" y="646099"/>
                    <a:pt x="888222" y="647148"/>
                  </a:cubicBezTo>
                  <a:cubicBezTo>
                    <a:pt x="931110" y="650003"/>
                    <a:pt x="950896" y="681477"/>
                    <a:pt x="979039" y="707837"/>
                  </a:cubicBezTo>
                  <a:cubicBezTo>
                    <a:pt x="977400" y="713867"/>
                    <a:pt x="975912" y="719950"/>
                    <a:pt x="974193" y="725927"/>
                  </a:cubicBezTo>
                  <a:cubicBezTo>
                    <a:pt x="950433" y="698882"/>
                    <a:pt x="895848" y="668039"/>
                    <a:pt x="860008" y="680890"/>
                  </a:cubicBezTo>
                  <a:cubicBezTo>
                    <a:pt x="837264" y="675848"/>
                    <a:pt x="813531" y="676532"/>
                    <a:pt x="791401" y="684812"/>
                  </a:cubicBezTo>
                  <a:cubicBezTo>
                    <a:pt x="790323" y="685221"/>
                    <a:pt x="790376" y="687000"/>
                    <a:pt x="791695" y="686955"/>
                  </a:cubicBezTo>
                  <a:cubicBezTo>
                    <a:pt x="845112" y="683540"/>
                    <a:pt x="900552" y="698170"/>
                    <a:pt x="933907" y="742486"/>
                  </a:cubicBezTo>
                  <a:cubicBezTo>
                    <a:pt x="921702" y="739969"/>
                    <a:pt x="910227" y="734909"/>
                    <a:pt x="898966" y="729715"/>
                  </a:cubicBezTo>
                  <a:cubicBezTo>
                    <a:pt x="866485" y="712746"/>
                    <a:pt x="830929" y="703684"/>
                    <a:pt x="796185" y="720181"/>
                  </a:cubicBezTo>
                  <a:cubicBezTo>
                    <a:pt x="776799" y="728995"/>
                    <a:pt x="758839" y="740610"/>
                    <a:pt x="739409" y="749352"/>
                  </a:cubicBezTo>
                  <a:cubicBezTo>
                    <a:pt x="715613" y="760051"/>
                    <a:pt x="692504" y="761260"/>
                    <a:pt x="667550" y="753914"/>
                  </a:cubicBezTo>
                  <a:cubicBezTo>
                    <a:pt x="664209" y="752936"/>
                    <a:pt x="662472" y="757561"/>
                    <a:pt x="665251" y="759366"/>
                  </a:cubicBezTo>
                  <a:cubicBezTo>
                    <a:pt x="668236" y="761296"/>
                    <a:pt x="671238" y="762914"/>
                    <a:pt x="674249" y="764311"/>
                  </a:cubicBezTo>
                  <a:cubicBezTo>
                    <a:pt x="661376" y="772840"/>
                    <a:pt x="647906" y="779341"/>
                    <a:pt x="634667" y="787229"/>
                  </a:cubicBezTo>
                  <a:cubicBezTo>
                    <a:pt x="592760" y="792690"/>
                    <a:pt x="550977" y="799075"/>
                    <a:pt x="509337" y="806323"/>
                  </a:cubicBezTo>
                  <a:cubicBezTo>
                    <a:pt x="502389" y="807533"/>
                    <a:pt x="503279" y="816844"/>
                    <a:pt x="508553" y="819424"/>
                  </a:cubicBezTo>
                  <a:cubicBezTo>
                    <a:pt x="510264" y="827561"/>
                    <a:pt x="514897" y="834107"/>
                    <a:pt x="520883" y="839718"/>
                  </a:cubicBezTo>
                  <a:cubicBezTo>
                    <a:pt x="467377" y="862868"/>
                    <a:pt x="414324" y="887049"/>
                    <a:pt x="359677" y="907406"/>
                  </a:cubicBezTo>
                  <a:close/>
                  <a:moveTo>
                    <a:pt x="954273" y="746061"/>
                  </a:moveTo>
                  <a:cubicBezTo>
                    <a:pt x="941043" y="723463"/>
                    <a:pt x="918833" y="706014"/>
                    <a:pt x="895946" y="693946"/>
                  </a:cubicBezTo>
                  <a:cubicBezTo>
                    <a:pt x="913613" y="698606"/>
                    <a:pt x="930388" y="707811"/>
                    <a:pt x="944794" y="719123"/>
                  </a:cubicBezTo>
                  <a:cubicBezTo>
                    <a:pt x="953498" y="725847"/>
                    <a:pt x="960349" y="734358"/>
                    <a:pt x="968812" y="741241"/>
                  </a:cubicBezTo>
                  <a:cubicBezTo>
                    <a:pt x="966968" y="745492"/>
                    <a:pt x="964785" y="749601"/>
                    <a:pt x="962086" y="753505"/>
                  </a:cubicBezTo>
                  <a:cubicBezTo>
                    <a:pt x="959101" y="753843"/>
                    <a:pt x="956126" y="754172"/>
                    <a:pt x="953141" y="754510"/>
                  </a:cubicBezTo>
                  <a:cubicBezTo>
                    <a:pt x="953391" y="754092"/>
                    <a:pt x="953587" y="753648"/>
                    <a:pt x="953729" y="753194"/>
                  </a:cubicBezTo>
                  <a:cubicBezTo>
                    <a:pt x="955146" y="751211"/>
                    <a:pt x="955645" y="748551"/>
                    <a:pt x="954273" y="746061"/>
                  </a:cubicBezTo>
                  <a:close/>
                  <a:moveTo>
                    <a:pt x="785102" y="771461"/>
                  </a:moveTo>
                  <a:cubicBezTo>
                    <a:pt x="780826" y="771808"/>
                    <a:pt x="760558" y="773222"/>
                    <a:pt x="737217" y="775481"/>
                  </a:cubicBezTo>
                  <a:cubicBezTo>
                    <a:pt x="710321" y="778087"/>
                    <a:pt x="679354" y="781662"/>
                    <a:pt x="664111" y="783512"/>
                  </a:cubicBezTo>
                  <a:cubicBezTo>
                    <a:pt x="671051" y="779581"/>
                    <a:pt x="680699" y="775027"/>
                    <a:pt x="686009" y="768464"/>
                  </a:cubicBezTo>
                  <a:cubicBezTo>
                    <a:pt x="706018" y="773444"/>
                    <a:pt x="726313" y="768473"/>
                    <a:pt x="745805" y="760220"/>
                  </a:cubicBezTo>
                  <a:cubicBezTo>
                    <a:pt x="746456" y="759944"/>
                    <a:pt x="755846" y="755684"/>
                    <a:pt x="756442" y="755399"/>
                  </a:cubicBezTo>
                  <a:cubicBezTo>
                    <a:pt x="757939" y="754679"/>
                    <a:pt x="759427" y="753950"/>
                    <a:pt x="760906" y="753203"/>
                  </a:cubicBezTo>
                  <a:cubicBezTo>
                    <a:pt x="768487" y="756707"/>
                    <a:pt x="776710" y="759206"/>
                    <a:pt x="785182" y="760753"/>
                  </a:cubicBezTo>
                  <a:cubicBezTo>
                    <a:pt x="785120" y="761171"/>
                    <a:pt x="785076" y="761598"/>
                    <a:pt x="785076" y="762043"/>
                  </a:cubicBezTo>
                  <a:cubicBezTo>
                    <a:pt x="785076" y="765067"/>
                    <a:pt x="785076" y="768082"/>
                    <a:pt x="785076" y="771105"/>
                  </a:cubicBezTo>
                  <a:cubicBezTo>
                    <a:pt x="785085" y="771221"/>
                    <a:pt x="785093" y="771337"/>
                    <a:pt x="785102" y="771461"/>
                  </a:cubicBezTo>
                  <a:close/>
                  <a:moveTo>
                    <a:pt x="772692" y="747093"/>
                  </a:moveTo>
                  <a:cubicBezTo>
                    <a:pt x="801290" y="730356"/>
                    <a:pt x="834199" y="716446"/>
                    <a:pt x="866903" y="730338"/>
                  </a:cubicBezTo>
                  <a:cubicBezTo>
                    <a:pt x="829353" y="749281"/>
                    <a:pt x="815473" y="754181"/>
                    <a:pt x="772692" y="747093"/>
                  </a:cubicBezTo>
                  <a:close/>
                  <a:moveTo>
                    <a:pt x="801967" y="762550"/>
                  </a:moveTo>
                  <a:cubicBezTo>
                    <a:pt x="812604" y="762914"/>
                    <a:pt x="823268" y="761838"/>
                    <a:pt x="833237" y="759348"/>
                  </a:cubicBezTo>
                  <a:cubicBezTo>
                    <a:pt x="844997" y="756182"/>
                    <a:pt x="855669" y="750081"/>
                    <a:pt x="866743" y="745181"/>
                  </a:cubicBezTo>
                  <a:cubicBezTo>
                    <a:pt x="872926" y="742344"/>
                    <a:pt x="879536" y="741054"/>
                    <a:pt x="885710" y="738297"/>
                  </a:cubicBezTo>
                  <a:cubicBezTo>
                    <a:pt x="900303" y="744905"/>
                    <a:pt x="916027" y="753639"/>
                    <a:pt x="932776" y="756787"/>
                  </a:cubicBezTo>
                  <a:cubicBezTo>
                    <a:pt x="889274" y="762256"/>
                    <a:pt x="845647" y="766401"/>
                    <a:pt x="801976" y="770065"/>
                  </a:cubicBezTo>
                  <a:cubicBezTo>
                    <a:pt x="801967" y="767566"/>
                    <a:pt x="801967" y="765058"/>
                    <a:pt x="801967" y="762550"/>
                  </a:cubicBezTo>
                  <a:close/>
                  <a:moveTo>
                    <a:pt x="810038" y="807915"/>
                  </a:moveTo>
                  <a:cubicBezTo>
                    <a:pt x="731008" y="814630"/>
                    <a:pt x="651772" y="819023"/>
                    <a:pt x="573187" y="830282"/>
                  </a:cubicBezTo>
                  <a:cubicBezTo>
                    <a:pt x="564510" y="831403"/>
                    <a:pt x="555770" y="832328"/>
                    <a:pt x="547004" y="832390"/>
                  </a:cubicBezTo>
                  <a:cubicBezTo>
                    <a:pt x="542461" y="832417"/>
                    <a:pt x="537445" y="831252"/>
                    <a:pt x="533044" y="832017"/>
                  </a:cubicBezTo>
                  <a:cubicBezTo>
                    <a:pt x="528393" y="828308"/>
                    <a:pt x="524108" y="823790"/>
                    <a:pt x="522496" y="818143"/>
                  </a:cubicBezTo>
                  <a:cubicBezTo>
                    <a:pt x="557615" y="812122"/>
                    <a:pt x="592822" y="806652"/>
                    <a:pt x="628128" y="801832"/>
                  </a:cubicBezTo>
                  <a:cubicBezTo>
                    <a:pt x="630008" y="802997"/>
                    <a:pt x="632458" y="802437"/>
                    <a:pt x="634302" y="801014"/>
                  </a:cubicBezTo>
                  <a:cubicBezTo>
                    <a:pt x="743632" y="785024"/>
                    <a:pt x="854698" y="783752"/>
                    <a:pt x="963502" y="763973"/>
                  </a:cubicBezTo>
                  <a:cubicBezTo>
                    <a:pt x="965836" y="765796"/>
                    <a:pt x="969124" y="766614"/>
                    <a:pt x="972108" y="765698"/>
                  </a:cubicBezTo>
                  <a:cubicBezTo>
                    <a:pt x="971877" y="774378"/>
                    <a:pt x="971645" y="783058"/>
                    <a:pt x="971413" y="791738"/>
                  </a:cubicBezTo>
                  <a:cubicBezTo>
                    <a:pt x="970905" y="792156"/>
                    <a:pt x="970478" y="792610"/>
                    <a:pt x="970113" y="793090"/>
                  </a:cubicBezTo>
                  <a:cubicBezTo>
                    <a:pt x="917577" y="801788"/>
                    <a:pt x="863144" y="802980"/>
                    <a:pt x="810038" y="807915"/>
                  </a:cubicBezTo>
                  <a:close/>
                  <a:moveTo>
                    <a:pt x="1378780" y="740005"/>
                  </a:moveTo>
                  <a:cubicBezTo>
                    <a:pt x="1376170" y="771354"/>
                    <a:pt x="1365942" y="802882"/>
                    <a:pt x="1337380" y="819468"/>
                  </a:cubicBezTo>
                  <a:cubicBezTo>
                    <a:pt x="1290413" y="844921"/>
                    <a:pt x="1234145" y="844983"/>
                    <a:pt x="1182001" y="845499"/>
                  </a:cubicBezTo>
                  <a:cubicBezTo>
                    <a:pt x="1173092" y="846522"/>
                    <a:pt x="1151488" y="836712"/>
                    <a:pt x="1148530" y="847847"/>
                  </a:cubicBezTo>
                  <a:cubicBezTo>
                    <a:pt x="1095817" y="866666"/>
                    <a:pt x="1041455" y="887423"/>
                    <a:pt x="984705" y="887227"/>
                  </a:cubicBezTo>
                  <a:cubicBezTo>
                    <a:pt x="966317" y="886542"/>
                    <a:pt x="948375" y="883029"/>
                    <a:pt x="930370" y="887707"/>
                  </a:cubicBezTo>
                  <a:cubicBezTo>
                    <a:pt x="930130" y="871201"/>
                    <a:pt x="929266" y="854722"/>
                    <a:pt x="928954" y="838215"/>
                  </a:cubicBezTo>
                  <a:cubicBezTo>
                    <a:pt x="928749" y="829918"/>
                    <a:pt x="929078" y="820508"/>
                    <a:pt x="926032" y="812700"/>
                  </a:cubicBezTo>
                  <a:cubicBezTo>
                    <a:pt x="941649" y="810619"/>
                    <a:pt x="957783" y="810299"/>
                    <a:pt x="973053" y="806154"/>
                  </a:cubicBezTo>
                  <a:cubicBezTo>
                    <a:pt x="975271" y="807408"/>
                    <a:pt x="978068" y="807551"/>
                    <a:pt x="980928" y="805683"/>
                  </a:cubicBezTo>
                  <a:cubicBezTo>
                    <a:pt x="988108" y="801023"/>
                    <a:pt x="994897" y="801539"/>
                    <a:pt x="1003111" y="800898"/>
                  </a:cubicBezTo>
                  <a:cubicBezTo>
                    <a:pt x="1055041" y="795358"/>
                    <a:pt x="1106721" y="787647"/>
                    <a:pt x="1158152" y="778496"/>
                  </a:cubicBezTo>
                  <a:cubicBezTo>
                    <a:pt x="1156121" y="782809"/>
                    <a:pt x="1155239" y="787558"/>
                    <a:pt x="1156139" y="792681"/>
                  </a:cubicBezTo>
                  <a:cubicBezTo>
                    <a:pt x="1156718" y="795980"/>
                    <a:pt x="1161671" y="797208"/>
                    <a:pt x="1163809" y="794700"/>
                  </a:cubicBezTo>
                  <a:cubicBezTo>
                    <a:pt x="1168495" y="789212"/>
                    <a:pt x="1171667" y="782685"/>
                    <a:pt x="1177048" y="777740"/>
                  </a:cubicBezTo>
                  <a:cubicBezTo>
                    <a:pt x="1192879" y="764088"/>
                    <a:pt x="1215231" y="762514"/>
                    <a:pt x="1232773" y="751815"/>
                  </a:cubicBezTo>
                  <a:cubicBezTo>
                    <a:pt x="1261958" y="734171"/>
                    <a:pt x="1258136" y="705249"/>
                    <a:pt x="1270555" y="678862"/>
                  </a:cubicBezTo>
                  <a:cubicBezTo>
                    <a:pt x="1276551" y="697868"/>
                    <a:pt x="1275874" y="718225"/>
                    <a:pt x="1274475" y="737871"/>
                  </a:cubicBezTo>
                  <a:cubicBezTo>
                    <a:pt x="1272346" y="756707"/>
                    <a:pt x="1269896" y="787380"/>
                    <a:pt x="1246332" y="790191"/>
                  </a:cubicBezTo>
                  <a:cubicBezTo>
                    <a:pt x="1243739" y="790582"/>
                    <a:pt x="1243900" y="794086"/>
                    <a:pt x="1245664" y="795287"/>
                  </a:cubicBezTo>
                  <a:cubicBezTo>
                    <a:pt x="1264622" y="808173"/>
                    <a:pt x="1279286" y="777188"/>
                    <a:pt x="1283384" y="763866"/>
                  </a:cubicBezTo>
                  <a:cubicBezTo>
                    <a:pt x="1290992" y="739107"/>
                    <a:pt x="1291999" y="711919"/>
                    <a:pt x="1287678" y="686466"/>
                  </a:cubicBezTo>
                  <a:cubicBezTo>
                    <a:pt x="1289246" y="669720"/>
                    <a:pt x="1289878" y="652582"/>
                    <a:pt x="1294858" y="636441"/>
                  </a:cubicBezTo>
                  <a:cubicBezTo>
                    <a:pt x="1300916" y="643573"/>
                    <a:pt x="1301798" y="653809"/>
                    <a:pt x="1303714" y="662685"/>
                  </a:cubicBezTo>
                  <a:cubicBezTo>
                    <a:pt x="1306413" y="678391"/>
                    <a:pt x="1309122" y="694212"/>
                    <a:pt x="1311197" y="709998"/>
                  </a:cubicBezTo>
                  <a:cubicBezTo>
                    <a:pt x="1313781" y="729324"/>
                    <a:pt x="1314556" y="748987"/>
                    <a:pt x="1312061" y="768366"/>
                  </a:cubicBezTo>
                  <a:cubicBezTo>
                    <a:pt x="1311197" y="775045"/>
                    <a:pt x="1308560" y="781902"/>
                    <a:pt x="1310280" y="788563"/>
                  </a:cubicBezTo>
                  <a:cubicBezTo>
                    <a:pt x="1311215" y="792183"/>
                    <a:pt x="1316124" y="793535"/>
                    <a:pt x="1318725" y="790787"/>
                  </a:cubicBezTo>
                  <a:cubicBezTo>
                    <a:pt x="1337951" y="761749"/>
                    <a:pt x="1320454" y="678356"/>
                    <a:pt x="1312872" y="643991"/>
                  </a:cubicBezTo>
                  <a:cubicBezTo>
                    <a:pt x="1316970" y="639295"/>
                    <a:pt x="1319732" y="606336"/>
                    <a:pt x="1329603" y="610845"/>
                  </a:cubicBezTo>
                  <a:cubicBezTo>
                    <a:pt x="1336989" y="615754"/>
                    <a:pt x="1341550" y="640834"/>
                    <a:pt x="1343750" y="649896"/>
                  </a:cubicBezTo>
                  <a:cubicBezTo>
                    <a:pt x="1350058" y="677457"/>
                    <a:pt x="1351305" y="705854"/>
                    <a:pt x="1346664" y="733815"/>
                  </a:cubicBezTo>
                  <a:cubicBezTo>
                    <a:pt x="1344739" y="746933"/>
                    <a:pt x="1341443" y="759748"/>
                    <a:pt x="1342521" y="773071"/>
                  </a:cubicBezTo>
                  <a:cubicBezTo>
                    <a:pt x="1342904" y="777811"/>
                    <a:pt x="1349782" y="780764"/>
                    <a:pt x="1352312" y="775721"/>
                  </a:cubicBezTo>
                  <a:cubicBezTo>
                    <a:pt x="1357942" y="764471"/>
                    <a:pt x="1359813" y="752660"/>
                    <a:pt x="1361648" y="740316"/>
                  </a:cubicBezTo>
                  <a:cubicBezTo>
                    <a:pt x="1368490" y="701283"/>
                    <a:pt x="1365310" y="661031"/>
                    <a:pt x="1352151" y="623599"/>
                  </a:cubicBezTo>
                  <a:cubicBezTo>
                    <a:pt x="1384188" y="621811"/>
                    <a:pt x="1380802" y="718038"/>
                    <a:pt x="1378780" y="740005"/>
                  </a:cubicBezTo>
                  <a:close/>
                  <a:moveTo>
                    <a:pt x="1558775" y="246231"/>
                  </a:moveTo>
                  <a:cubicBezTo>
                    <a:pt x="1539335" y="371380"/>
                    <a:pt x="1494853" y="491584"/>
                    <a:pt x="1449436" y="609333"/>
                  </a:cubicBezTo>
                  <a:cubicBezTo>
                    <a:pt x="1443191" y="624941"/>
                    <a:pt x="1437534" y="641181"/>
                    <a:pt x="1429560" y="656006"/>
                  </a:cubicBezTo>
                  <a:cubicBezTo>
                    <a:pt x="1422077" y="669925"/>
                    <a:pt x="1412634" y="682535"/>
                    <a:pt x="1402353" y="694488"/>
                  </a:cubicBezTo>
                  <a:cubicBezTo>
                    <a:pt x="1401337" y="695671"/>
                    <a:pt x="1400749" y="697041"/>
                    <a:pt x="1400500" y="698455"/>
                  </a:cubicBezTo>
                  <a:cubicBezTo>
                    <a:pt x="1399235" y="699486"/>
                    <a:pt x="1397889" y="700420"/>
                    <a:pt x="1396482" y="701301"/>
                  </a:cubicBezTo>
                  <a:cubicBezTo>
                    <a:pt x="1395707" y="675643"/>
                    <a:pt x="1388535" y="596509"/>
                    <a:pt x="1347706" y="613549"/>
                  </a:cubicBezTo>
                  <a:cubicBezTo>
                    <a:pt x="1330948" y="584183"/>
                    <a:pt x="1308124" y="603188"/>
                    <a:pt x="1307179" y="631087"/>
                  </a:cubicBezTo>
                  <a:cubicBezTo>
                    <a:pt x="1304587" y="627387"/>
                    <a:pt x="1301202" y="624657"/>
                    <a:pt x="1296694" y="623919"/>
                  </a:cubicBezTo>
                  <a:cubicBezTo>
                    <a:pt x="1279054" y="621402"/>
                    <a:pt x="1281050" y="651168"/>
                    <a:pt x="1278716" y="662587"/>
                  </a:cubicBezTo>
                  <a:cubicBezTo>
                    <a:pt x="1261655" y="643084"/>
                    <a:pt x="1249459" y="694284"/>
                    <a:pt x="1246902" y="705294"/>
                  </a:cubicBezTo>
                  <a:cubicBezTo>
                    <a:pt x="1242653" y="721489"/>
                    <a:pt x="1235766" y="734438"/>
                    <a:pt x="1220184" y="741961"/>
                  </a:cubicBezTo>
                  <a:cubicBezTo>
                    <a:pt x="1206491" y="748578"/>
                    <a:pt x="1191293" y="751673"/>
                    <a:pt x="1177983" y="759206"/>
                  </a:cubicBezTo>
                  <a:cubicBezTo>
                    <a:pt x="1141911" y="761883"/>
                    <a:pt x="1105536" y="771737"/>
                    <a:pt x="1069233" y="775846"/>
                  </a:cubicBezTo>
                  <a:cubicBezTo>
                    <a:pt x="1052306" y="778318"/>
                    <a:pt x="1035317" y="780079"/>
                    <a:pt x="1018354" y="782276"/>
                  </a:cubicBezTo>
                  <a:cubicBezTo>
                    <a:pt x="1007102" y="783734"/>
                    <a:pt x="995102" y="783058"/>
                    <a:pt x="984180" y="785940"/>
                  </a:cubicBezTo>
                  <a:cubicBezTo>
                    <a:pt x="983912" y="775819"/>
                    <a:pt x="983636" y="765689"/>
                    <a:pt x="983369" y="755568"/>
                  </a:cubicBezTo>
                  <a:cubicBezTo>
                    <a:pt x="983342" y="754457"/>
                    <a:pt x="982950" y="753434"/>
                    <a:pt x="982336" y="752580"/>
                  </a:cubicBezTo>
                  <a:cubicBezTo>
                    <a:pt x="987663" y="741793"/>
                    <a:pt x="990621" y="730062"/>
                    <a:pt x="993819" y="718332"/>
                  </a:cubicBezTo>
                  <a:cubicBezTo>
                    <a:pt x="1025606" y="601667"/>
                    <a:pt x="1052163" y="483633"/>
                    <a:pt x="1084841" y="367209"/>
                  </a:cubicBezTo>
                  <a:cubicBezTo>
                    <a:pt x="1094151" y="334045"/>
                    <a:pt x="1103095" y="300401"/>
                    <a:pt x="1114632" y="267931"/>
                  </a:cubicBezTo>
                  <a:cubicBezTo>
                    <a:pt x="1119594" y="253969"/>
                    <a:pt x="1126757" y="239241"/>
                    <a:pt x="1139586" y="230926"/>
                  </a:cubicBezTo>
                  <a:cubicBezTo>
                    <a:pt x="1149778" y="225127"/>
                    <a:pt x="1162722" y="220849"/>
                    <a:pt x="1173894" y="218048"/>
                  </a:cubicBezTo>
                  <a:cubicBezTo>
                    <a:pt x="1192041" y="216901"/>
                    <a:pt x="1210367" y="217310"/>
                    <a:pt x="1228577" y="216634"/>
                  </a:cubicBezTo>
                  <a:cubicBezTo>
                    <a:pt x="1327768" y="214668"/>
                    <a:pt x="1426968" y="212890"/>
                    <a:pt x="1526177" y="212205"/>
                  </a:cubicBezTo>
                  <a:cubicBezTo>
                    <a:pt x="1533616" y="212054"/>
                    <a:pt x="1541527" y="211618"/>
                    <a:pt x="1548895" y="212392"/>
                  </a:cubicBezTo>
                  <a:cubicBezTo>
                    <a:pt x="1551478" y="213272"/>
                    <a:pt x="1554846" y="215664"/>
                    <a:pt x="1557037" y="217176"/>
                  </a:cubicBezTo>
                  <a:cubicBezTo>
                    <a:pt x="1560708" y="226337"/>
                    <a:pt x="1559942" y="236706"/>
                    <a:pt x="1558775" y="246231"/>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6" name="Freeform: Shape 105">
              <a:extLst>
                <a:ext uri="{FF2B5EF4-FFF2-40B4-BE49-F238E27FC236}">
                  <a16:creationId xmlns:a16="http://schemas.microsoft.com/office/drawing/2014/main" id="{38CE34A6-6AB3-05A2-5D25-5B69253131E6}"/>
                </a:ext>
              </a:extLst>
            </p:cNvPr>
            <p:cNvSpPr/>
            <p:nvPr/>
          </p:nvSpPr>
          <p:spPr>
            <a:xfrm>
              <a:off x="6026740" y="3665847"/>
              <a:ext cx="194683" cy="49135"/>
            </a:xfrm>
            <a:custGeom>
              <a:avLst/>
              <a:gdLst>
                <a:gd name="connsiteX0" fmla="*/ 13247 w 194683"/>
                <a:gd name="connsiteY0" fmla="*/ 22277 h 49135"/>
                <a:gd name="connsiteX1" fmla="*/ 190827 w 194683"/>
                <a:gd name="connsiteY1" fmla="*/ 29391 h 49135"/>
                <a:gd name="connsiteX2" fmla="*/ 184422 w 194683"/>
                <a:gd name="connsiteY2" fmla="*/ 14228 h 49135"/>
                <a:gd name="connsiteX3" fmla="*/ 85685 w 194683"/>
                <a:gd name="connsiteY3" fmla="*/ 29934 h 49135"/>
                <a:gd name="connsiteX4" fmla="*/ 17684 w 194683"/>
                <a:gd name="connsiteY4" fmla="*/ 6304 h 49135"/>
                <a:gd name="connsiteX5" fmla="*/ 347 w 194683"/>
                <a:gd name="connsiteY5" fmla="*/ 3929 h 49135"/>
                <a:gd name="connsiteX6" fmla="*/ 13247 w 194683"/>
                <a:gd name="connsiteY6" fmla="*/ 22277 h 4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683" h="49135">
                  <a:moveTo>
                    <a:pt x="13247" y="22277"/>
                  </a:moveTo>
                  <a:cubicBezTo>
                    <a:pt x="59974" y="55734"/>
                    <a:pt x="141205" y="57735"/>
                    <a:pt x="190827" y="29391"/>
                  </a:cubicBezTo>
                  <a:cubicBezTo>
                    <a:pt x="198649" y="24705"/>
                    <a:pt x="193589" y="11062"/>
                    <a:pt x="184422" y="14228"/>
                  </a:cubicBezTo>
                  <a:cubicBezTo>
                    <a:pt x="152225" y="25336"/>
                    <a:pt x="120046" y="32735"/>
                    <a:pt x="85685" y="29934"/>
                  </a:cubicBezTo>
                  <a:cubicBezTo>
                    <a:pt x="61426" y="28244"/>
                    <a:pt x="37755" y="20000"/>
                    <a:pt x="17684" y="6304"/>
                  </a:cubicBezTo>
                  <a:cubicBezTo>
                    <a:pt x="13657" y="3556"/>
                    <a:pt x="3153" y="-4920"/>
                    <a:pt x="347" y="3929"/>
                  </a:cubicBezTo>
                  <a:cubicBezTo>
                    <a:pt x="-2005" y="11347"/>
                    <a:pt x="8187" y="18337"/>
                    <a:pt x="13247" y="22277"/>
                  </a:cubicBez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107" name="Freeform: Shape 106">
              <a:extLst>
                <a:ext uri="{FF2B5EF4-FFF2-40B4-BE49-F238E27FC236}">
                  <a16:creationId xmlns:a16="http://schemas.microsoft.com/office/drawing/2014/main" id="{8ECF0682-DB67-5316-7348-91E39750F27F}"/>
                </a:ext>
              </a:extLst>
            </p:cNvPr>
            <p:cNvSpPr/>
            <p:nvPr/>
          </p:nvSpPr>
          <p:spPr>
            <a:xfrm>
              <a:off x="5935437" y="2917236"/>
              <a:ext cx="416960" cy="541402"/>
            </a:xfrm>
            <a:custGeom>
              <a:avLst/>
              <a:gdLst>
                <a:gd name="connsiteX0" fmla="*/ 417893 w 416960"/>
                <a:gd name="connsiteY0" fmla="*/ 264032 h 541402"/>
                <a:gd name="connsiteX1" fmla="*/ 289250 w 416960"/>
                <a:gd name="connsiteY1" fmla="*/ 2965 h 541402"/>
                <a:gd name="connsiteX2" fmla="*/ 270273 w 416960"/>
                <a:gd name="connsiteY2" fmla="*/ 5553 h 541402"/>
                <a:gd name="connsiteX3" fmla="*/ 260385 w 416960"/>
                <a:gd name="connsiteY3" fmla="*/ 12979 h 541402"/>
                <a:gd name="connsiteX4" fmla="*/ 92987 w 416960"/>
                <a:gd name="connsiteY4" fmla="*/ 298085 h 541402"/>
                <a:gd name="connsiteX5" fmla="*/ 3631 w 416960"/>
                <a:gd name="connsiteY5" fmla="*/ 492087 h 541402"/>
                <a:gd name="connsiteX6" fmla="*/ 34012 w 416960"/>
                <a:gd name="connsiteY6" fmla="*/ 497432 h 541402"/>
                <a:gd name="connsiteX7" fmla="*/ 74367 w 416960"/>
                <a:gd name="connsiteY7" fmla="*/ 505383 h 541402"/>
                <a:gd name="connsiteX8" fmla="*/ 171653 w 416960"/>
                <a:gd name="connsiteY8" fmla="*/ 532944 h 541402"/>
                <a:gd name="connsiteX9" fmla="*/ 403819 w 416960"/>
                <a:gd name="connsiteY9" fmla="*/ 399773 h 541402"/>
                <a:gd name="connsiteX10" fmla="*/ 420299 w 416960"/>
                <a:gd name="connsiteY10" fmla="*/ 288934 h 541402"/>
                <a:gd name="connsiteX11" fmla="*/ 417893 w 416960"/>
                <a:gd name="connsiteY11" fmla="*/ 264032 h 5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960" h="541402">
                  <a:moveTo>
                    <a:pt x="417893" y="264032"/>
                  </a:moveTo>
                  <a:cubicBezTo>
                    <a:pt x="415666" y="159205"/>
                    <a:pt x="378963" y="67745"/>
                    <a:pt x="289250" y="2965"/>
                  </a:cubicBezTo>
                  <a:cubicBezTo>
                    <a:pt x="283549" y="-1171"/>
                    <a:pt x="274995" y="830"/>
                    <a:pt x="270273" y="5553"/>
                  </a:cubicBezTo>
                  <a:cubicBezTo>
                    <a:pt x="265997" y="6398"/>
                    <a:pt x="262434" y="9137"/>
                    <a:pt x="260385" y="12979"/>
                  </a:cubicBezTo>
                  <a:cubicBezTo>
                    <a:pt x="207378" y="109606"/>
                    <a:pt x="151608" y="204641"/>
                    <a:pt x="92987" y="298085"/>
                  </a:cubicBezTo>
                  <a:cubicBezTo>
                    <a:pt x="55303" y="358454"/>
                    <a:pt x="9602" y="418903"/>
                    <a:pt x="3631" y="492087"/>
                  </a:cubicBezTo>
                  <a:cubicBezTo>
                    <a:pt x="2563" y="493475"/>
                    <a:pt x="30090" y="509198"/>
                    <a:pt x="34012" y="497432"/>
                  </a:cubicBezTo>
                  <a:cubicBezTo>
                    <a:pt x="47730" y="497832"/>
                    <a:pt x="61271" y="501328"/>
                    <a:pt x="74367" y="505383"/>
                  </a:cubicBezTo>
                  <a:cubicBezTo>
                    <a:pt x="106440" y="515397"/>
                    <a:pt x="138956" y="525296"/>
                    <a:pt x="171653" y="532944"/>
                  </a:cubicBezTo>
                  <a:cubicBezTo>
                    <a:pt x="279449" y="561492"/>
                    <a:pt x="395175" y="525171"/>
                    <a:pt x="403819" y="399773"/>
                  </a:cubicBezTo>
                  <a:cubicBezTo>
                    <a:pt x="415399" y="383507"/>
                    <a:pt x="421991" y="311328"/>
                    <a:pt x="420299" y="288934"/>
                  </a:cubicBezTo>
                  <a:lnTo>
                    <a:pt x="417893" y="264032"/>
                  </a:ln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08" name="Freeform: Shape 107">
              <a:extLst>
                <a:ext uri="{FF2B5EF4-FFF2-40B4-BE49-F238E27FC236}">
                  <a16:creationId xmlns:a16="http://schemas.microsoft.com/office/drawing/2014/main" id="{B9EFC6CC-C83C-2367-2E84-005AB31B3A0A}"/>
                </a:ext>
              </a:extLst>
            </p:cNvPr>
            <p:cNvSpPr/>
            <p:nvPr/>
          </p:nvSpPr>
          <p:spPr>
            <a:xfrm>
              <a:off x="5784287" y="2850534"/>
              <a:ext cx="633705" cy="669283"/>
            </a:xfrm>
            <a:custGeom>
              <a:avLst/>
              <a:gdLst>
                <a:gd name="connsiteX0" fmla="*/ 636930 w 633705"/>
                <a:gd name="connsiteY0" fmla="*/ 612986 h 669283"/>
                <a:gd name="connsiteX1" fmla="*/ 603165 w 633705"/>
                <a:gd name="connsiteY1" fmla="*/ 396697 h 669283"/>
                <a:gd name="connsiteX2" fmla="*/ 591583 w 633705"/>
                <a:gd name="connsiteY2" fmla="*/ 291282 h 669283"/>
                <a:gd name="connsiteX3" fmla="*/ 575100 w 633705"/>
                <a:gd name="connsiteY3" fmla="*/ 193872 h 669283"/>
                <a:gd name="connsiteX4" fmla="*/ 538397 w 633705"/>
                <a:gd name="connsiteY4" fmla="*/ 109402 h 669283"/>
                <a:gd name="connsiteX5" fmla="*/ 478976 w 633705"/>
                <a:gd name="connsiteY5" fmla="*/ 47771 h 669283"/>
                <a:gd name="connsiteX6" fmla="*/ 317635 w 633705"/>
                <a:gd name="connsiteY6" fmla="*/ 1854 h 669283"/>
                <a:gd name="connsiteX7" fmla="*/ 299817 w 633705"/>
                <a:gd name="connsiteY7" fmla="*/ 2681 h 669283"/>
                <a:gd name="connsiteX8" fmla="*/ 8498 w 633705"/>
                <a:gd name="connsiteY8" fmla="*/ 507314 h 669283"/>
                <a:gd name="connsiteX9" fmla="*/ 7606 w 633705"/>
                <a:gd name="connsiteY9" fmla="*/ 526230 h 669283"/>
                <a:gd name="connsiteX10" fmla="*/ 3955 w 633705"/>
                <a:gd name="connsiteY10" fmla="*/ 568572 h 669283"/>
                <a:gd name="connsiteX11" fmla="*/ 5112 w 633705"/>
                <a:gd name="connsiteY11" fmla="*/ 617611 h 669283"/>
                <a:gd name="connsiteX12" fmla="*/ 15358 w 633705"/>
                <a:gd name="connsiteY12" fmla="*/ 666738 h 669283"/>
                <a:gd name="connsiteX13" fmla="*/ 221062 w 633705"/>
                <a:gd name="connsiteY13" fmla="*/ 652090 h 669283"/>
                <a:gd name="connsiteX14" fmla="*/ 226141 w 633705"/>
                <a:gd name="connsiteY14" fmla="*/ 583433 h 669283"/>
                <a:gd name="connsiteX15" fmla="*/ 221954 w 633705"/>
                <a:gd name="connsiteY15" fmla="*/ 550803 h 669283"/>
                <a:gd name="connsiteX16" fmla="*/ 218924 w 633705"/>
                <a:gd name="connsiteY16" fmla="*/ 537996 h 669283"/>
                <a:gd name="connsiteX17" fmla="*/ 277724 w 633705"/>
                <a:gd name="connsiteY17" fmla="*/ 436860 h 669283"/>
                <a:gd name="connsiteX18" fmla="*/ 401201 w 633705"/>
                <a:gd name="connsiteY18" fmla="*/ 226752 h 669283"/>
                <a:gd name="connsiteX19" fmla="*/ 444319 w 633705"/>
                <a:gd name="connsiteY19" fmla="*/ 110532 h 669283"/>
                <a:gd name="connsiteX20" fmla="*/ 445657 w 633705"/>
                <a:gd name="connsiteY20" fmla="*/ 110799 h 669283"/>
                <a:gd name="connsiteX21" fmla="*/ 446100 w 633705"/>
                <a:gd name="connsiteY21" fmla="*/ 112213 h 669283"/>
                <a:gd name="connsiteX22" fmla="*/ 526102 w 633705"/>
                <a:gd name="connsiteY22" fmla="*/ 220909 h 669283"/>
                <a:gd name="connsiteX23" fmla="*/ 553274 w 633705"/>
                <a:gd name="connsiteY23" fmla="*/ 377291 h 669283"/>
                <a:gd name="connsiteX24" fmla="*/ 428283 w 633705"/>
                <a:gd name="connsiteY24" fmla="*/ 592922 h 669283"/>
                <a:gd name="connsiteX25" fmla="*/ 363961 w 633705"/>
                <a:gd name="connsiteY25" fmla="*/ 596284 h 669283"/>
                <a:gd name="connsiteX26" fmla="*/ 335096 w 633705"/>
                <a:gd name="connsiteY26" fmla="*/ 586127 h 669283"/>
                <a:gd name="connsiteX27" fmla="*/ 307480 w 633705"/>
                <a:gd name="connsiteY27" fmla="*/ 567069 h 669283"/>
                <a:gd name="connsiteX28" fmla="*/ 293671 w 633705"/>
                <a:gd name="connsiteY28" fmla="*/ 580845 h 669283"/>
                <a:gd name="connsiteX29" fmla="*/ 348281 w 633705"/>
                <a:gd name="connsiteY29" fmla="*/ 616303 h 669283"/>
                <a:gd name="connsiteX30" fmla="*/ 414476 w 633705"/>
                <a:gd name="connsiteY30" fmla="*/ 618758 h 669283"/>
                <a:gd name="connsiteX31" fmla="*/ 419463 w 633705"/>
                <a:gd name="connsiteY31" fmla="*/ 617806 h 669283"/>
                <a:gd name="connsiteX32" fmla="*/ 426055 w 633705"/>
                <a:gd name="connsiteY32" fmla="*/ 633218 h 669283"/>
                <a:gd name="connsiteX33" fmla="*/ 432204 w 633705"/>
                <a:gd name="connsiteY33" fmla="*/ 638403 h 669283"/>
                <a:gd name="connsiteX34" fmla="*/ 441646 w 633705"/>
                <a:gd name="connsiteY34" fmla="*/ 650329 h 669283"/>
                <a:gd name="connsiteX35" fmla="*/ 626505 w 633705"/>
                <a:gd name="connsiteY35" fmla="*/ 631280 h 669283"/>
                <a:gd name="connsiteX36" fmla="*/ 636930 w 633705"/>
                <a:gd name="connsiteY36" fmla="*/ 612986 h 66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33705" h="669283">
                  <a:moveTo>
                    <a:pt x="636930" y="612986"/>
                  </a:moveTo>
                  <a:cubicBezTo>
                    <a:pt x="621696" y="541536"/>
                    <a:pt x="611895" y="469161"/>
                    <a:pt x="603165" y="396697"/>
                  </a:cubicBezTo>
                  <a:cubicBezTo>
                    <a:pt x="598889" y="361603"/>
                    <a:pt x="595502" y="326412"/>
                    <a:pt x="591583" y="291282"/>
                  </a:cubicBezTo>
                  <a:cubicBezTo>
                    <a:pt x="587931" y="258555"/>
                    <a:pt x="583655" y="225729"/>
                    <a:pt x="575100" y="193872"/>
                  </a:cubicBezTo>
                  <a:cubicBezTo>
                    <a:pt x="567173" y="164266"/>
                    <a:pt x="555591" y="134962"/>
                    <a:pt x="538397" y="109402"/>
                  </a:cubicBezTo>
                  <a:cubicBezTo>
                    <a:pt x="522271" y="85595"/>
                    <a:pt x="502227" y="64748"/>
                    <a:pt x="478976" y="47771"/>
                  </a:cubicBezTo>
                  <a:cubicBezTo>
                    <a:pt x="433183" y="13895"/>
                    <a:pt x="374564" y="-4123"/>
                    <a:pt x="317635" y="1854"/>
                  </a:cubicBezTo>
                  <a:cubicBezTo>
                    <a:pt x="308994" y="2770"/>
                    <a:pt x="300709" y="2601"/>
                    <a:pt x="299817" y="2681"/>
                  </a:cubicBezTo>
                  <a:cubicBezTo>
                    <a:pt x="68009" y="23705"/>
                    <a:pt x="13488" y="426161"/>
                    <a:pt x="8498" y="507314"/>
                  </a:cubicBezTo>
                  <a:cubicBezTo>
                    <a:pt x="8141" y="513628"/>
                    <a:pt x="7785" y="519933"/>
                    <a:pt x="7606" y="526230"/>
                  </a:cubicBezTo>
                  <a:cubicBezTo>
                    <a:pt x="5825" y="540308"/>
                    <a:pt x="4579" y="554422"/>
                    <a:pt x="3955" y="568572"/>
                  </a:cubicBezTo>
                  <a:cubicBezTo>
                    <a:pt x="3241" y="584927"/>
                    <a:pt x="3598" y="601309"/>
                    <a:pt x="5112" y="617611"/>
                  </a:cubicBezTo>
                  <a:cubicBezTo>
                    <a:pt x="6628" y="634294"/>
                    <a:pt x="8409" y="651396"/>
                    <a:pt x="15358" y="666738"/>
                  </a:cubicBezTo>
                  <a:cubicBezTo>
                    <a:pt x="19634" y="676183"/>
                    <a:pt x="219013" y="663243"/>
                    <a:pt x="221062" y="652090"/>
                  </a:cubicBezTo>
                  <a:cubicBezTo>
                    <a:pt x="225517" y="629483"/>
                    <a:pt x="227122" y="606431"/>
                    <a:pt x="226141" y="583433"/>
                  </a:cubicBezTo>
                  <a:cubicBezTo>
                    <a:pt x="225606" y="572467"/>
                    <a:pt x="224271" y="561555"/>
                    <a:pt x="221954" y="550803"/>
                  </a:cubicBezTo>
                  <a:cubicBezTo>
                    <a:pt x="221330" y="547868"/>
                    <a:pt x="220619" y="542354"/>
                    <a:pt x="218924" y="537996"/>
                  </a:cubicBezTo>
                  <a:cubicBezTo>
                    <a:pt x="237099" y="503498"/>
                    <a:pt x="257144" y="469988"/>
                    <a:pt x="277724" y="436860"/>
                  </a:cubicBezTo>
                  <a:cubicBezTo>
                    <a:pt x="320576" y="367891"/>
                    <a:pt x="366188" y="300203"/>
                    <a:pt x="401201" y="226752"/>
                  </a:cubicBezTo>
                  <a:cubicBezTo>
                    <a:pt x="418752" y="189951"/>
                    <a:pt x="436034" y="150864"/>
                    <a:pt x="444319" y="110532"/>
                  </a:cubicBezTo>
                  <a:lnTo>
                    <a:pt x="445657" y="110799"/>
                  </a:lnTo>
                  <a:cubicBezTo>
                    <a:pt x="445478" y="111315"/>
                    <a:pt x="445657" y="111893"/>
                    <a:pt x="446100" y="112213"/>
                  </a:cubicBezTo>
                  <a:cubicBezTo>
                    <a:pt x="484141" y="138475"/>
                    <a:pt x="509622" y="178291"/>
                    <a:pt x="526102" y="220909"/>
                  </a:cubicBezTo>
                  <a:cubicBezTo>
                    <a:pt x="545346" y="270756"/>
                    <a:pt x="554523" y="323895"/>
                    <a:pt x="553274" y="377291"/>
                  </a:cubicBezTo>
                  <a:cubicBezTo>
                    <a:pt x="551136" y="461788"/>
                    <a:pt x="519066" y="566215"/>
                    <a:pt x="428283" y="592922"/>
                  </a:cubicBezTo>
                  <a:cubicBezTo>
                    <a:pt x="407526" y="599014"/>
                    <a:pt x="385165" y="600739"/>
                    <a:pt x="363961" y="596284"/>
                  </a:cubicBezTo>
                  <a:cubicBezTo>
                    <a:pt x="353895" y="594265"/>
                    <a:pt x="344183" y="590850"/>
                    <a:pt x="335096" y="586127"/>
                  </a:cubicBezTo>
                  <a:cubicBezTo>
                    <a:pt x="325119" y="580809"/>
                    <a:pt x="316833" y="573268"/>
                    <a:pt x="307480" y="567069"/>
                  </a:cubicBezTo>
                  <a:cubicBezTo>
                    <a:pt x="298839" y="561395"/>
                    <a:pt x="288771" y="572458"/>
                    <a:pt x="293671" y="580845"/>
                  </a:cubicBezTo>
                  <a:cubicBezTo>
                    <a:pt x="304629" y="599388"/>
                    <a:pt x="328147" y="610727"/>
                    <a:pt x="348281" y="616303"/>
                  </a:cubicBezTo>
                  <a:cubicBezTo>
                    <a:pt x="369842" y="622271"/>
                    <a:pt x="392558" y="622546"/>
                    <a:pt x="414476" y="618758"/>
                  </a:cubicBezTo>
                  <a:cubicBezTo>
                    <a:pt x="416079" y="618473"/>
                    <a:pt x="417771" y="618153"/>
                    <a:pt x="419463" y="617806"/>
                  </a:cubicBezTo>
                  <a:cubicBezTo>
                    <a:pt x="419909" y="623515"/>
                    <a:pt x="422225" y="628923"/>
                    <a:pt x="426055" y="633218"/>
                  </a:cubicBezTo>
                  <a:cubicBezTo>
                    <a:pt x="427839" y="635255"/>
                    <a:pt x="429888" y="637007"/>
                    <a:pt x="432204" y="638403"/>
                  </a:cubicBezTo>
                  <a:cubicBezTo>
                    <a:pt x="432559" y="643766"/>
                    <a:pt x="436034" y="649156"/>
                    <a:pt x="441646" y="650329"/>
                  </a:cubicBezTo>
                  <a:cubicBezTo>
                    <a:pt x="471670" y="656573"/>
                    <a:pt x="596483" y="640200"/>
                    <a:pt x="626505" y="631280"/>
                  </a:cubicBezTo>
                  <a:cubicBezTo>
                    <a:pt x="634524" y="628896"/>
                    <a:pt x="638622" y="621017"/>
                    <a:pt x="636930" y="612986"/>
                  </a:cubicBezTo>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9" name="Freeform: Shape 108">
              <a:extLst>
                <a:ext uri="{FF2B5EF4-FFF2-40B4-BE49-F238E27FC236}">
                  <a16:creationId xmlns:a16="http://schemas.microsoft.com/office/drawing/2014/main" id="{828D9F7E-55A8-6635-D9C2-364F6512C4AD}"/>
                </a:ext>
              </a:extLst>
            </p:cNvPr>
            <p:cNvSpPr/>
            <p:nvPr/>
          </p:nvSpPr>
          <p:spPr>
            <a:xfrm>
              <a:off x="6213140" y="3347346"/>
              <a:ext cx="19486" cy="36698"/>
            </a:xfrm>
            <a:custGeom>
              <a:avLst/>
              <a:gdLst>
                <a:gd name="connsiteX0" fmla="*/ 14975 w 19486"/>
                <a:gd name="connsiteY0" fmla="*/ 6 h 36698"/>
                <a:gd name="connsiteX1" fmla="*/ 16757 w 19486"/>
                <a:gd name="connsiteY1" fmla="*/ 32023 h 36698"/>
                <a:gd name="connsiteX2" fmla="*/ 721 w 19486"/>
                <a:gd name="connsiteY2" fmla="*/ 32023 h 36698"/>
                <a:gd name="connsiteX3" fmla="*/ 14975 w 19486"/>
                <a:gd name="connsiteY3" fmla="*/ 6 h 36698"/>
              </a:gdLst>
              <a:ahLst/>
              <a:cxnLst>
                <a:cxn ang="0">
                  <a:pos x="connsiteX0" y="connsiteY0"/>
                </a:cxn>
                <a:cxn ang="0">
                  <a:pos x="connsiteX1" y="connsiteY1"/>
                </a:cxn>
                <a:cxn ang="0">
                  <a:pos x="connsiteX2" y="connsiteY2"/>
                </a:cxn>
                <a:cxn ang="0">
                  <a:pos x="connsiteX3" y="connsiteY3"/>
                </a:cxn>
              </a:cxnLst>
              <a:rect l="l" t="t" r="r" b="b"/>
              <a:pathLst>
                <a:path w="19486" h="36698">
                  <a:moveTo>
                    <a:pt x="14975" y="6"/>
                  </a:moveTo>
                  <a:cubicBezTo>
                    <a:pt x="19929" y="504"/>
                    <a:pt x="21212" y="28465"/>
                    <a:pt x="16757" y="32023"/>
                  </a:cubicBezTo>
                  <a:cubicBezTo>
                    <a:pt x="12303" y="35580"/>
                    <a:pt x="4730" y="40471"/>
                    <a:pt x="721" y="32023"/>
                  </a:cubicBezTo>
                  <a:cubicBezTo>
                    <a:pt x="-3288" y="23574"/>
                    <a:pt x="10521" y="-439"/>
                    <a:pt x="14975" y="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10" name="Freeform: Shape 109">
              <a:extLst>
                <a:ext uri="{FF2B5EF4-FFF2-40B4-BE49-F238E27FC236}">
                  <a16:creationId xmlns:a16="http://schemas.microsoft.com/office/drawing/2014/main" id="{D2256BCC-84E8-5B1A-EB8A-A81C8A364300}"/>
                </a:ext>
              </a:extLst>
            </p:cNvPr>
            <p:cNvSpPr/>
            <p:nvPr/>
          </p:nvSpPr>
          <p:spPr>
            <a:xfrm>
              <a:off x="6097697" y="3162211"/>
              <a:ext cx="73573" cy="81798"/>
            </a:xfrm>
            <a:custGeom>
              <a:avLst/>
              <a:gdLst>
                <a:gd name="connsiteX0" fmla="*/ 27725 w 73573"/>
                <a:gd name="connsiteY0" fmla="*/ 593 h 81798"/>
                <a:gd name="connsiteX1" fmla="*/ 72385 w 73573"/>
                <a:gd name="connsiteY1" fmla="*/ 28830 h 81798"/>
                <a:gd name="connsiteX2" fmla="*/ 35859 w 73573"/>
                <a:gd name="connsiteY2" fmla="*/ 81524 h 81798"/>
                <a:gd name="connsiteX3" fmla="*/ 1 w 73573"/>
                <a:gd name="connsiteY3" fmla="*/ 47835 h 81798"/>
                <a:gd name="connsiteX4" fmla="*/ 27725 w 73573"/>
                <a:gd name="connsiteY4" fmla="*/ 593 h 8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73" h="81798">
                  <a:moveTo>
                    <a:pt x="27725" y="593"/>
                  </a:moveTo>
                  <a:cubicBezTo>
                    <a:pt x="38834" y="-2680"/>
                    <a:pt x="68145" y="7708"/>
                    <a:pt x="72385" y="28830"/>
                  </a:cubicBezTo>
                  <a:cubicBezTo>
                    <a:pt x="77437" y="54034"/>
                    <a:pt x="66594" y="77966"/>
                    <a:pt x="35859" y="81524"/>
                  </a:cubicBezTo>
                  <a:cubicBezTo>
                    <a:pt x="11422" y="84352"/>
                    <a:pt x="-106" y="64848"/>
                    <a:pt x="1" y="47835"/>
                  </a:cubicBezTo>
                  <a:cubicBezTo>
                    <a:pt x="134" y="26713"/>
                    <a:pt x="8126" y="6374"/>
                    <a:pt x="27725" y="59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11" name="Freeform: Shape 110">
              <a:extLst>
                <a:ext uri="{FF2B5EF4-FFF2-40B4-BE49-F238E27FC236}">
                  <a16:creationId xmlns:a16="http://schemas.microsoft.com/office/drawing/2014/main" id="{D68E49B6-60D2-8D8B-647B-DE896C8740AF}"/>
                </a:ext>
              </a:extLst>
            </p:cNvPr>
            <p:cNvSpPr/>
            <p:nvPr/>
          </p:nvSpPr>
          <p:spPr>
            <a:xfrm>
              <a:off x="6257871" y="3162122"/>
              <a:ext cx="71276" cy="81764"/>
            </a:xfrm>
            <a:custGeom>
              <a:avLst/>
              <a:gdLst>
                <a:gd name="connsiteX0" fmla="*/ 27021 w 71276"/>
                <a:gd name="connsiteY0" fmla="*/ 789 h 81764"/>
                <a:gd name="connsiteX1" fmla="*/ 65774 w 71276"/>
                <a:gd name="connsiteY1" fmla="*/ 18905 h 81764"/>
                <a:gd name="connsiteX2" fmla="*/ 57088 w 71276"/>
                <a:gd name="connsiteY2" fmla="*/ 73493 h 81764"/>
                <a:gd name="connsiteX3" fmla="*/ 7644 w 71276"/>
                <a:gd name="connsiteY3" fmla="*/ 72159 h 81764"/>
                <a:gd name="connsiteX4" fmla="*/ 27021 w 71276"/>
                <a:gd name="connsiteY4" fmla="*/ 789 h 81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76" h="81764">
                  <a:moveTo>
                    <a:pt x="27021" y="789"/>
                  </a:moveTo>
                  <a:cubicBezTo>
                    <a:pt x="39939" y="-3275"/>
                    <a:pt x="61587" y="9202"/>
                    <a:pt x="65774" y="18905"/>
                  </a:cubicBezTo>
                  <a:cubicBezTo>
                    <a:pt x="71672" y="32583"/>
                    <a:pt x="77356" y="55368"/>
                    <a:pt x="57088" y="73493"/>
                  </a:cubicBezTo>
                  <a:cubicBezTo>
                    <a:pt x="42486" y="86549"/>
                    <a:pt x="15199" y="82654"/>
                    <a:pt x="7644" y="72159"/>
                  </a:cubicBezTo>
                  <a:cubicBezTo>
                    <a:pt x="-3715" y="56373"/>
                    <a:pt x="-6165" y="11239"/>
                    <a:pt x="27021" y="78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12" name="Freeform: Shape 111">
              <a:extLst>
                <a:ext uri="{FF2B5EF4-FFF2-40B4-BE49-F238E27FC236}">
                  <a16:creationId xmlns:a16="http://schemas.microsoft.com/office/drawing/2014/main" id="{FF91A9FF-D47C-1233-894F-530F03256816}"/>
                </a:ext>
              </a:extLst>
            </p:cNvPr>
            <p:cNvSpPr/>
            <p:nvPr/>
          </p:nvSpPr>
          <p:spPr>
            <a:xfrm>
              <a:off x="6209192" y="3212915"/>
              <a:ext cx="56859" cy="70011"/>
            </a:xfrm>
            <a:custGeom>
              <a:avLst/>
              <a:gdLst>
                <a:gd name="connsiteX0" fmla="*/ 4072 w 56859"/>
                <a:gd name="connsiteY0" fmla="*/ 64606 h 70011"/>
                <a:gd name="connsiteX1" fmla="*/ 12535 w 56859"/>
                <a:gd name="connsiteY1" fmla="*/ 50145 h 70011"/>
                <a:gd name="connsiteX2" fmla="*/ 32001 w 56859"/>
                <a:gd name="connsiteY2" fmla="*/ 51915 h 70011"/>
                <a:gd name="connsiteX3" fmla="*/ 40046 w 56859"/>
                <a:gd name="connsiteY3" fmla="*/ 47459 h 70011"/>
                <a:gd name="connsiteX4" fmla="*/ 40268 w 56859"/>
                <a:gd name="connsiteY4" fmla="*/ 39740 h 70011"/>
                <a:gd name="connsiteX5" fmla="*/ 28901 w 56859"/>
                <a:gd name="connsiteY5" fmla="*/ 16750 h 70011"/>
                <a:gd name="connsiteX6" fmla="*/ 27217 w 56859"/>
                <a:gd name="connsiteY6" fmla="*/ 1364 h 70011"/>
                <a:gd name="connsiteX7" fmla="*/ 32143 w 56859"/>
                <a:gd name="connsiteY7" fmla="*/ 1364 h 70011"/>
                <a:gd name="connsiteX8" fmla="*/ 45204 w 56859"/>
                <a:gd name="connsiteY8" fmla="*/ 25510 h 70011"/>
                <a:gd name="connsiteX9" fmla="*/ 53275 w 56859"/>
                <a:gd name="connsiteY9" fmla="*/ 40656 h 70011"/>
                <a:gd name="connsiteX10" fmla="*/ 55458 w 56859"/>
                <a:gd name="connsiteY10" fmla="*/ 54405 h 70011"/>
                <a:gd name="connsiteX11" fmla="*/ 4072 w 56859"/>
                <a:gd name="connsiteY11" fmla="*/ 64606 h 70011"/>
                <a:gd name="connsiteX12" fmla="*/ 4072 w 56859"/>
                <a:gd name="connsiteY12" fmla="*/ 64606 h 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59" h="70011">
                  <a:moveTo>
                    <a:pt x="4072" y="64606"/>
                  </a:moveTo>
                  <a:cubicBezTo>
                    <a:pt x="-5265" y="59163"/>
                    <a:pt x="3118" y="44853"/>
                    <a:pt x="12535" y="50145"/>
                  </a:cubicBezTo>
                  <a:cubicBezTo>
                    <a:pt x="18557" y="53533"/>
                    <a:pt x="25426" y="54049"/>
                    <a:pt x="32001" y="51915"/>
                  </a:cubicBezTo>
                  <a:cubicBezTo>
                    <a:pt x="34941" y="50963"/>
                    <a:pt x="37622" y="49380"/>
                    <a:pt x="40046" y="47459"/>
                  </a:cubicBezTo>
                  <a:cubicBezTo>
                    <a:pt x="43431" y="44773"/>
                    <a:pt x="41997" y="43679"/>
                    <a:pt x="40268" y="39740"/>
                  </a:cubicBezTo>
                  <a:cubicBezTo>
                    <a:pt x="36838" y="31913"/>
                    <a:pt x="32500" y="24505"/>
                    <a:pt x="28901" y="16750"/>
                  </a:cubicBezTo>
                  <a:cubicBezTo>
                    <a:pt x="26495" y="11565"/>
                    <a:pt x="23404" y="6362"/>
                    <a:pt x="27217" y="1364"/>
                  </a:cubicBezTo>
                  <a:cubicBezTo>
                    <a:pt x="28562" y="-406"/>
                    <a:pt x="30816" y="-503"/>
                    <a:pt x="32143" y="1364"/>
                  </a:cubicBezTo>
                  <a:cubicBezTo>
                    <a:pt x="37257" y="8559"/>
                    <a:pt x="41328" y="17186"/>
                    <a:pt x="45204" y="25510"/>
                  </a:cubicBezTo>
                  <a:cubicBezTo>
                    <a:pt x="47600" y="30659"/>
                    <a:pt x="49943" y="36022"/>
                    <a:pt x="53275" y="40656"/>
                  </a:cubicBezTo>
                  <a:cubicBezTo>
                    <a:pt x="56456" y="45076"/>
                    <a:pt x="58291" y="49095"/>
                    <a:pt x="55458" y="54405"/>
                  </a:cubicBezTo>
                  <a:cubicBezTo>
                    <a:pt x="46041" y="72041"/>
                    <a:pt x="19600" y="73659"/>
                    <a:pt x="4072" y="64606"/>
                  </a:cubicBezTo>
                  <a:lnTo>
                    <a:pt x="4072" y="64606"/>
                  </a:ln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113" name="Freeform: Shape 112">
              <a:extLst>
                <a:ext uri="{FF2B5EF4-FFF2-40B4-BE49-F238E27FC236}">
                  <a16:creationId xmlns:a16="http://schemas.microsoft.com/office/drawing/2014/main" id="{5BAB733C-18FE-944C-8148-D47924B73776}"/>
                </a:ext>
              </a:extLst>
            </p:cNvPr>
            <p:cNvSpPr/>
            <p:nvPr/>
          </p:nvSpPr>
          <p:spPr>
            <a:xfrm>
              <a:off x="6085133" y="3091446"/>
              <a:ext cx="87269" cy="53555"/>
            </a:xfrm>
            <a:custGeom>
              <a:avLst/>
              <a:gdLst>
                <a:gd name="connsiteX0" fmla="*/ 5340 w 87269"/>
                <a:gd name="connsiteY0" fmla="*/ 52140 h 53555"/>
                <a:gd name="connsiteX1" fmla="*/ 36459 w 87269"/>
                <a:gd name="connsiteY1" fmla="*/ 17020 h 53555"/>
                <a:gd name="connsiteX2" fmla="*/ 63604 w 87269"/>
                <a:gd name="connsiteY2" fmla="*/ 14565 h 53555"/>
                <a:gd name="connsiteX3" fmla="*/ 81395 w 87269"/>
                <a:gd name="connsiteY3" fmla="*/ 30200 h 53555"/>
                <a:gd name="connsiteX4" fmla="*/ 86811 w 87269"/>
                <a:gd name="connsiteY4" fmla="*/ 28768 h 53555"/>
                <a:gd name="connsiteX5" fmla="*/ 73101 w 87269"/>
                <a:gd name="connsiteY5" fmla="*/ 4587 h 53555"/>
                <a:gd name="connsiteX6" fmla="*/ 37430 w 87269"/>
                <a:gd name="connsiteY6" fmla="*/ 3164 h 53555"/>
                <a:gd name="connsiteX7" fmla="*/ 3 w 87269"/>
                <a:gd name="connsiteY7" fmla="*/ 50699 h 53555"/>
                <a:gd name="connsiteX8" fmla="*/ 5340 w 87269"/>
                <a:gd name="connsiteY8" fmla="*/ 52140 h 53555"/>
                <a:gd name="connsiteX9" fmla="*/ 5340 w 87269"/>
                <a:gd name="connsiteY9" fmla="*/ 52140 h 5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69" h="53555">
                  <a:moveTo>
                    <a:pt x="5340" y="52140"/>
                  </a:moveTo>
                  <a:cubicBezTo>
                    <a:pt x="11594" y="37635"/>
                    <a:pt x="21830" y="23797"/>
                    <a:pt x="36459" y="17020"/>
                  </a:cubicBezTo>
                  <a:cubicBezTo>
                    <a:pt x="44681" y="13213"/>
                    <a:pt x="54873" y="11426"/>
                    <a:pt x="63604" y="14565"/>
                  </a:cubicBezTo>
                  <a:cubicBezTo>
                    <a:pt x="71506" y="17402"/>
                    <a:pt x="76192" y="24037"/>
                    <a:pt x="81395" y="30200"/>
                  </a:cubicBezTo>
                  <a:cubicBezTo>
                    <a:pt x="82954" y="32050"/>
                    <a:pt x="86295" y="31027"/>
                    <a:pt x="86811" y="28768"/>
                  </a:cubicBezTo>
                  <a:cubicBezTo>
                    <a:pt x="89199" y="18345"/>
                    <a:pt x="81894" y="9540"/>
                    <a:pt x="73101" y="4587"/>
                  </a:cubicBezTo>
                  <a:cubicBezTo>
                    <a:pt x="62339" y="-1470"/>
                    <a:pt x="48735" y="-1087"/>
                    <a:pt x="37430" y="3164"/>
                  </a:cubicBezTo>
                  <a:cubicBezTo>
                    <a:pt x="17153" y="10785"/>
                    <a:pt x="1117" y="28688"/>
                    <a:pt x="3" y="50699"/>
                  </a:cubicBezTo>
                  <a:cubicBezTo>
                    <a:pt x="-139" y="53394"/>
                    <a:pt x="4200" y="54781"/>
                    <a:pt x="5340" y="52140"/>
                  </a:cubicBezTo>
                  <a:lnTo>
                    <a:pt x="5340" y="5214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4" name="Freeform: Shape 113">
              <a:extLst>
                <a:ext uri="{FF2B5EF4-FFF2-40B4-BE49-F238E27FC236}">
                  <a16:creationId xmlns:a16="http://schemas.microsoft.com/office/drawing/2014/main" id="{6D2D5B3A-C808-86DB-C76B-D53E28790ADF}"/>
                </a:ext>
              </a:extLst>
            </p:cNvPr>
            <p:cNvSpPr/>
            <p:nvPr/>
          </p:nvSpPr>
          <p:spPr>
            <a:xfrm>
              <a:off x="6254199" y="3114300"/>
              <a:ext cx="71581" cy="45127"/>
            </a:xfrm>
            <a:custGeom>
              <a:avLst/>
              <a:gdLst>
                <a:gd name="connsiteX0" fmla="*/ 7573 w 71581"/>
                <a:gd name="connsiteY0" fmla="*/ 27810 h 45127"/>
                <a:gd name="connsiteX1" fmla="*/ 41944 w 71581"/>
                <a:gd name="connsiteY1" fmla="*/ 12513 h 45127"/>
                <a:gd name="connsiteX2" fmla="*/ 55601 w 71581"/>
                <a:gd name="connsiteY2" fmla="*/ 24163 h 45127"/>
                <a:gd name="connsiteX3" fmla="*/ 64358 w 71581"/>
                <a:gd name="connsiteY3" fmla="*/ 43560 h 45127"/>
                <a:gd name="connsiteX4" fmla="*/ 70452 w 71581"/>
                <a:gd name="connsiteY4" fmla="*/ 42768 h 45127"/>
                <a:gd name="connsiteX5" fmla="*/ 65365 w 71581"/>
                <a:gd name="connsiteY5" fmla="*/ 17138 h 45127"/>
                <a:gd name="connsiteX6" fmla="*/ 45997 w 71581"/>
                <a:gd name="connsiteY6" fmla="*/ 1423 h 45127"/>
                <a:gd name="connsiteX7" fmla="*/ 1248 w 71581"/>
                <a:gd name="connsiteY7" fmla="*/ 21513 h 45127"/>
                <a:gd name="connsiteX8" fmla="*/ 7573 w 71581"/>
                <a:gd name="connsiteY8" fmla="*/ 27810 h 45127"/>
                <a:gd name="connsiteX9" fmla="*/ 7573 w 71581"/>
                <a:gd name="connsiteY9" fmla="*/ 27810 h 4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81" h="45127">
                  <a:moveTo>
                    <a:pt x="7573" y="27810"/>
                  </a:moveTo>
                  <a:cubicBezTo>
                    <a:pt x="16553" y="19210"/>
                    <a:pt x="28393" y="7951"/>
                    <a:pt x="41944" y="12513"/>
                  </a:cubicBezTo>
                  <a:cubicBezTo>
                    <a:pt x="47868" y="14505"/>
                    <a:pt x="52412" y="18916"/>
                    <a:pt x="55601" y="24163"/>
                  </a:cubicBezTo>
                  <a:cubicBezTo>
                    <a:pt x="59289" y="30229"/>
                    <a:pt x="60144" y="37904"/>
                    <a:pt x="64358" y="43560"/>
                  </a:cubicBezTo>
                  <a:cubicBezTo>
                    <a:pt x="66131" y="45943"/>
                    <a:pt x="69374" y="45552"/>
                    <a:pt x="70452" y="42768"/>
                  </a:cubicBezTo>
                  <a:cubicBezTo>
                    <a:pt x="73570" y="34711"/>
                    <a:pt x="69695" y="24137"/>
                    <a:pt x="65365" y="17138"/>
                  </a:cubicBezTo>
                  <a:cubicBezTo>
                    <a:pt x="60937" y="9978"/>
                    <a:pt x="54051" y="4082"/>
                    <a:pt x="45997" y="1423"/>
                  </a:cubicBezTo>
                  <a:cubicBezTo>
                    <a:pt x="27983" y="-4527"/>
                    <a:pt x="12527" y="9347"/>
                    <a:pt x="1248" y="21513"/>
                  </a:cubicBezTo>
                  <a:cubicBezTo>
                    <a:pt x="-2636" y="25720"/>
                    <a:pt x="3413" y="31803"/>
                    <a:pt x="7573" y="27810"/>
                  </a:cubicBezTo>
                  <a:lnTo>
                    <a:pt x="7573" y="2781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5" name="Freeform: Shape 114">
              <a:extLst>
                <a:ext uri="{FF2B5EF4-FFF2-40B4-BE49-F238E27FC236}">
                  <a16:creationId xmlns:a16="http://schemas.microsoft.com/office/drawing/2014/main" id="{99D00672-99BD-FA43-B0E4-6F09691D6C54}"/>
                </a:ext>
              </a:extLst>
            </p:cNvPr>
            <p:cNvSpPr/>
            <p:nvPr/>
          </p:nvSpPr>
          <p:spPr>
            <a:xfrm>
              <a:off x="6091095" y="3158173"/>
              <a:ext cx="85138" cy="91668"/>
            </a:xfrm>
            <a:custGeom>
              <a:avLst/>
              <a:gdLst>
                <a:gd name="connsiteX0" fmla="*/ 82515 w 85138"/>
                <a:gd name="connsiteY0" fmla="*/ 31952 h 91668"/>
                <a:gd name="connsiteX1" fmla="*/ 49152 w 85138"/>
                <a:gd name="connsiteY1" fmla="*/ 1955 h 91668"/>
                <a:gd name="connsiteX2" fmla="*/ 47691 w 85138"/>
                <a:gd name="connsiteY2" fmla="*/ 7 h 91668"/>
                <a:gd name="connsiteX3" fmla="*/ 3913 w 85138"/>
                <a:gd name="connsiteY3" fmla="*/ 28964 h 91668"/>
                <a:gd name="connsiteX4" fmla="*/ 15396 w 85138"/>
                <a:gd name="connsiteY4" fmla="*/ 84130 h 91668"/>
                <a:gd name="connsiteX5" fmla="*/ 67317 w 85138"/>
                <a:gd name="connsiteY5" fmla="*/ 82503 h 91668"/>
                <a:gd name="connsiteX6" fmla="*/ 82515 w 85138"/>
                <a:gd name="connsiteY6" fmla="*/ 31952 h 91668"/>
                <a:gd name="connsiteX7" fmla="*/ 45152 w 85138"/>
                <a:gd name="connsiteY7" fmla="*/ 81951 h 91668"/>
                <a:gd name="connsiteX8" fmla="*/ 18968 w 85138"/>
                <a:gd name="connsiteY8" fmla="*/ 74125 h 91668"/>
                <a:gd name="connsiteX9" fmla="*/ 10719 w 85138"/>
                <a:gd name="connsiteY9" fmla="*/ 44741 h 91668"/>
                <a:gd name="connsiteX10" fmla="*/ 35601 w 85138"/>
                <a:gd name="connsiteY10" fmla="*/ 7522 h 91668"/>
                <a:gd name="connsiteX11" fmla="*/ 35949 w 85138"/>
                <a:gd name="connsiteY11" fmla="*/ 7726 h 91668"/>
                <a:gd name="connsiteX12" fmla="*/ 62604 w 85138"/>
                <a:gd name="connsiteY12" fmla="*/ 15428 h 91668"/>
                <a:gd name="connsiteX13" fmla="*/ 77188 w 85138"/>
                <a:gd name="connsiteY13" fmla="*/ 40775 h 91668"/>
                <a:gd name="connsiteX14" fmla="*/ 45152 w 85138"/>
                <a:gd name="connsiteY14" fmla="*/ 81951 h 9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38" h="91668">
                  <a:moveTo>
                    <a:pt x="82515" y="31952"/>
                  </a:moveTo>
                  <a:cubicBezTo>
                    <a:pt x="77731" y="18719"/>
                    <a:pt x="64065" y="5112"/>
                    <a:pt x="49152" y="1955"/>
                  </a:cubicBezTo>
                  <a:cubicBezTo>
                    <a:pt x="49276" y="1065"/>
                    <a:pt x="48769" y="34"/>
                    <a:pt x="47691" y="7"/>
                  </a:cubicBezTo>
                  <a:cubicBezTo>
                    <a:pt x="28367" y="-322"/>
                    <a:pt x="11316" y="11017"/>
                    <a:pt x="3913" y="28964"/>
                  </a:cubicBezTo>
                  <a:cubicBezTo>
                    <a:pt x="-3393" y="46680"/>
                    <a:pt x="-961" y="72000"/>
                    <a:pt x="15396" y="84130"/>
                  </a:cubicBezTo>
                  <a:cubicBezTo>
                    <a:pt x="30541" y="95363"/>
                    <a:pt x="52591" y="93397"/>
                    <a:pt x="67317" y="82503"/>
                  </a:cubicBezTo>
                  <a:cubicBezTo>
                    <a:pt x="82899" y="70995"/>
                    <a:pt x="89144" y="50255"/>
                    <a:pt x="82515" y="31952"/>
                  </a:cubicBezTo>
                  <a:close/>
                  <a:moveTo>
                    <a:pt x="45152" y="81951"/>
                  </a:moveTo>
                  <a:cubicBezTo>
                    <a:pt x="35967" y="83285"/>
                    <a:pt x="25463" y="81142"/>
                    <a:pt x="18968" y="74125"/>
                  </a:cubicBezTo>
                  <a:cubicBezTo>
                    <a:pt x="12037" y="66637"/>
                    <a:pt x="9971" y="54568"/>
                    <a:pt x="10719" y="44741"/>
                  </a:cubicBezTo>
                  <a:cubicBezTo>
                    <a:pt x="11948" y="28635"/>
                    <a:pt x="21677" y="14681"/>
                    <a:pt x="35601" y="7522"/>
                  </a:cubicBezTo>
                  <a:cubicBezTo>
                    <a:pt x="35744" y="7566"/>
                    <a:pt x="35788" y="7709"/>
                    <a:pt x="35949" y="7726"/>
                  </a:cubicBezTo>
                  <a:cubicBezTo>
                    <a:pt x="45668" y="9096"/>
                    <a:pt x="54221" y="9541"/>
                    <a:pt x="62604" y="15428"/>
                  </a:cubicBezTo>
                  <a:cubicBezTo>
                    <a:pt x="71174" y="21440"/>
                    <a:pt x="76181" y="30396"/>
                    <a:pt x="77188" y="40775"/>
                  </a:cubicBezTo>
                  <a:cubicBezTo>
                    <a:pt x="79121" y="60651"/>
                    <a:pt x="65001" y="79061"/>
                    <a:pt x="45152" y="81951"/>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6" name="Freeform: Shape 115">
              <a:extLst>
                <a:ext uri="{FF2B5EF4-FFF2-40B4-BE49-F238E27FC236}">
                  <a16:creationId xmlns:a16="http://schemas.microsoft.com/office/drawing/2014/main" id="{B1E15811-140D-94F6-B504-1FCA5B0AD94F}"/>
                </a:ext>
              </a:extLst>
            </p:cNvPr>
            <p:cNvSpPr/>
            <p:nvPr/>
          </p:nvSpPr>
          <p:spPr>
            <a:xfrm>
              <a:off x="6137329" y="3198786"/>
              <a:ext cx="20096" cy="24829"/>
            </a:xfrm>
            <a:custGeom>
              <a:avLst/>
              <a:gdLst>
                <a:gd name="connsiteX0" fmla="*/ 11987 w 20096"/>
                <a:gd name="connsiteY0" fmla="*/ 144 h 24829"/>
                <a:gd name="connsiteX1" fmla="*/ 691 w 20096"/>
                <a:gd name="connsiteY1" fmla="*/ 7739 h 24829"/>
                <a:gd name="connsiteX2" fmla="*/ 869 w 20096"/>
                <a:gd name="connsiteY2" fmla="*/ 18126 h 24829"/>
                <a:gd name="connsiteX3" fmla="*/ 16201 w 20096"/>
                <a:gd name="connsiteY3" fmla="*/ 22164 h 24829"/>
                <a:gd name="connsiteX4" fmla="*/ 19524 w 20096"/>
                <a:gd name="connsiteY4" fmla="*/ 8513 h 24829"/>
                <a:gd name="connsiteX5" fmla="*/ 16842 w 20096"/>
                <a:gd name="connsiteY5" fmla="*/ 4128 h 24829"/>
                <a:gd name="connsiteX6" fmla="*/ 15836 w 20096"/>
                <a:gd name="connsiteY6" fmla="*/ 2794 h 24829"/>
                <a:gd name="connsiteX7" fmla="*/ 11987 w 20096"/>
                <a:gd name="connsiteY7" fmla="*/ 144 h 24829"/>
                <a:gd name="connsiteX8" fmla="*/ 11987 w 20096"/>
                <a:gd name="connsiteY8" fmla="*/ 144 h 2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96" h="24829">
                  <a:moveTo>
                    <a:pt x="11987" y="144"/>
                  </a:moveTo>
                  <a:cubicBezTo>
                    <a:pt x="6535" y="-737"/>
                    <a:pt x="2196" y="2501"/>
                    <a:pt x="691" y="7739"/>
                  </a:cubicBezTo>
                  <a:cubicBezTo>
                    <a:pt x="-254" y="11012"/>
                    <a:pt x="-263" y="14898"/>
                    <a:pt x="869" y="18126"/>
                  </a:cubicBezTo>
                  <a:cubicBezTo>
                    <a:pt x="3096" y="24494"/>
                    <a:pt x="11069" y="27304"/>
                    <a:pt x="16201" y="22164"/>
                  </a:cubicBezTo>
                  <a:cubicBezTo>
                    <a:pt x="19854" y="18500"/>
                    <a:pt x="20878" y="13413"/>
                    <a:pt x="19524" y="8513"/>
                  </a:cubicBezTo>
                  <a:cubicBezTo>
                    <a:pt x="19034" y="6752"/>
                    <a:pt x="18081" y="5267"/>
                    <a:pt x="16842" y="4128"/>
                  </a:cubicBezTo>
                  <a:cubicBezTo>
                    <a:pt x="16709" y="4004"/>
                    <a:pt x="15889" y="2883"/>
                    <a:pt x="15836" y="2794"/>
                  </a:cubicBezTo>
                  <a:cubicBezTo>
                    <a:pt x="14900" y="1425"/>
                    <a:pt x="13617" y="402"/>
                    <a:pt x="11987" y="144"/>
                  </a:cubicBezTo>
                  <a:lnTo>
                    <a:pt x="11987" y="144"/>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7" name="Freeform: Shape 116">
              <a:extLst>
                <a:ext uri="{FF2B5EF4-FFF2-40B4-BE49-F238E27FC236}">
                  <a16:creationId xmlns:a16="http://schemas.microsoft.com/office/drawing/2014/main" id="{16B9C8BB-E0BA-7C53-1DC9-3668EF14CA74}"/>
                </a:ext>
              </a:extLst>
            </p:cNvPr>
            <p:cNvSpPr/>
            <p:nvPr/>
          </p:nvSpPr>
          <p:spPr>
            <a:xfrm>
              <a:off x="6252019" y="3158184"/>
              <a:ext cx="81486" cy="91615"/>
            </a:xfrm>
            <a:custGeom>
              <a:avLst/>
              <a:gdLst>
                <a:gd name="connsiteX0" fmla="*/ 79251 w 81486"/>
                <a:gd name="connsiteY0" fmla="*/ 32911 h 91615"/>
                <a:gd name="connsiteX1" fmla="*/ 47135 w 81486"/>
                <a:gd name="connsiteY1" fmla="*/ 1953 h 91615"/>
                <a:gd name="connsiteX2" fmla="*/ 45674 w 81486"/>
                <a:gd name="connsiteY2" fmla="*/ 5 h 91615"/>
                <a:gd name="connsiteX3" fmla="*/ 4052 w 81486"/>
                <a:gd name="connsiteY3" fmla="*/ 28366 h 91615"/>
                <a:gd name="connsiteX4" fmla="*/ 12996 w 81486"/>
                <a:gd name="connsiteY4" fmla="*/ 82652 h 91615"/>
                <a:gd name="connsiteX5" fmla="*/ 64819 w 81486"/>
                <a:gd name="connsiteY5" fmla="*/ 82234 h 91615"/>
                <a:gd name="connsiteX6" fmla="*/ 79251 w 81486"/>
                <a:gd name="connsiteY6" fmla="*/ 32911 h 91615"/>
                <a:gd name="connsiteX7" fmla="*/ 42458 w 81486"/>
                <a:gd name="connsiteY7" fmla="*/ 82003 h 91615"/>
                <a:gd name="connsiteX8" fmla="*/ 16373 w 81486"/>
                <a:gd name="connsiteY8" fmla="*/ 71135 h 91615"/>
                <a:gd name="connsiteX9" fmla="*/ 10840 w 81486"/>
                <a:gd name="connsiteY9" fmla="*/ 43663 h 91615"/>
                <a:gd name="connsiteX10" fmla="*/ 34128 w 81486"/>
                <a:gd name="connsiteY10" fmla="*/ 7520 h 91615"/>
                <a:gd name="connsiteX11" fmla="*/ 34458 w 81486"/>
                <a:gd name="connsiteY11" fmla="*/ 7716 h 91615"/>
                <a:gd name="connsiteX12" fmla="*/ 59180 w 81486"/>
                <a:gd name="connsiteY12" fmla="*/ 14991 h 91615"/>
                <a:gd name="connsiteX13" fmla="*/ 73559 w 81486"/>
                <a:gd name="connsiteY13" fmla="*/ 40755 h 91615"/>
                <a:gd name="connsiteX14" fmla="*/ 42458 w 81486"/>
                <a:gd name="connsiteY14" fmla="*/ 82003 h 9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486" h="91615">
                  <a:moveTo>
                    <a:pt x="79251" y="32911"/>
                  </a:moveTo>
                  <a:cubicBezTo>
                    <a:pt x="74957" y="19686"/>
                    <a:pt x="61906" y="5190"/>
                    <a:pt x="47135" y="1953"/>
                  </a:cubicBezTo>
                  <a:cubicBezTo>
                    <a:pt x="47260" y="1063"/>
                    <a:pt x="46752" y="23"/>
                    <a:pt x="45674" y="5"/>
                  </a:cubicBezTo>
                  <a:cubicBezTo>
                    <a:pt x="26992" y="-279"/>
                    <a:pt x="11134" y="11202"/>
                    <a:pt x="4052" y="28366"/>
                  </a:cubicBezTo>
                  <a:cubicBezTo>
                    <a:pt x="-2933" y="45291"/>
                    <a:pt x="-1463" y="69774"/>
                    <a:pt x="12996" y="82652"/>
                  </a:cubicBezTo>
                  <a:cubicBezTo>
                    <a:pt x="27544" y="95610"/>
                    <a:pt x="50102" y="93680"/>
                    <a:pt x="64819" y="82234"/>
                  </a:cubicBezTo>
                  <a:cubicBezTo>
                    <a:pt x="79554" y="70779"/>
                    <a:pt x="84971" y="50538"/>
                    <a:pt x="79251" y="32911"/>
                  </a:cubicBezTo>
                  <a:close/>
                  <a:moveTo>
                    <a:pt x="42458" y="82003"/>
                  </a:moveTo>
                  <a:cubicBezTo>
                    <a:pt x="32489" y="83292"/>
                    <a:pt x="21878" y="79966"/>
                    <a:pt x="16373" y="71135"/>
                  </a:cubicBezTo>
                  <a:cubicBezTo>
                    <a:pt x="11446" y="63220"/>
                    <a:pt x="9967" y="52797"/>
                    <a:pt x="10840" y="43663"/>
                  </a:cubicBezTo>
                  <a:cubicBezTo>
                    <a:pt x="12292" y="28446"/>
                    <a:pt x="20996" y="14653"/>
                    <a:pt x="34128" y="7520"/>
                  </a:cubicBezTo>
                  <a:cubicBezTo>
                    <a:pt x="34262" y="7556"/>
                    <a:pt x="34306" y="7698"/>
                    <a:pt x="34458" y="7716"/>
                  </a:cubicBezTo>
                  <a:cubicBezTo>
                    <a:pt x="43527" y="9023"/>
                    <a:pt x="51385" y="9441"/>
                    <a:pt x="59180" y="14991"/>
                  </a:cubicBezTo>
                  <a:cubicBezTo>
                    <a:pt x="67786" y="21118"/>
                    <a:pt x="72641" y="30314"/>
                    <a:pt x="73559" y="40755"/>
                  </a:cubicBezTo>
                  <a:cubicBezTo>
                    <a:pt x="75278" y="60134"/>
                    <a:pt x="62396" y="79424"/>
                    <a:pt x="42458" y="82003"/>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8" name="Freeform: Shape 117">
              <a:extLst>
                <a:ext uri="{FF2B5EF4-FFF2-40B4-BE49-F238E27FC236}">
                  <a16:creationId xmlns:a16="http://schemas.microsoft.com/office/drawing/2014/main" id="{6139B6DE-487A-B678-3465-152EA31EBD68}"/>
                </a:ext>
              </a:extLst>
            </p:cNvPr>
            <p:cNvSpPr/>
            <p:nvPr/>
          </p:nvSpPr>
          <p:spPr>
            <a:xfrm>
              <a:off x="6286341" y="3199236"/>
              <a:ext cx="23057" cy="23854"/>
            </a:xfrm>
            <a:custGeom>
              <a:avLst/>
              <a:gdLst>
                <a:gd name="connsiteX0" fmla="*/ 3824 w 23057"/>
                <a:gd name="connsiteY0" fmla="*/ 3322 h 23854"/>
                <a:gd name="connsiteX1" fmla="*/ 1017 w 23057"/>
                <a:gd name="connsiteY1" fmla="*/ 16831 h 23854"/>
                <a:gd name="connsiteX2" fmla="*/ 13294 w 23057"/>
                <a:gd name="connsiteY2" fmla="*/ 23670 h 23854"/>
                <a:gd name="connsiteX3" fmla="*/ 23031 w 23057"/>
                <a:gd name="connsiteY3" fmla="*/ 12713 h 23854"/>
                <a:gd name="connsiteX4" fmla="*/ 22907 w 23057"/>
                <a:gd name="connsiteY4" fmla="*/ 11068 h 23854"/>
                <a:gd name="connsiteX5" fmla="*/ 16234 w 23057"/>
                <a:gd name="connsiteY5" fmla="*/ 1267 h 23854"/>
                <a:gd name="connsiteX6" fmla="*/ 3824 w 23057"/>
                <a:gd name="connsiteY6" fmla="*/ 3322 h 23854"/>
                <a:gd name="connsiteX7" fmla="*/ 3824 w 23057"/>
                <a:gd name="connsiteY7" fmla="*/ 3322 h 2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57" h="23854">
                  <a:moveTo>
                    <a:pt x="3824" y="3322"/>
                  </a:moveTo>
                  <a:cubicBezTo>
                    <a:pt x="599" y="6701"/>
                    <a:pt x="-1281" y="12447"/>
                    <a:pt x="1017" y="16831"/>
                  </a:cubicBezTo>
                  <a:cubicBezTo>
                    <a:pt x="3601" y="22710"/>
                    <a:pt x="8670" y="24479"/>
                    <a:pt x="13294" y="23670"/>
                  </a:cubicBezTo>
                  <a:cubicBezTo>
                    <a:pt x="18675" y="22718"/>
                    <a:pt x="23459" y="18272"/>
                    <a:pt x="23031" y="12713"/>
                  </a:cubicBezTo>
                  <a:cubicBezTo>
                    <a:pt x="23022" y="12624"/>
                    <a:pt x="23067" y="13798"/>
                    <a:pt x="22907" y="11068"/>
                  </a:cubicBezTo>
                  <a:cubicBezTo>
                    <a:pt x="22666" y="6986"/>
                    <a:pt x="19895" y="3171"/>
                    <a:pt x="16234" y="1267"/>
                  </a:cubicBezTo>
                  <a:cubicBezTo>
                    <a:pt x="12448" y="-707"/>
                    <a:pt x="7699" y="-627"/>
                    <a:pt x="3824" y="3322"/>
                  </a:cubicBezTo>
                  <a:lnTo>
                    <a:pt x="3824" y="3322"/>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9" name="Freeform: Shape 118">
              <a:extLst>
                <a:ext uri="{FF2B5EF4-FFF2-40B4-BE49-F238E27FC236}">
                  <a16:creationId xmlns:a16="http://schemas.microsoft.com/office/drawing/2014/main" id="{BB0A2001-707B-A88D-3EFD-450827B2F25E}"/>
                </a:ext>
              </a:extLst>
            </p:cNvPr>
            <p:cNvSpPr/>
            <p:nvPr/>
          </p:nvSpPr>
          <p:spPr>
            <a:xfrm>
              <a:off x="6205538" y="3334894"/>
              <a:ext cx="40335" cy="55585"/>
            </a:xfrm>
            <a:custGeom>
              <a:avLst/>
              <a:gdLst>
                <a:gd name="connsiteX0" fmla="*/ 40190 w 40335"/>
                <a:gd name="connsiteY0" fmla="*/ 6420 h 55585"/>
                <a:gd name="connsiteX1" fmla="*/ 14888 w 40335"/>
                <a:gd name="connsiteY1" fmla="*/ 9124 h 55585"/>
                <a:gd name="connsiteX2" fmla="*/ 403 w 40335"/>
                <a:gd name="connsiteY2" fmla="*/ 42101 h 55585"/>
                <a:gd name="connsiteX3" fmla="*/ 24225 w 40335"/>
                <a:gd name="connsiteY3" fmla="*/ 52995 h 55585"/>
                <a:gd name="connsiteX4" fmla="*/ 31771 w 40335"/>
                <a:gd name="connsiteY4" fmla="*/ 34932 h 55585"/>
                <a:gd name="connsiteX5" fmla="*/ 32804 w 40335"/>
                <a:gd name="connsiteY5" fmla="*/ 13713 h 55585"/>
                <a:gd name="connsiteX6" fmla="*/ 31307 w 40335"/>
                <a:gd name="connsiteY6" fmla="*/ 12041 h 55585"/>
                <a:gd name="connsiteX7" fmla="*/ 37668 w 40335"/>
                <a:gd name="connsiteY7" fmla="*/ 10858 h 55585"/>
                <a:gd name="connsiteX8" fmla="*/ 40190 w 40335"/>
                <a:gd name="connsiteY8" fmla="*/ 6420 h 55585"/>
                <a:gd name="connsiteX9" fmla="*/ 16394 w 40335"/>
                <a:gd name="connsiteY9" fmla="*/ 41434 h 55585"/>
                <a:gd name="connsiteX10" fmla="*/ 13997 w 40335"/>
                <a:gd name="connsiteY10" fmla="*/ 35030 h 55585"/>
                <a:gd name="connsiteX11" fmla="*/ 19467 w 40335"/>
                <a:gd name="connsiteY11" fmla="*/ 23371 h 55585"/>
                <a:gd name="connsiteX12" fmla="*/ 18202 w 40335"/>
                <a:gd name="connsiteY12" fmla="*/ 31188 h 55585"/>
                <a:gd name="connsiteX13" fmla="*/ 16394 w 40335"/>
                <a:gd name="connsiteY13" fmla="*/ 41434 h 5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55585">
                  <a:moveTo>
                    <a:pt x="40190" y="6420"/>
                  </a:moveTo>
                  <a:cubicBezTo>
                    <a:pt x="36234" y="-6511"/>
                    <a:pt x="20519" y="3103"/>
                    <a:pt x="14888" y="9124"/>
                  </a:cubicBezTo>
                  <a:cubicBezTo>
                    <a:pt x="7102" y="17439"/>
                    <a:pt x="-2038" y="30005"/>
                    <a:pt x="403" y="42101"/>
                  </a:cubicBezTo>
                  <a:cubicBezTo>
                    <a:pt x="2452" y="52284"/>
                    <a:pt x="15040" y="59754"/>
                    <a:pt x="24225" y="52995"/>
                  </a:cubicBezTo>
                  <a:cubicBezTo>
                    <a:pt x="29953" y="48780"/>
                    <a:pt x="30577" y="41398"/>
                    <a:pt x="31771" y="34932"/>
                  </a:cubicBezTo>
                  <a:cubicBezTo>
                    <a:pt x="33071" y="27907"/>
                    <a:pt x="36056" y="20392"/>
                    <a:pt x="32804" y="13713"/>
                  </a:cubicBezTo>
                  <a:cubicBezTo>
                    <a:pt x="32448" y="12974"/>
                    <a:pt x="31904" y="12459"/>
                    <a:pt x="31307" y="12041"/>
                  </a:cubicBezTo>
                  <a:cubicBezTo>
                    <a:pt x="33401" y="11569"/>
                    <a:pt x="35637" y="11525"/>
                    <a:pt x="37668" y="10858"/>
                  </a:cubicBezTo>
                  <a:cubicBezTo>
                    <a:pt x="39477" y="10271"/>
                    <a:pt x="40786" y="8368"/>
                    <a:pt x="40190" y="6420"/>
                  </a:cubicBezTo>
                  <a:close/>
                  <a:moveTo>
                    <a:pt x="16394" y="41434"/>
                  </a:moveTo>
                  <a:cubicBezTo>
                    <a:pt x="13686" y="42981"/>
                    <a:pt x="13926" y="35404"/>
                    <a:pt x="13997" y="35030"/>
                  </a:cubicBezTo>
                  <a:cubicBezTo>
                    <a:pt x="14790" y="31019"/>
                    <a:pt x="16991" y="26991"/>
                    <a:pt x="19467" y="23371"/>
                  </a:cubicBezTo>
                  <a:cubicBezTo>
                    <a:pt x="19004" y="26030"/>
                    <a:pt x="18666" y="28725"/>
                    <a:pt x="18202" y="31188"/>
                  </a:cubicBezTo>
                  <a:cubicBezTo>
                    <a:pt x="18042" y="31971"/>
                    <a:pt x="17196" y="40980"/>
                    <a:pt x="16394" y="41434"/>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grpSp>
      <p:sp>
        <p:nvSpPr>
          <p:cNvPr id="121" name="TextBox 120">
            <a:extLst>
              <a:ext uri="{FF2B5EF4-FFF2-40B4-BE49-F238E27FC236}">
                <a16:creationId xmlns:a16="http://schemas.microsoft.com/office/drawing/2014/main" id="{9ACAEC32-0A5B-4A67-C752-24B4755EA419}"/>
              </a:ext>
            </a:extLst>
          </p:cNvPr>
          <p:cNvSpPr txBox="1"/>
          <p:nvPr/>
        </p:nvSpPr>
        <p:spPr>
          <a:xfrm>
            <a:off x="3459480" y="1097280"/>
            <a:ext cx="8092440" cy="5078313"/>
          </a:xfrm>
          <a:prstGeom prst="rect">
            <a:avLst/>
          </a:prstGeom>
          <a:noFill/>
        </p:spPr>
        <p:txBody>
          <a:bodyPr wrap="square" rtlCol="0">
            <a:spAutoFit/>
          </a:bodyPr>
          <a:lstStyle/>
          <a:p>
            <a:r>
              <a:rPr lang="en-US" dirty="0">
                <a:solidFill>
                  <a:schemeClr val="bg1"/>
                </a:solidFill>
              </a:rPr>
              <a:t>Sadeghi, D. </a:t>
            </a:r>
            <a:r>
              <a:rPr lang="en-US" i="1" dirty="0">
                <a:solidFill>
                  <a:schemeClr val="bg1"/>
                </a:solidFill>
              </a:rPr>
              <a:t>et al.</a:t>
            </a:r>
            <a:r>
              <a:rPr lang="en-US" dirty="0">
                <a:solidFill>
                  <a:schemeClr val="bg1"/>
                </a:solidFill>
              </a:rPr>
              <a:t> (no date) “Automatic Diagnosis of Schizophrenia in EEG Signals Using CNN-LSTM Models Afshin </a:t>
            </a:r>
            <a:r>
              <a:rPr lang="en-US" dirty="0" err="1">
                <a:solidFill>
                  <a:schemeClr val="bg1"/>
                </a:solidFill>
              </a:rPr>
              <a:t>Shoeibi</a:t>
            </a:r>
            <a:r>
              <a:rPr lang="en-US" dirty="0">
                <a:solidFill>
                  <a:schemeClr val="bg1"/>
                </a:solidFill>
              </a:rPr>
              <a:t>.”</a:t>
            </a:r>
          </a:p>
          <a:p>
            <a:endParaRPr lang="en-US" dirty="0">
              <a:solidFill>
                <a:schemeClr val="bg1"/>
              </a:solidFill>
            </a:endParaRPr>
          </a:p>
          <a:p>
            <a:r>
              <a:rPr lang="en-US" dirty="0">
                <a:solidFill>
                  <a:schemeClr val="bg1"/>
                </a:solidFill>
              </a:rPr>
              <a:t>Shafiei, A. (2021) “Prediction modelling using logistic regression and constrained confidence partitioning: remission in real-world samples of patients living with schizophrenia,” *Journal of Psychiatric Research* [Preprint].</a:t>
            </a:r>
          </a:p>
          <a:p>
            <a:endParaRPr lang="en-US" dirty="0">
              <a:solidFill>
                <a:schemeClr val="bg1"/>
              </a:solidFill>
            </a:endParaRPr>
          </a:p>
          <a:p>
            <a:r>
              <a:rPr lang="en-US" dirty="0">
                <a:solidFill>
                  <a:schemeClr val="bg1"/>
                </a:solidFill>
              </a:rPr>
              <a:t>Bracher-Smith, M. </a:t>
            </a:r>
            <a:r>
              <a:rPr lang="en-US" i="1" dirty="0">
                <a:solidFill>
                  <a:schemeClr val="bg1"/>
                </a:solidFill>
              </a:rPr>
              <a:t>et al.</a:t>
            </a:r>
            <a:r>
              <a:rPr lang="en-US" dirty="0">
                <a:solidFill>
                  <a:schemeClr val="bg1"/>
                </a:solidFill>
              </a:rPr>
              <a:t> (2022) “Machine learning for prediction of schizophrenia using genetic and demographic factors in the UK biobank,” *Schizophrenia research*, 246, pp. 156–164. Available at: </a:t>
            </a:r>
            <a:r>
              <a:rPr lang="en-US" dirty="0">
                <a:solidFill>
                  <a:schemeClr val="bg1"/>
                </a:solidFill>
                <a:hlinkClick r:id="rId4"/>
              </a:rPr>
              <a:t>https://doi.org/10.1016/j.schres.2022.06.006</a:t>
            </a:r>
            <a:r>
              <a:rPr lang="en-US" dirty="0">
                <a:solidFill>
                  <a:schemeClr val="bg1"/>
                </a:solidFill>
              </a:rPr>
              <a:t>.</a:t>
            </a:r>
          </a:p>
          <a:p>
            <a:endParaRPr lang="en-US" dirty="0">
              <a:solidFill>
                <a:schemeClr val="bg1"/>
              </a:solidFill>
            </a:endParaRPr>
          </a:p>
          <a:p>
            <a:r>
              <a:rPr lang="en-US" dirty="0" err="1">
                <a:solidFill>
                  <a:schemeClr val="bg1"/>
                </a:solidFill>
              </a:rPr>
              <a:t>Vellido</a:t>
            </a:r>
            <a:r>
              <a:rPr lang="en-US" dirty="0">
                <a:solidFill>
                  <a:schemeClr val="bg1"/>
                </a:solidFill>
              </a:rPr>
              <a:t>, A., Martín-Guerrero, J. D., &amp; Lisboa, P. J. (2019). Making machine learning models interpretable for clinical psychiatry. Computer Methods and Programs in Biomedicine, 180, 105020. </a:t>
            </a:r>
            <a:r>
              <a:rPr lang="en-US" dirty="0">
                <a:solidFill>
                  <a:schemeClr val="bg1"/>
                </a:solidFill>
                <a:hlinkClick r:id="rId5"/>
              </a:rPr>
              <a:t>https://doi.org/10.1016/j.cmpb.2019.105020</a:t>
            </a:r>
            <a:endParaRPr lang="en-US" dirty="0">
              <a:solidFill>
                <a:schemeClr val="bg1"/>
              </a:solidFill>
            </a:endParaRPr>
          </a:p>
          <a:p>
            <a:endParaRPr lang="en-US" dirty="0">
              <a:solidFill>
                <a:schemeClr val="bg1"/>
              </a:solidFill>
            </a:endParaRPr>
          </a:p>
          <a:p>
            <a:r>
              <a:rPr lang="en-US" dirty="0">
                <a:solidFill>
                  <a:schemeClr val="bg1"/>
                </a:solidFill>
              </a:rPr>
              <a:t>Sharma, P., Chaudhary, H., &amp; Bansal, D. (2021). Predictive modeling in schizophrenia using linear regression: Toward interpretable clinical tools. Journal of Psychiatric Research, 139, 269–278. https://doi.org/10.1016/j.jpsychires.2021.05.036 </a:t>
            </a:r>
          </a:p>
        </p:txBody>
      </p:sp>
    </p:spTree>
    <p:extLst>
      <p:ext uri="{BB962C8B-B14F-4D97-AF65-F5344CB8AC3E}">
        <p14:creationId xmlns:p14="http://schemas.microsoft.com/office/powerpoint/2010/main" val="28864271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3C75C-7D0A-D3A1-5C8B-22E7354A579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EEB3A48-77A3-5E3B-44E6-E8FF16E66648}"/>
              </a:ext>
            </a:extLst>
          </p:cNvPr>
          <p:cNvSpPr txBox="1"/>
          <p:nvPr/>
        </p:nvSpPr>
        <p:spPr>
          <a:xfrm>
            <a:off x="299484" y="407551"/>
            <a:ext cx="1046761"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References</a:t>
            </a:r>
          </a:p>
        </p:txBody>
      </p:sp>
      <p:cxnSp>
        <p:nvCxnSpPr>
          <p:cNvPr id="10" name="Straight Connector 9">
            <a:extLst>
              <a:ext uri="{FF2B5EF4-FFF2-40B4-BE49-F238E27FC236}">
                <a16:creationId xmlns:a16="http://schemas.microsoft.com/office/drawing/2014/main" id="{E2245030-C360-0E36-5978-CF9D5F70965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3" name="Group 2">
            <a:extLst>
              <a:ext uri="{FF2B5EF4-FFF2-40B4-BE49-F238E27FC236}">
                <a16:creationId xmlns:a16="http://schemas.microsoft.com/office/drawing/2014/main" id="{0122B15C-266A-0F81-D34B-A6A9FF23D14D}"/>
              </a:ext>
            </a:extLst>
          </p:cNvPr>
          <p:cNvGrpSpPr/>
          <p:nvPr/>
        </p:nvGrpSpPr>
        <p:grpSpPr>
          <a:xfrm>
            <a:off x="5867902" y="407551"/>
            <a:ext cx="507586" cy="507586"/>
            <a:chOff x="7858113" y="1596782"/>
            <a:chExt cx="507586" cy="507586"/>
          </a:xfrm>
        </p:grpSpPr>
        <p:sp useBgFill="1">
          <p:nvSpPr>
            <p:cNvPr id="4" name="Oval 3">
              <a:extLst>
                <a:ext uri="{FF2B5EF4-FFF2-40B4-BE49-F238E27FC236}">
                  <a16:creationId xmlns:a16="http://schemas.microsoft.com/office/drawing/2014/main" id="{7E641E52-1C45-CB7A-2B4C-8471643A4F6C}"/>
                </a:ext>
              </a:extLst>
            </p:cNvPr>
            <p:cNvSpPr/>
            <p:nvPr/>
          </p:nvSpPr>
          <p:spPr>
            <a:xfrm>
              <a:off x="7858113" y="1596782"/>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sp>
          <p:nvSpPr>
            <p:cNvPr id="5" name="Graphic 17">
              <a:extLst>
                <a:ext uri="{FF2B5EF4-FFF2-40B4-BE49-F238E27FC236}">
                  <a16:creationId xmlns:a16="http://schemas.microsoft.com/office/drawing/2014/main" id="{6D44D8B1-B37B-2E8E-5011-D1921887021F}"/>
                </a:ext>
              </a:extLst>
            </p:cNvPr>
            <p:cNvSpPr/>
            <p:nvPr/>
          </p:nvSpPr>
          <p:spPr>
            <a:xfrm>
              <a:off x="8020233" y="1760715"/>
              <a:ext cx="160020" cy="208026"/>
            </a:xfrm>
            <a:custGeom>
              <a:avLst/>
              <a:gdLst>
                <a:gd name="connsiteX0" fmla="*/ 144018 w 160020"/>
                <a:gd name="connsiteY0" fmla="*/ 0 h 208026"/>
                <a:gd name="connsiteX1" fmla="*/ 48006 w 160020"/>
                <a:gd name="connsiteY1" fmla="*/ 0 h 208026"/>
                <a:gd name="connsiteX2" fmla="*/ 32004 w 160020"/>
                <a:gd name="connsiteY2" fmla="*/ 16002 h 208026"/>
                <a:gd name="connsiteX3" fmla="*/ 32004 w 160020"/>
                <a:gd name="connsiteY3" fmla="*/ 32004 h 208026"/>
                <a:gd name="connsiteX4" fmla="*/ 16002 w 160020"/>
                <a:gd name="connsiteY4" fmla="*/ 32004 h 208026"/>
                <a:gd name="connsiteX5" fmla="*/ 0 w 160020"/>
                <a:gd name="connsiteY5" fmla="*/ 48006 h 208026"/>
                <a:gd name="connsiteX6" fmla="*/ 0 w 160020"/>
                <a:gd name="connsiteY6" fmla="*/ 200025 h 208026"/>
                <a:gd name="connsiteX7" fmla="*/ 8001 w 160020"/>
                <a:gd name="connsiteY7" fmla="*/ 208026 h 208026"/>
                <a:gd name="connsiteX8" fmla="*/ 12652 w 160020"/>
                <a:gd name="connsiteY8" fmla="*/ 206536 h 208026"/>
                <a:gd name="connsiteX9" fmla="*/ 64008 w 160020"/>
                <a:gd name="connsiteY9" fmla="*/ 169851 h 208026"/>
                <a:gd name="connsiteX10" fmla="*/ 115374 w 160020"/>
                <a:gd name="connsiteY10" fmla="*/ 206536 h 208026"/>
                <a:gd name="connsiteX11" fmla="*/ 126533 w 160020"/>
                <a:gd name="connsiteY11" fmla="*/ 204659 h 208026"/>
                <a:gd name="connsiteX12" fmla="*/ 128016 w 160020"/>
                <a:gd name="connsiteY12" fmla="*/ 200025 h 208026"/>
                <a:gd name="connsiteX13" fmla="*/ 128016 w 160020"/>
                <a:gd name="connsiteY13" fmla="*/ 160710 h 208026"/>
                <a:gd name="connsiteX14" fmla="*/ 147368 w 160020"/>
                <a:gd name="connsiteY14" fmla="*/ 174532 h 208026"/>
                <a:gd name="connsiteX15" fmla="*/ 158530 w 160020"/>
                <a:gd name="connsiteY15" fmla="*/ 172672 h 208026"/>
                <a:gd name="connsiteX16" fmla="*/ 160020 w 160020"/>
                <a:gd name="connsiteY16" fmla="*/ 168021 h 208026"/>
                <a:gd name="connsiteX17" fmla="*/ 160020 w 160020"/>
                <a:gd name="connsiteY17" fmla="*/ 16002 h 208026"/>
                <a:gd name="connsiteX18" fmla="*/ 144018 w 160020"/>
                <a:gd name="connsiteY18" fmla="*/ 0 h 208026"/>
                <a:gd name="connsiteX19" fmla="*/ 112014 w 160020"/>
                <a:gd name="connsiteY19" fmla="*/ 184483 h 208026"/>
                <a:gd name="connsiteX20" fmla="*/ 68649 w 160020"/>
                <a:gd name="connsiteY20" fmla="*/ 153479 h 208026"/>
                <a:gd name="connsiteX21" fmla="*/ 59347 w 160020"/>
                <a:gd name="connsiteY21" fmla="*/ 153479 h 208026"/>
                <a:gd name="connsiteX22" fmla="*/ 16002 w 160020"/>
                <a:gd name="connsiteY22" fmla="*/ 184473 h 208026"/>
                <a:gd name="connsiteX23" fmla="*/ 16002 w 160020"/>
                <a:gd name="connsiteY23" fmla="*/ 48006 h 208026"/>
                <a:gd name="connsiteX24" fmla="*/ 112014 w 160020"/>
                <a:gd name="connsiteY24" fmla="*/ 48006 h 208026"/>
                <a:gd name="connsiteX25" fmla="*/ 144018 w 160020"/>
                <a:gd name="connsiteY25" fmla="*/ 152479 h 208026"/>
                <a:gd name="connsiteX26" fmla="*/ 128016 w 160020"/>
                <a:gd name="connsiteY26" fmla="*/ 141018 h 208026"/>
                <a:gd name="connsiteX27" fmla="*/ 128016 w 160020"/>
                <a:gd name="connsiteY27" fmla="*/ 48006 h 208026"/>
                <a:gd name="connsiteX28" fmla="*/ 112014 w 160020"/>
                <a:gd name="connsiteY28" fmla="*/ 32004 h 208026"/>
                <a:gd name="connsiteX29" fmla="*/ 48006 w 160020"/>
                <a:gd name="connsiteY29" fmla="*/ 32004 h 208026"/>
                <a:gd name="connsiteX30" fmla="*/ 48006 w 160020"/>
                <a:gd name="connsiteY30" fmla="*/ 16002 h 208026"/>
                <a:gd name="connsiteX31" fmla="*/ 144018 w 160020"/>
                <a:gd name="connsiteY31" fmla="*/ 16002 h 20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0020" h="208026">
                  <a:moveTo>
                    <a:pt x="144018" y="0"/>
                  </a:moveTo>
                  <a:lnTo>
                    <a:pt x="48006" y="0"/>
                  </a:lnTo>
                  <a:cubicBezTo>
                    <a:pt x="39168" y="0"/>
                    <a:pt x="32004" y="7164"/>
                    <a:pt x="32004" y="16002"/>
                  </a:cubicBezTo>
                  <a:lnTo>
                    <a:pt x="32004" y="32004"/>
                  </a:lnTo>
                  <a:lnTo>
                    <a:pt x="16002" y="32004"/>
                  </a:lnTo>
                  <a:cubicBezTo>
                    <a:pt x="7164" y="32004"/>
                    <a:pt x="0" y="39168"/>
                    <a:pt x="0" y="48006"/>
                  </a:cubicBezTo>
                  <a:lnTo>
                    <a:pt x="0" y="200025"/>
                  </a:lnTo>
                  <a:cubicBezTo>
                    <a:pt x="0" y="204444"/>
                    <a:pt x="3582" y="208026"/>
                    <a:pt x="8001" y="208026"/>
                  </a:cubicBezTo>
                  <a:cubicBezTo>
                    <a:pt x="9669" y="208026"/>
                    <a:pt x="11295" y="207505"/>
                    <a:pt x="12652" y="206536"/>
                  </a:cubicBezTo>
                  <a:lnTo>
                    <a:pt x="64008" y="169851"/>
                  </a:lnTo>
                  <a:lnTo>
                    <a:pt x="115374" y="206536"/>
                  </a:lnTo>
                  <a:cubicBezTo>
                    <a:pt x="118974" y="209099"/>
                    <a:pt x="123969" y="208258"/>
                    <a:pt x="126533" y="204659"/>
                  </a:cubicBezTo>
                  <a:cubicBezTo>
                    <a:pt x="127496" y="203305"/>
                    <a:pt x="128015" y="201686"/>
                    <a:pt x="128016" y="200025"/>
                  </a:cubicBezTo>
                  <a:lnTo>
                    <a:pt x="128016" y="160710"/>
                  </a:lnTo>
                  <a:lnTo>
                    <a:pt x="147368" y="174532"/>
                  </a:lnTo>
                  <a:cubicBezTo>
                    <a:pt x="150964" y="177100"/>
                    <a:pt x="155962" y="176267"/>
                    <a:pt x="158530" y="172672"/>
                  </a:cubicBezTo>
                  <a:cubicBezTo>
                    <a:pt x="159499" y="171314"/>
                    <a:pt x="160020" y="169688"/>
                    <a:pt x="160020" y="168021"/>
                  </a:cubicBezTo>
                  <a:lnTo>
                    <a:pt x="160020" y="16002"/>
                  </a:lnTo>
                  <a:cubicBezTo>
                    <a:pt x="160020" y="7164"/>
                    <a:pt x="152856" y="0"/>
                    <a:pt x="144018" y="0"/>
                  </a:cubicBezTo>
                  <a:close/>
                  <a:moveTo>
                    <a:pt x="112014" y="184483"/>
                  </a:moveTo>
                  <a:lnTo>
                    <a:pt x="68649" y="153479"/>
                  </a:lnTo>
                  <a:cubicBezTo>
                    <a:pt x="65866" y="151492"/>
                    <a:pt x="62130" y="151492"/>
                    <a:pt x="59347" y="153479"/>
                  </a:cubicBezTo>
                  <a:lnTo>
                    <a:pt x="16002" y="184473"/>
                  </a:lnTo>
                  <a:lnTo>
                    <a:pt x="16002" y="48006"/>
                  </a:lnTo>
                  <a:lnTo>
                    <a:pt x="112014" y="48006"/>
                  </a:lnTo>
                  <a:close/>
                  <a:moveTo>
                    <a:pt x="144018" y="152479"/>
                  </a:moveTo>
                  <a:lnTo>
                    <a:pt x="128016" y="141018"/>
                  </a:lnTo>
                  <a:lnTo>
                    <a:pt x="128016" y="48006"/>
                  </a:lnTo>
                  <a:cubicBezTo>
                    <a:pt x="128016" y="39168"/>
                    <a:pt x="120852" y="32004"/>
                    <a:pt x="112014" y="32004"/>
                  </a:cubicBezTo>
                  <a:lnTo>
                    <a:pt x="48006" y="32004"/>
                  </a:lnTo>
                  <a:lnTo>
                    <a:pt x="48006" y="16002"/>
                  </a:lnTo>
                  <a:lnTo>
                    <a:pt x="144018" y="16002"/>
                  </a:lnTo>
                  <a:close/>
                </a:path>
              </a:pathLst>
            </a:custGeom>
            <a:solidFill>
              <a:schemeClr val="bg1">
                <a:lumMod val="85000"/>
              </a:schemeClr>
            </a:solidFill>
            <a:ln w="967" cap="flat">
              <a:noFill/>
              <a:prstDash val="solid"/>
              <a:miter/>
            </a:ln>
          </p:spPr>
          <p:txBody>
            <a:bodyPr rtlCol="0" anchor="ctr"/>
            <a:lstStyle/>
            <a:p>
              <a:endParaRPr lang="en-IN"/>
            </a:p>
          </p:txBody>
        </p:sp>
      </p:grpSp>
      <p:grpSp>
        <p:nvGrpSpPr>
          <p:cNvPr id="120" name="Group 119">
            <a:extLst>
              <a:ext uri="{FF2B5EF4-FFF2-40B4-BE49-F238E27FC236}">
                <a16:creationId xmlns:a16="http://schemas.microsoft.com/office/drawing/2014/main" id="{4313006A-DEDF-FDEB-C560-8EB75527B829}"/>
              </a:ext>
            </a:extLst>
          </p:cNvPr>
          <p:cNvGrpSpPr/>
          <p:nvPr/>
        </p:nvGrpSpPr>
        <p:grpSpPr>
          <a:xfrm>
            <a:off x="824731" y="2347614"/>
            <a:ext cx="1695279" cy="2389305"/>
            <a:chOff x="5427843" y="2850534"/>
            <a:chExt cx="1695279" cy="2389305"/>
          </a:xfrm>
        </p:grpSpPr>
        <p:sp>
          <p:nvSpPr>
            <p:cNvPr id="54" name="Rounded Rectangle 4">
              <a:extLst>
                <a:ext uri="{FF2B5EF4-FFF2-40B4-BE49-F238E27FC236}">
                  <a16:creationId xmlns:a16="http://schemas.microsoft.com/office/drawing/2014/main" id="{1A340264-193F-ED30-2FC4-23CB3AB4A22F}"/>
                </a:ext>
              </a:extLst>
            </p:cNvPr>
            <p:cNvSpPr/>
            <p:nvPr/>
          </p:nvSpPr>
          <p:spPr>
            <a:xfrm>
              <a:off x="5427843" y="3229987"/>
              <a:ext cx="1336313" cy="1229408"/>
            </a:xfrm>
            <a:prstGeom prst="roundRect">
              <a:avLst/>
            </a:prstGeom>
            <a:solidFill>
              <a:schemeClr val="bg1">
                <a:alpha val="10000"/>
              </a:schemeClr>
            </a:solidFill>
            <a:ln w="6350" cap="rnd">
              <a:solidFill>
                <a:schemeClr val="bg1">
                  <a:alpha val="50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LT" sz="1000" spc="30">
                <a:solidFill>
                  <a:schemeClr val="bg1"/>
                </a:solidFill>
                <a:cs typeface="Poppins SemiBold" panose="00000700000000000000" pitchFamily="2" charset="0"/>
              </a:endParaRPr>
            </a:p>
          </p:txBody>
        </p:sp>
        <p:sp>
          <p:nvSpPr>
            <p:cNvPr id="55" name="TextBox 54">
              <a:extLst>
                <a:ext uri="{FF2B5EF4-FFF2-40B4-BE49-F238E27FC236}">
                  <a16:creationId xmlns:a16="http://schemas.microsoft.com/office/drawing/2014/main" id="{6132FA0C-A223-CD73-BB2F-DEBA0816FC76}"/>
                </a:ext>
              </a:extLst>
            </p:cNvPr>
            <p:cNvSpPr txBox="1"/>
            <p:nvPr/>
          </p:nvSpPr>
          <p:spPr>
            <a:xfrm>
              <a:off x="5643903" y="4901285"/>
              <a:ext cx="934582" cy="338554"/>
            </a:xfrm>
            <a:prstGeom prst="rect">
              <a:avLst/>
            </a:prstGeom>
            <a:noFill/>
          </p:spPr>
          <p:txBody>
            <a:bodyPr wrap="square" rtlCol="0">
              <a:spAutoFit/>
            </a:bodyPr>
            <a:lstStyle/>
            <a:p>
              <a:pPr algn="ctr"/>
              <a:endParaRPr lang="en-GB" sz="1600" dirty="0">
                <a:solidFill>
                  <a:schemeClr val="bg1"/>
                </a:solidFill>
                <a:latin typeface="Darker Grotesque" pitchFamily="2" charset="0"/>
              </a:endParaRPr>
            </a:p>
          </p:txBody>
        </p:sp>
        <p:sp>
          <p:nvSpPr>
            <p:cNvPr id="58" name="Freeform: Shape 57">
              <a:extLst>
                <a:ext uri="{FF2B5EF4-FFF2-40B4-BE49-F238E27FC236}">
                  <a16:creationId xmlns:a16="http://schemas.microsoft.com/office/drawing/2014/main" id="{811840A2-000B-861B-ADFC-B5908B1B0A06}"/>
                </a:ext>
              </a:extLst>
            </p:cNvPr>
            <p:cNvSpPr/>
            <p:nvPr/>
          </p:nvSpPr>
          <p:spPr>
            <a:xfrm>
              <a:off x="5560132" y="3364558"/>
              <a:ext cx="1557220" cy="1071945"/>
            </a:xfrm>
            <a:custGeom>
              <a:avLst/>
              <a:gdLst>
                <a:gd name="connsiteX0" fmla="*/ 414401 w 1557220"/>
                <a:gd name="connsiteY0" fmla="*/ 11183 h 1071945"/>
                <a:gd name="connsiteX1" fmla="*/ 424236 w 1557220"/>
                <a:gd name="connsiteY1" fmla="*/ 91224 h 1071945"/>
                <a:gd name="connsiteX2" fmla="*/ 377420 w 1557220"/>
                <a:gd name="connsiteY2" fmla="*/ 134882 h 1071945"/>
                <a:gd name="connsiteX3" fmla="*/ 366961 w 1557220"/>
                <a:gd name="connsiteY3" fmla="*/ 129901 h 1071945"/>
                <a:gd name="connsiteX4" fmla="*/ 157790 w 1557220"/>
                <a:gd name="connsiteY4" fmla="*/ 207692 h 1071945"/>
                <a:gd name="connsiteX5" fmla="*/ 77512 w 1557220"/>
                <a:gd name="connsiteY5" fmla="*/ 282175 h 1071945"/>
                <a:gd name="connsiteX6" fmla="*/ 1208 w 1557220"/>
                <a:gd name="connsiteY6" fmla="*/ 673790 h 1071945"/>
                <a:gd name="connsiteX7" fmla="*/ 29868 w 1557220"/>
                <a:gd name="connsiteY7" fmla="*/ 931478 h 1071945"/>
                <a:gd name="connsiteX8" fmla="*/ 107615 w 1557220"/>
                <a:gd name="connsiteY8" fmla="*/ 980632 h 1071945"/>
                <a:gd name="connsiteX9" fmla="*/ 116711 w 1557220"/>
                <a:gd name="connsiteY9" fmla="*/ 992247 h 1071945"/>
                <a:gd name="connsiteX10" fmla="*/ 106929 w 1557220"/>
                <a:gd name="connsiteY10" fmla="*/ 1050481 h 1071945"/>
                <a:gd name="connsiteX11" fmla="*/ 118146 w 1557220"/>
                <a:gd name="connsiteY11" fmla="*/ 1064373 h 1071945"/>
                <a:gd name="connsiteX12" fmla="*/ 542430 w 1557220"/>
                <a:gd name="connsiteY12" fmla="*/ 1066827 h 1071945"/>
                <a:gd name="connsiteX13" fmla="*/ 911756 w 1557220"/>
                <a:gd name="connsiteY13" fmla="*/ 1011892 h 1071945"/>
                <a:gd name="connsiteX14" fmla="*/ 905680 w 1557220"/>
                <a:gd name="connsiteY14" fmla="*/ 899408 h 1071945"/>
                <a:gd name="connsiteX15" fmla="*/ 911827 w 1557220"/>
                <a:gd name="connsiteY15" fmla="*/ 893565 h 1071945"/>
                <a:gd name="connsiteX16" fmla="*/ 1142941 w 1557220"/>
                <a:gd name="connsiteY16" fmla="*/ 854460 h 1071945"/>
                <a:gd name="connsiteX17" fmla="*/ 1348593 w 1557220"/>
                <a:gd name="connsiteY17" fmla="*/ 813399 h 1071945"/>
                <a:gd name="connsiteX18" fmla="*/ 1373627 w 1557220"/>
                <a:gd name="connsiteY18" fmla="*/ 724340 h 1071945"/>
                <a:gd name="connsiteX19" fmla="*/ 1379685 w 1557220"/>
                <a:gd name="connsiteY19" fmla="*/ 715046 h 1071945"/>
                <a:gd name="connsiteX20" fmla="*/ 1428015 w 1557220"/>
                <a:gd name="connsiteY20" fmla="*/ 654820 h 1071945"/>
                <a:gd name="connsiteX21" fmla="*/ 1543813 w 1557220"/>
                <a:gd name="connsiteY21" fmla="*/ 306134 h 1071945"/>
                <a:gd name="connsiteX22" fmla="*/ 1552071 w 1557220"/>
                <a:gd name="connsiteY22" fmla="*/ 221104 h 1071945"/>
                <a:gd name="connsiteX23" fmla="*/ 1490805 w 1557220"/>
                <a:gd name="connsiteY23" fmla="*/ 207515 h 1071945"/>
                <a:gd name="connsiteX24" fmla="*/ 1239673 w 1557220"/>
                <a:gd name="connsiteY24" fmla="*/ 208840 h 1071945"/>
                <a:gd name="connsiteX25" fmla="*/ 1097844 w 1557220"/>
                <a:gd name="connsiteY25" fmla="*/ 254143 h 1071945"/>
                <a:gd name="connsiteX26" fmla="*/ 1007348 w 1557220"/>
                <a:gd name="connsiteY26" fmla="*/ 586794 h 1071945"/>
                <a:gd name="connsiteX27" fmla="*/ 997753 w 1557220"/>
                <a:gd name="connsiteY27" fmla="*/ 586243 h 1071945"/>
                <a:gd name="connsiteX28" fmla="*/ 967356 w 1557220"/>
                <a:gd name="connsiteY28" fmla="*/ 400254 h 1071945"/>
                <a:gd name="connsiteX29" fmla="*/ 865029 w 1557220"/>
                <a:gd name="connsiteY29" fmla="*/ 258385 h 1071945"/>
                <a:gd name="connsiteX30" fmla="*/ 718870 w 1557220"/>
                <a:gd name="connsiteY30" fmla="*/ 181083 h 1071945"/>
                <a:gd name="connsiteX31" fmla="*/ 661381 w 1557220"/>
                <a:gd name="connsiteY31" fmla="*/ 177303 h 1071945"/>
                <a:gd name="connsiteX32" fmla="*/ 647671 w 1557220"/>
                <a:gd name="connsiteY32" fmla="*/ 100535 h 1071945"/>
                <a:gd name="connsiteX33" fmla="*/ 643706 w 1557220"/>
                <a:gd name="connsiteY33" fmla="*/ 65744 h 1071945"/>
                <a:gd name="connsiteX34" fmla="*/ 421225 w 1557220"/>
                <a:gd name="connsiteY34" fmla="*/ 235 h 1071945"/>
                <a:gd name="connsiteX35" fmla="*/ 414401 w 1557220"/>
                <a:gd name="connsiteY35" fmla="*/ 11183 h 107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57220" h="1071945">
                  <a:moveTo>
                    <a:pt x="414401" y="11183"/>
                  </a:moveTo>
                  <a:cubicBezTo>
                    <a:pt x="414401" y="11183"/>
                    <a:pt x="437475" y="54600"/>
                    <a:pt x="424236" y="91224"/>
                  </a:cubicBezTo>
                  <a:cubicBezTo>
                    <a:pt x="411586" y="126228"/>
                    <a:pt x="394436" y="188491"/>
                    <a:pt x="377420" y="134882"/>
                  </a:cubicBezTo>
                  <a:cubicBezTo>
                    <a:pt x="376030" y="130515"/>
                    <a:pt x="371229" y="128229"/>
                    <a:pt x="366961" y="129901"/>
                  </a:cubicBezTo>
                  <a:cubicBezTo>
                    <a:pt x="344573" y="138661"/>
                    <a:pt x="275645" y="165288"/>
                    <a:pt x="157790" y="207692"/>
                  </a:cubicBezTo>
                  <a:cubicBezTo>
                    <a:pt x="116408" y="222580"/>
                    <a:pt x="89432" y="260573"/>
                    <a:pt x="77512" y="282175"/>
                  </a:cubicBezTo>
                  <a:cubicBezTo>
                    <a:pt x="44701" y="341637"/>
                    <a:pt x="6669" y="507011"/>
                    <a:pt x="1208" y="673790"/>
                  </a:cubicBezTo>
                  <a:cubicBezTo>
                    <a:pt x="-1785" y="765117"/>
                    <a:pt x="-1509" y="858018"/>
                    <a:pt x="29868" y="931478"/>
                  </a:cubicBezTo>
                  <a:cubicBezTo>
                    <a:pt x="29868" y="931478"/>
                    <a:pt x="54465" y="977217"/>
                    <a:pt x="107615" y="980632"/>
                  </a:cubicBezTo>
                  <a:cubicBezTo>
                    <a:pt x="113477" y="981005"/>
                    <a:pt x="117682" y="986457"/>
                    <a:pt x="116711" y="992247"/>
                  </a:cubicBezTo>
                  <a:lnTo>
                    <a:pt x="106929" y="1050481"/>
                  </a:lnTo>
                  <a:cubicBezTo>
                    <a:pt x="105905" y="1057489"/>
                    <a:pt x="111063" y="1063892"/>
                    <a:pt x="118146" y="1064373"/>
                  </a:cubicBezTo>
                  <a:cubicBezTo>
                    <a:pt x="167358" y="1067699"/>
                    <a:pt x="348172" y="1078113"/>
                    <a:pt x="542430" y="1066827"/>
                  </a:cubicBezTo>
                  <a:cubicBezTo>
                    <a:pt x="670887" y="1059366"/>
                    <a:pt x="806631" y="1053078"/>
                    <a:pt x="911756" y="1011892"/>
                  </a:cubicBezTo>
                  <a:lnTo>
                    <a:pt x="905680" y="899408"/>
                  </a:lnTo>
                  <a:cubicBezTo>
                    <a:pt x="905493" y="895984"/>
                    <a:pt x="908397" y="893369"/>
                    <a:pt x="911827" y="893565"/>
                  </a:cubicBezTo>
                  <a:cubicBezTo>
                    <a:pt x="964897" y="896553"/>
                    <a:pt x="1039170" y="902716"/>
                    <a:pt x="1142941" y="854460"/>
                  </a:cubicBezTo>
                  <a:cubicBezTo>
                    <a:pt x="1142941" y="854460"/>
                    <a:pt x="1314552" y="863523"/>
                    <a:pt x="1348593" y="813399"/>
                  </a:cubicBezTo>
                  <a:cubicBezTo>
                    <a:pt x="1382634" y="763276"/>
                    <a:pt x="1373627" y="724340"/>
                    <a:pt x="1373627" y="724340"/>
                  </a:cubicBezTo>
                  <a:cubicBezTo>
                    <a:pt x="1374651" y="720694"/>
                    <a:pt x="1376772" y="717465"/>
                    <a:pt x="1379685" y="715046"/>
                  </a:cubicBezTo>
                  <a:cubicBezTo>
                    <a:pt x="1389244" y="707140"/>
                    <a:pt x="1412220" y="686089"/>
                    <a:pt x="1428015" y="654820"/>
                  </a:cubicBezTo>
                  <a:cubicBezTo>
                    <a:pt x="1477941" y="555996"/>
                    <a:pt x="1543813" y="306134"/>
                    <a:pt x="1543813" y="306134"/>
                  </a:cubicBezTo>
                  <a:cubicBezTo>
                    <a:pt x="1543813" y="306134"/>
                    <a:pt x="1567332" y="252035"/>
                    <a:pt x="1552071" y="221104"/>
                  </a:cubicBezTo>
                  <a:cubicBezTo>
                    <a:pt x="1544294" y="205345"/>
                    <a:pt x="1524694" y="207034"/>
                    <a:pt x="1490805" y="207515"/>
                  </a:cubicBezTo>
                  <a:cubicBezTo>
                    <a:pt x="1430510" y="208368"/>
                    <a:pt x="1328744" y="206572"/>
                    <a:pt x="1239673" y="208840"/>
                  </a:cubicBezTo>
                  <a:cubicBezTo>
                    <a:pt x="1169748" y="210618"/>
                    <a:pt x="1117907" y="217431"/>
                    <a:pt x="1097844" y="254143"/>
                  </a:cubicBezTo>
                  <a:lnTo>
                    <a:pt x="1007348" y="586794"/>
                  </a:lnTo>
                  <a:cubicBezTo>
                    <a:pt x="1005914" y="591854"/>
                    <a:pt x="998600" y="591436"/>
                    <a:pt x="997753" y="586243"/>
                  </a:cubicBezTo>
                  <a:lnTo>
                    <a:pt x="967356" y="400254"/>
                  </a:lnTo>
                  <a:cubicBezTo>
                    <a:pt x="967356" y="400254"/>
                    <a:pt x="958242" y="304765"/>
                    <a:pt x="865029" y="258385"/>
                  </a:cubicBezTo>
                  <a:cubicBezTo>
                    <a:pt x="771816" y="212015"/>
                    <a:pt x="732866" y="192405"/>
                    <a:pt x="718870" y="181083"/>
                  </a:cubicBezTo>
                  <a:cubicBezTo>
                    <a:pt x="704874" y="169753"/>
                    <a:pt x="661381" y="177303"/>
                    <a:pt x="661381" y="177303"/>
                  </a:cubicBezTo>
                  <a:cubicBezTo>
                    <a:pt x="657996" y="173773"/>
                    <a:pt x="648223" y="105391"/>
                    <a:pt x="647671" y="100535"/>
                  </a:cubicBezTo>
                  <a:lnTo>
                    <a:pt x="643706" y="65744"/>
                  </a:lnTo>
                  <a:lnTo>
                    <a:pt x="421225" y="235"/>
                  </a:lnTo>
                  <a:cubicBezTo>
                    <a:pt x="415693" y="-1357"/>
                    <a:pt x="414775" y="5464"/>
                    <a:pt x="414401" y="1118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59" name="Freeform: Shape 58">
              <a:extLst>
                <a:ext uri="{FF2B5EF4-FFF2-40B4-BE49-F238E27FC236}">
                  <a16:creationId xmlns:a16="http://schemas.microsoft.com/office/drawing/2014/main" id="{FBB82FF4-16F9-8677-A5F1-B2106D0C597F}"/>
                </a:ext>
              </a:extLst>
            </p:cNvPr>
            <p:cNvSpPr/>
            <p:nvPr/>
          </p:nvSpPr>
          <p:spPr>
            <a:xfrm>
              <a:off x="5566507" y="4097137"/>
              <a:ext cx="202010" cy="180602"/>
            </a:xfrm>
            <a:custGeom>
              <a:avLst/>
              <a:gdLst>
                <a:gd name="connsiteX0" fmla="*/ 202009 w 202010"/>
                <a:gd name="connsiteY0" fmla="*/ 9619 h 180602"/>
                <a:gd name="connsiteX1" fmla="*/ 2557 w 202010"/>
                <a:gd name="connsiteY1" fmla="*/ 29345 h 180602"/>
                <a:gd name="connsiteX2" fmla="*/ 9 w 202010"/>
                <a:gd name="connsiteY2" fmla="*/ 34779 h 180602"/>
                <a:gd name="connsiteX3" fmla="*/ 8598 w 202010"/>
                <a:gd name="connsiteY3" fmla="*/ 118422 h 180602"/>
                <a:gd name="connsiteX4" fmla="*/ 22050 w 202010"/>
                <a:gd name="connsiteY4" fmla="*/ 176416 h 180602"/>
                <a:gd name="connsiteX5" fmla="*/ 33721 w 202010"/>
                <a:gd name="connsiteY5" fmla="*/ 177252 h 180602"/>
                <a:gd name="connsiteX6" fmla="*/ 153188 w 202010"/>
                <a:gd name="connsiteY6" fmla="*/ 45896 h 180602"/>
                <a:gd name="connsiteX7" fmla="*/ 202009 w 202010"/>
                <a:gd name="connsiteY7" fmla="*/ 9619 h 18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010" h="180602">
                  <a:moveTo>
                    <a:pt x="202009" y="9619"/>
                  </a:moveTo>
                  <a:cubicBezTo>
                    <a:pt x="189857" y="-12134"/>
                    <a:pt x="20010" y="6729"/>
                    <a:pt x="2557" y="29345"/>
                  </a:cubicBezTo>
                  <a:cubicBezTo>
                    <a:pt x="856" y="30617"/>
                    <a:pt x="-106" y="32662"/>
                    <a:pt x="9" y="34779"/>
                  </a:cubicBezTo>
                  <a:cubicBezTo>
                    <a:pt x="1551" y="64012"/>
                    <a:pt x="4446" y="92151"/>
                    <a:pt x="8598" y="118422"/>
                  </a:cubicBezTo>
                  <a:cubicBezTo>
                    <a:pt x="11413" y="136271"/>
                    <a:pt x="15217" y="157118"/>
                    <a:pt x="22050" y="176416"/>
                  </a:cubicBezTo>
                  <a:cubicBezTo>
                    <a:pt x="23698" y="181530"/>
                    <a:pt x="31351" y="182135"/>
                    <a:pt x="33721" y="177252"/>
                  </a:cubicBezTo>
                  <a:cubicBezTo>
                    <a:pt x="65008" y="123420"/>
                    <a:pt x="106248" y="82661"/>
                    <a:pt x="153188" y="45896"/>
                  </a:cubicBezTo>
                  <a:cubicBezTo>
                    <a:pt x="162961" y="37225"/>
                    <a:pt x="202294" y="21430"/>
                    <a:pt x="202009" y="9619"/>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60" name="Freeform: Shape 59">
              <a:extLst>
                <a:ext uri="{FF2B5EF4-FFF2-40B4-BE49-F238E27FC236}">
                  <a16:creationId xmlns:a16="http://schemas.microsoft.com/office/drawing/2014/main" id="{49A6042B-2DBB-4B23-C251-8E77F6ACEE6E}"/>
                </a:ext>
              </a:extLst>
            </p:cNvPr>
            <p:cNvSpPr/>
            <p:nvPr/>
          </p:nvSpPr>
          <p:spPr>
            <a:xfrm>
              <a:off x="6016824" y="4185558"/>
              <a:ext cx="324545" cy="264361"/>
            </a:xfrm>
            <a:custGeom>
              <a:avLst/>
              <a:gdLst>
                <a:gd name="connsiteX0" fmla="*/ 321547 w 324545"/>
                <a:gd name="connsiteY0" fmla="*/ 210529 h 264361"/>
                <a:gd name="connsiteX1" fmla="*/ 315783 w 324545"/>
                <a:gd name="connsiteY1" fmla="*/ 155052 h 264361"/>
                <a:gd name="connsiteX2" fmla="*/ 318607 w 324545"/>
                <a:gd name="connsiteY2" fmla="*/ 35861 h 264361"/>
                <a:gd name="connsiteX3" fmla="*/ 319463 w 324545"/>
                <a:gd name="connsiteY3" fmla="*/ 7198 h 264361"/>
                <a:gd name="connsiteX4" fmla="*/ 312665 w 324545"/>
                <a:gd name="connsiteY4" fmla="*/ 30 h 264361"/>
                <a:gd name="connsiteX5" fmla="*/ 123521 w 324545"/>
                <a:gd name="connsiteY5" fmla="*/ 17656 h 264361"/>
                <a:gd name="connsiteX6" fmla="*/ 66246 w 324545"/>
                <a:gd name="connsiteY6" fmla="*/ 22068 h 264361"/>
                <a:gd name="connsiteX7" fmla="*/ 3358 w 324545"/>
                <a:gd name="connsiteY7" fmla="*/ 58211 h 264361"/>
                <a:gd name="connsiteX8" fmla="*/ 730 w 324545"/>
                <a:gd name="connsiteY8" fmla="*/ 66775 h 264361"/>
                <a:gd name="connsiteX9" fmla="*/ 11421 w 324545"/>
                <a:gd name="connsiteY9" fmla="*/ 228085 h 264361"/>
                <a:gd name="connsiteX10" fmla="*/ 18664 w 324545"/>
                <a:gd name="connsiteY10" fmla="*/ 264361 h 264361"/>
                <a:gd name="connsiteX11" fmla="*/ 313636 w 324545"/>
                <a:gd name="connsiteY11" fmla="*/ 236596 h 264361"/>
                <a:gd name="connsiteX12" fmla="*/ 324389 w 324545"/>
                <a:gd name="connsiteY12" fmla="*/ 225817 h 264361"/>
                <a:gd name="connsiteX13" fmla="*/ 321547 w 324545"/>
                <a:gd name="connsiteY13" fmla="*/ 210529 h 26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545" h="264361">
                  <a:moveTo>
                    <a:pt x="321547" y="210529"/>
                  </a:moveTo>
                  <a:cubicBezTo>
                    <a:pt x="313779" y="193738"/>
                    <a:pt x="316059" y="173870"/>
                    <a:pt x="315783" y="155052"/>
                  </a:cubicBezTo>
                  <a:cubicBezTo>
                    <a:pt x="315952" y="115449"/>
                    <a:pt x="318803" y="75624"/>
                    <a:pt x="318607" y="35861"/>
                  </a:cubicBezTo>
                  <a:cubicBezTo>
                    <a:pt x="318447" y="26274"/>
                    <a:pt x="318278" y="16358"/>
                    <a:pt x="319463" y="7198"/>
                  </a:cubicBezTo>
                  <a:cubicBezTo>
                    <a:pt x="320051" y="3347"/>
                    <a:pt x="316567" y="-371"/>
                    <a:pt x="312665" y="30"/>
                  </a:cubicBezTo>
                  <a:cubicBezTo>
                    <a:pt x="254633" y="4405"/>
                    <a:pt x="185749" y="9243"/>
                    <a:pt x="123521" y="17656"/>
                  </a:cubicBezTo>
                  <a:cubicBezTo>
                    <a:pt x="104705" y="20316"/>
                    <a:pt x="85240" y="23064"/>
                    <a:pt x="66246" y="22068"/>
                  </a:cubicBezTo>
                  <a:cubicBezTo>
                    <a:pt x="47119" y="33656"/>
                    <a:pt x="27893" y="45538"/>
                    <a:pt x="3358" y="58211"/>
                  </a:cubicBezTo>
                  <a:cubicBezTo>
                    <a:pt x="276" y="59865"/>
                    <a:pt x="-891" y="63680"/>
                    <a:pt x="730" y="66775"/>
                  </a:cubicBezTo>
                  <a:cubicBezTo>
                    <a:pt x="21149" y="105773"/>
                    <a:pt x="15492" y="194841"/>
                    <a:pt x="11421" y="228085"/>
                  </a:cubicBezTo>
                  <a:cubicBezTo>
                    <a:pt x="9220" y="246041"/>
                    <a:pt x="4588" y="263605"/>
                    <a:pt x="18664" y="264361"/>
                  </a:cubicBezTo>
                  <a:cubicBezTo>
                    <a:pt x="117802" y="259781"/>
                    <a:pt x="216342" y="257531"/>
                    <a:pt x="313636" y="236596"/>
                  </a:cubicBezTo>
                  <a:cubicBezTo>
                    <a:pt x="318251" y="235457"/>
                    <a:pt x="325449" y="229783"/>
                    <a:pt x="324389" y="225817"/>
                  </a:cubicBezTo>
                  <a:cubicBezTo>
                    <a:pt x="325360" y="220988"/>
                    <a:pt x="321476" y="215749"/>
                    <a:pt x="321547" y="21052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61" name="Freeform: Shape 60">
              <a:extLst>
                <a:ext uri="{FF2B5EF4-FFF2-40B4-BE49-F238E27FC236}">
                  <a16:creationId xmlns:a16="http://schemas.microsoft.com/office/drawing/2014/main" id="{9102D44D-1338-4F31-A838-6883DB28E7B2}"/>
                </a:ext>
              </a:extLst>
            </p:cNvPr>
            <p:cNvSpPr/>
            <p:nvPr/>
          </p:nvSpPr>
          <p:spPr>
            <a:xfrm>
              <a:off x="6204304" y="4114890"/>
              <a:ext cx="141962" cy="43056"/>
            </a:xfrm>
            <a:custGeom>
              <a:avLst/>
              <a:gdLst>
                <a:gd name="connsiteX0" fmla="*/ 136259 w 141962"/>
                <a:gd name="connsiteY0" fmla="*/ 8790 h 43056"/>
                <a:gd name="connsiteX1" fmla="*/ 105657 w 141962"/>
                <a:gd name="connsiteY1" fmla="*/ 590 h 43056"/>
                <a:gd name="connsiteX2" fmla="*/ 100098 w 141962"/>
                <a:gd name="connsiteY2" fmla="*/ 679 h 43056"/>
                <a:gd name="connsiteX3" fmla="*/ 29629 w 141962"/>
                <a:gd name="connsiteY3" fmla="*/ 15451 h 43056"/>
                <a:gd name="connsiteX4" fmla="*/ 6724 w 141962"/>
                <a:gd name="connsiteY4" fmla="*/ 29094 h 43056"/>
                <a:gd name="connsiteX5" fmla="*/ 6172 w 141962"/>
                <a:gd name="connsiteY5" fmla="*/ 43056 h 43056"/>
                <a:gd name="connsiteX6" fmla="*/ 135404 w 141962"/>
                <a:gd name="connsiteY6" fmla="*/ 30356 h 43056"/>
                <a:gd name="connsiteX7" fmla="*/ 141943 w 141962"/>
                <a:gd name="connsiteY7" fmla="*/ 15620 h 43056"/>
                <a:gd name="connsiteX8" fmla="*/ 136259 w 141962"/>
                <a:gd name="connsiteY8" fmla="*/ 8790 h 4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962" h="43056">
                  <a:moveTo>
                    <a:pt x="136259" y="8790"/>
                  </a:moveTo>
                  <a:cubicBezTo>
                    <a:pt x="125132" y="7607"/>
                    <a:pt x="114833" y="4841"/>
                    <a:pt x="105657" y="590"/>
                  </a:cubicBezTo>
                  <a:cubicBezTo>
                    <a:pt x="103893" y="-228"/>
                    <a:pt x="101844" y="-193"/>
                    <a:pt x="100098" y="679"/>
                  </a:cubicBezTo>
                  <a:cubicBezTo>
                    <a:pt x="77799" y="12534"/>
                    <a:pt x="48338" y="21321"/>
                    <a:pt x="29629" y="15451"/>
                  </a:cubicBezTo>
                  <a:cubicBezTo>
                    <a:pt x="23402" y="14188"/>
                    <a:pt x="15883" y="26194"/>
                    <a:pt x="6724" y="29094"/>
                  </a:cubicBezTo>
                  <a:cubicBezTo>
                    <a:pt x="-1071" y="30881"/>
                    <a:pt x="-3129" y="42345"/>
                    <a:pt x="6172" y="43056"/>
                  </a:cubicBezTo>
                  <a:cubicBezTo>
                    <a:pt x="34974" y="39686"/>
                    <a:pt x="124170" y="31246"/>
                    <a:pt x="135404" y="30356"/>
                  </a:cubicBezTo>
                  <a:cubicBezTo>
                    <a:pt x="142486" y="30107"/>
                    <a:pt x="141355" y="20369"/>
                    <a:pt x="141943" y="15620"/>
                  </a:cubicBezTo>
                  <a:cubicBezTo>
                    <a:pt x="142210" y="12187"/>
                    <a:pt x="139689" y="9154"/>
                    <a:pt x="136259" y="8790"/>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62" name="Freeform: Shape 61">
              <a:extLst>
                <a:ext uri="{FF2B5EF4-FFF2-40B4-BE49-F238E27FC236}">
                  <a16:creationId xmlns:a16="http://schemas.microsoft.com/office/drawing/2014/main" id="{43DF19C5-1BD7-C1D3-59E2-6B2E66F6819F}"/>
                </a:ext>
              </a:extLst>
            </p:cNvPr>
            <p:cNvSpPr/>
            <p:nvPr/>
          </p:nvSpPr>
          <p:spPr>
            <a:xfrm>
              <a:off x="5956956" y="3571001"/>
              <a:ext cx="381909" cy="518746"/>
            </a:xfrm>
            <a:custGeom>
              <a:avLst/>
              <a:gdLst>
                <a:gd name="connsiteX0" fmla="*/ 376043 w 381909"/>
                <a:gd name="connsiteY0" fmla="*/ 411256 h 518746"/>
                <a:gd name="connsiteX1" fmla="*/ 381014 w 381909"/>
                <a:gd name="connsiteY1" fmla="*/ 403892 h 518746"/>
                <a:gd name="connsiteX2" fmla="*/ 327900 w 381909"/>
                <a:gd name="connsiteY2" fmla="*/ 31772 h 518746"/>
                <a:gd name="connsiteX3" fmla="*/ 316844 w 381909"/>
                <a:gd name="connsiteY3" fmla="*/ 28997 h 518746"/>
                <a:gd name="connsiteX4" fmla="*/ 37355 w 381909"/>
                <a:gd name="connsiteY4" fmla="*/ 15764 h 518746"/>
                <a:gd name="connsiteX5" fmla="*/ 0 w 381909"/>
                <a:gd name="connsiteY5" fmla="*/ 689 h 518746"/>
                <a:gd name="connsiteX6" fmla="*/ 48117 w 381909"/>
                <a:gd name="connsiteY6" fmla="*/ 512472 h 518746"/>
                <a:gd name="connsiteX7" fmla="*/ 56081 w 381909"/>
                <a:gd name="connsiteY7" fmla="*/ 518538 h 518746"/>
                <a:gd name="connsiteX8" fmla="*/ 376043 w 381909"/>
                <a:gd name="connsiteY8" fmla="*/ 411256 h 51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909" h="518746">
                  <a:moveTo>
                    <a:pt x="376043" y="411256"/>
                  </a:moveTo>
                  <a:cubicBezTo>
                    <a:pt x="378912" y="409877"/>
                    <a:pt x="380818" y="407058"/>
                    <a:pt x="381014" y="403892"/>
                  </a:cubicBezTo>
                  <a:cubicBezTo>
                    <a:pt x="388311" y="285565"/>
                    <a:pt x="349272" y="131459"/>
                    <a:pt x="327900" y="31772"/>
                  </a:cubicBezTo>
                  <a:cubicBezTo>
                    <a:pt x="326911" y="26836"/>
                    <a:pt x="320069" y="25022"/>
                    <a:pt x="316844" y="28997"/>
                  </a:cubicBezTo>
                  <a:cubicBezTo>
                    <a:pt x="247818" y="106522"/>
                    <a:pt x="74157" y="32163"/>
                    <a:pt x="37355" y="15764"/>
                  </a:cubicBezTo>
                  <a:cubicBezTo>
                    <a:pt x="28704" y="13772"/>
                    <a:pt x="6459" y="-3642"/>
                    <a:pt x="0" y="689"/>
                  </a:cubicBezTo>
                  <a:cubicBezTo>
                    <a:pt x="25248" y="153710"/>
                    <a:pt x="45578" y="334070"/>
                    <a:pt x="48117" y="512472"/>
                  </a:cubicBezTo>
                  <a:cubicBezTo>
                    <a:pt x="48179" y="516599"/>
                    <a:pt x="52081" y="519578"/>
                    <a:pt x="56081" y="518538"/>
                  </a:cubicBezTo>
                  <a:cubicBezTo>
                    <a:pt x="160057" y="491457"/>
                    <a:pt x="277066" y="458836"/>
                    <a:pt x="376043" y="41125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99" name="Freeform: Shape 98">
              <a:extLst>
                <a:ext uri="{FF2B5EF4-FFF2-40B4-BE49-F238E27FC236}">
                  <a16:creationId xmlns:a16="http://schemas.microsoft.com/office/drawing/2014/main" id="{BD5B63D8-3B9F-81EC-1AD9-BD61E20A285C}"/>
                </a:ext>
              </a:extLst>
            </p:cNvPr>
            <p:cNvSpPr/>
            <p:nvPr/>
          </p:nvSpPr>
          <p:spPr>
            <a:xfrm>
              <a:off x="5672855" y="4248642"/>
              <a:ext cx="360034" cy="202334"/>
            </a:xfrm>
            <a:custGeom>
              <a:avLst/>
              <a:gdLst>
                <a:gd name="connsiteX0" fmla="*/ 345991 w 360034"/>
                <a:gd name="connsiteY0" fmla="*/ 5211 h 202334"/>
                <a:gd name="connsiteX1" fmla="*/ 336708 w 360034"/>
                <a:gd name="connsiteY1" fmla="*/ 765 h 202334"/>
                <a:gd name="connsiteX2" fmla="*/ 196554 w 360034"/>
                <a:gd name="connsiteY2" fmla="*/ 60920 h 202334"/>
                <a:gd name="connsiteX3" fmla="*/ 12648 w 360034"/>
                <a:gd name="connsiteY3" fmla="*/ 102008 h 202334"/>
                <a:gd name="connsiteX4" fmla="*/ 6278 w 360034"/>
                <a:gd name="connsiteY4" fmla="*/ 108829 h 202334"/>
                <a:gd name="connsiteX5" fmla="*/ 5263 w 360034"/>
                <a:gd name="connsiteY5" fmla="*/ 187305 h 202334"/>
                <a:gd name="connsiteX6" fmla="*/ 345786 w 360034"/>
                <a:gd name="connsiteY6" fmla="*/ 201712 h 202334"/>
                <a:gd name="connsiteX7" fmla="*/ 356521 w 360034"/>
                <a:gd name="connsiteY7" fmla="*/ 192570 h 202334"/>
                <a:gd name="connsiteX8" fmla="*/ 345991 w 360034"/>
                <a:gd name="connsiteY8" fmla="*/ 5211 h 20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34" h="202334">
                  <a:moveTo>
                    <a:pt x="345991" y="5211"/>
                  </a:moveTo>
                  <a:cubicBezTo>
                    <a:pt x="345314" y="1103"/>
                    <a:pt x="340361" y="-1325"/>
                    <a:pt x="336708" y="765"/>
                  </a:cubicBezTo>
                  <a:cubicBezTo>
                    <a:pt x="291228" y="25071"/>
                    <a:pt x="242470" y="44040"/>
                    <a:pt x="196554" y="60920"/>
                  </a:cubicBezTo>
                  <a:cubicBezTo>
                    <a:pt x="138646" y="82362"/>
                    <a:pt x="76275" y="102177"/>
                    <a:pt x="12648" y="102008"/>
                  </a:cubicBezTo>
                  <a:cubicBezTo>
                    <a:pt x="9058" y="101937"/>
                    <a:pt x="5940" y="105254"/>
                    <a:pt x="6278" y="108829"/>
                  </a:cubicBezTo>
                  <a:cubicBezTo>
                    <a:pt x="10955" y="123308"/>
                    <a:pt x="-9081" y="188257"/>
                    <a:pt x="5263" y="187305"/>
                  </a:cubicBezTo>
                  <a:cubicBezTo>
                    <a:pt x="119296" y="199400"/>
                    <a:pt x="231619" y="204158"/>
                    <a:pt x="345786" y="201712"/>
                  </a:cubicBezTo>
                  <a:cubicBezTo>
                    <a:pt x="349804" y="201739"/>
                    <a:pt x="357733" y="196394"/>
                    <a:pt x="356521" y="192570"/>
                  </a:cubicBezTo>
                  <a:cubicBezTo>
                    <a:pt x="365332" y="130467"/>
                    <a:pt x="355978" y="63393"/>
                    <a:pt x="345991" y="5211"/>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0" name="Freeform: Shape 99">
              <a:extLst>
                <a:ext uri="{FF2B5EF4-FFF2-40B4-BE49-F238E27FC236}">
                  <a16:creationId xmlns:a16="http://schemas.microsoft.com/office/drawing/2014/main" id="{86F00078-7512-8126-E7A4-6CB3D6914A49}"/>
                </a:ext>
              </a:extLst>
            </p:cNvPr>
            <p:cNvSpPr/>
            <p:nvPr/>
          </p:nvSpPr>
          <p:spPr>
            <a:xfrm>
              <a:off x="6334013" y="4176031"/>
              <a:ext cx="135520" cy="241987"/>
            </a:xfrm>
            <a:custGeom>
              <a:avLst/>
              <a:gdLst>
                <a:gd name="connsiteX0" fmla="*/ 134151 w 135520"/>
                <a:gd name="connsiteY0" fmla="*/ 204021 h 241987"/>
                <a:gd name="connsiteX1" fmla="*/ 124263 w 135520"/>
                <a:gd name="connsiteY1" fmla="*/ 104467 h 241987"/>
                <a:gd name="connsiteX2" fmla="*/ 127398 w 135520"/>
                <a:gd name="connsiteY2" fmla="*/ 8525 h 241987"/>
                <a:gd name="connsiteX3" fmla="*/ 120842 w 135520"/>
                <a:gd name="connsiteY3" fmla="*/ 40 h 241987"/>
                <a:gd name="connsiteX4" fmla="*/ 33651 w 135520"/>
                <a:gd name="connsiteY4" fmla="*/ 6773 h 241987"/>
                <a:gd name="connsiteX5" fmla="*/ 5917 w 135520"/>
                <a:gd name="connsiteY5" fmla="*/ 15595 h 241987"/>
                <a:gd name="connsiteX6" fmla="*/ 483 w 135520"/>
                <a:gd name="connsiteY6" fmla="*/ 206653 h 241987"/>
                <a:gd name="connsiteX7" fmla="*/ 1614 w 135520"/>
                <a:gd name="connsiteY7" fmla="*/ 235824 h 241987"/>
                <a:gd name="connsiteX8" fmla="*/ 14069 w 135520"/>
                <a:gd name="connsiteY8" fmla="*/ 241373 h 241987"/>
                <a:gd name="connsiteX9" fmla="*/ 84262 w 135520"/>
                <a:gd name="connsiteY9" fmla="*/ 226583 h 241987"/>
                <a:gd name="connsiteX10" fmla="*/ 134151 w 135520"/>
                <a:gd name="connsiteY10" fmla="*/ 204021 h 24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520" h="241987">
                  <a:moveTo>
                    <a:pt x="134151" y="204021"/>
                  </a:moveTo>
                  <a:cubicBezTo>
                    <a:pt x="124298" y="173116"/>
                    <a:pt x="127381" y="135452"/>
                    <a:pt x="124263" y="104467"/>
                  </a:cubicBezTo>
                  <a:cubicBezTo>
                    <a:pt x="123915" y="73358"/>
                    <a:pt x="119853" y="38576"/>
                    <a:pt x="127398" y="8525"/>
                  </a:cubicBezTo>
                  <a:cubicBezTo>
                    <a:pt x="129029" y="4354"/>
                    <a:pt x="125323" y="-493"/>
                    <a:pt x="120842" y="40"/>
                  </a:cubicBezTo>
                  <a:cubicBezTo>
                    <a:pt x="91816" y="2548"/>
                    <a:pt x="62248" y="4701"/>
                    <a:pt x="33651" y="6773"/>
                  </a:cubicBezTo>
                  <a:cubicBezTo>
                    <a:pt x="25535" y="9147"/>
                    <a:pt x="6087" y="3473"/>
                    <a:pt x="5917" y="15595"/>
                  </a:cubicBezTo>
                  <a:cubicBezTo>
                    <a:pt x="7378" y="78089"/>
                    <a:pt x="100" y="141989"/>
                    <a:pt x="483" y="206653"/>
                  </a:cubicBezTo>
                  <a:cubicBezTo>
                    <a:pt x="554" y="218926"/>
                    <a:pt x="-1219" y="227037"/>
                    <a:pt x="1614" y="235824"/>
                  </a:cubicBezTo>
                  <a:cubicBezTo>
                    <a:pt x="3120" y="240475"/>
                    <a:pt x="9606" y="243303"/>
                    <a:pt x="14069" y="241373"/>
                  </a:cubicBezTo>
                  <a:cubicBezTo>
                    <a:pt x="34114" y="235424"/>
                    <a:pt x="58123" y="229020"/>
                    <a:pt x="84262" y="226583"/>
                  </a:cubicBezTo>
                  <a:cubicBezTo>
                    <a:pt x="94106" y="225641"/>
                    <a:pt x="144397" y="221470"/>
                    <a:pt x="134151" y="204021"/>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1" name="Freeform: Shape 100">
              <a:extLst>
                <a:ext uri="{FF2B5EF4-FFF2-40B4-BE49-F238E27FC236}">
                  <a16:creationId xmlns:a16="http://schemas.microsoft.com/office/drawing/2014/main" id="{876765B8-4A16-1D57-8911-019969949EBF}"/>
                </a:ext>
              </a:extLst>
            </p:cNvPr>
            <p:cNvSpPr/>
            <p:nvPr/>
          </p:nvSpPr>
          <p:spPr>
            <a:xfrm>
              <a:off x="6340802" y="4100558"/>
              <a:ext cx="144596" cy="44858"/>
            </a:xfrm>
            <a:custGeom>
              <a:avLst/>
              <a:gdLst>
                <a:gd name="connsiteX0" fmla="*/ 139514 w 144596"/>
                <a:gd name="connsiteY0" fmla="*/ 18044 h 44858"/>
                <a:gd name="connsiteX1" fmla="*/ 37258 w 144596"/>
                <a:gd name="connsiteY1" fmla="*/ 20685 h 44858"/>
                <a:gd name="connsiteX2" fmla="*/ 7610 w 144596"/>
                <a:gd name="connsiteY2" fmla="*/ 23255 h 44858"/>
                <a:gd name="connsiteX3" fmla="*/ 572 w 144596"/>
                <a:gd name="connsiteY3" fmla="*/ 29090 h 44858"/>
                <a:gd name="connsiteX4" fmla="*/ 6754 w 144596"/>
                <a:gd name="connsiteY4" fmla="*/ 44831 h 44858"/>
                <a:gd name="connsiteX5" fmla="*/ 139140 w 144596"/>
                <a:gd name="connsiteY5" fmla="*/ 30619 h 44858"/>
                <a:gd name="connsiteX6" fmla="*/ 139514 w 144596"/>
                <a:gd name="connsiteY6" fmla="*/ 18044 h 4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596" h="44858">
                  <a:moveTo>
                    <a:pt x="139514" y="18044"/>
                  </a:moveTo>
                  <a:cubicBezTo>
                    <a:pt x="67700" y="-4074"/>
                    <a:pt x="113901" y="-8814"/>
                    <a:pt x="37258" y="20685"/>
                  </a:cubicBezTo>
                  <a:cubicBezTo>
                    <a:pt x="25418" y="23629"/>
                    <a:pt x="20296" y="24616"/>
                    <a:pt x="7610" y="23255"/>
                  </a:cubicBezTo>
                  <a:cubicBezTo>
                    <a:pt x="4144" y="22811"/>
                    <a:pt x="768" y="25603"/>
                    <a:pt x="572" y="29090"/>
                  </a:cubicBezTo>
                  <a:cubicBezTo>
                    <a:pt x="117" y="34479"/>
                    <a:pt x="-2074" y="45480"/>
                    <a:pt x="6754" y="44831"/>
                  </a:cubicBezTo>
                  <a:cubicBezTo>
                    <a:pt x="45134" y="41665"/>
                    <a:pt x="87914" y="37067"/>
                    <a:pt x="139140" y="30619"/>
                  </a:cubicBezTo>
                  <a:cubicBezTo>
                    <a:pt x="146151" y="29926"/>
                    <a:pt x="146543" y="19156"/>
                    <a:pt x="139514" y="18044"/>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02" name="Freeform: Shape 101">
              <a:extLst>
                <a:ext uri="{FF2B5EF4-FFF2-40B4-BE49-F238E27FC236}">
                  <a16:creationId xmlns:a16="http://schemas.microsoft.com/office/drawing/2014/main" id="{38A2D226-E1EB-DCEC-35BB-91C8AD231812}"/>
                </a:ext>
              </a:extLst>
            </p:cNvPr>
            <p:cNvSpPr/>
            <p:nvPr/>
          </p:nvSpPr>
          <p:spPr>
            <a:xfrm>
              <a:off x="6230547" y="3540371"/>
              <a:ext cx="324961" cy="489005"/>
            </a:xfrm>
            <a:custGeom>
              <a:avLst/>
              <a:gdLst>
                <a:gd name="connsiteX0" fmla="*/ 324016 w 324961"/>
                <a:gd name="connsiteY0" fmla="*/ 437883 h 489005"/>
                <a:gd name="connsiteX1" fmla="*/ 309120 w 324961"/>
                <a:gd name="connsiteY1" fmla="*/ 380360 h 489005"/>
                <a:gd name="connsiteX2" fmla="*/ 78425 w 324961"/>
                <a:gd name="connsiteY2" fmla="*/ 30020 h 489005"/>
                <a:gd name="connsiteX3" fmla="*/ 38380 w 324961"/>
                <a:gd name="connsiteY3" fmla="*/ 3509 h 489005"/>
                <a:gd name="connsiteX4" fmla="*/ 125 w 324961"/>
                <a:gd name="connsiteY4" fmla="*/ 4220 h 489005"/>
                <a:gd name="connsiteX5" fmla="*/ 36438 w 324961"/>
                <a:gd name="connsiteY5" fmla="*/ 46455 h 489005"/>
                <a:gd name="connsiteX6" fmla="*/ 46059 w 324961"/>
                <a:gd name="connsiteY6" fmla="*/ 48127 h 489005"/>
                <a:gd name="connsiteX7" fmla="*/ 57881 w 324961"/>
                <a:gd name="connsiteY7" fmla="*/ 57537 h 489005"/>
                <a:gd name="connsiteX8" fmla="*/ 111370 w 324961"/>
                <a:gd name="connsiteY8" fmla="*/ 427238 h 489005"/>
                <a:gd name="connsiteX9" fmla="*/ 119949 w 324961"/>
                <a:gd name="connsiteY9" fmla="*/ 433223 h 489005"/>
                <a:gd name="connsiteX10" fmla="*/ 247791 w 324961"/>
                <a:gd name="connsiteY10" fmla="*/ 449782 h 489005"/>
                <a:gd name="connsiteX11" fmla="*/ 260558 w 324961"/>
                <a:gd name="connsiteY11" fmla="*/ 455377 h 489005"/>
                <a:gd name="connsiteX12" fmla="*/ 306020 w 324961"/>
                <a:gd name="connsiteY12" fmla="*/ 487028 h 489005"/>
                <a:gd name="connsiteX13" fmla="*/ 314768 w 324961"/>
                <a:gd name="connsiteY13" fmla="*/ 485232 h 489005"/>
                <a:gd name="connsiteX14" fmla="*/ 324016 w 324961"/>
                <a:gd name="connsiteY14" fmla="*/ 437883 h 4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4961" h="489005">
                  <a:moveTo>
                    <a:pt x="324016" y="437883"/>
                  </a:moveTo>
                  <a:cubicBezTo>
                    <a:pt x="312657" y="425059"/>
                    <a:pt x="312657" y="398725"/>
                    <a:pt x="309120" y="380360"/>
                  </a:cubicBezTo>
                  <a:cubicBezTo>
                    <a:pt x="292416" y="180177"/>
                    <a:pt x="286411" y="118839"/>
                    <a:pt x="78425" y="30020"/>
                  </a:cubicBezTo>
                  <a:cubicBezTo>
                    <a:pt x="73338" y="28117"/>
                    <a:pt x="41079" y="4398"/>
                    <a:pt x="38380" y="3509"/>
                  </a:cubicBezTo>
                  <a:cubicBezTo>
                    <a:pt x="29800" y="850"/>
                    <a:pt x="5176" y="-3170"/>
                    <a:pt x="125" y="4220"/>
                  </a:cubicBezTo>
                  <a:cubicBezTo>
                    <a:pt x="-2120" y="17649"/>
                    <a:pt x="26477" y="38709"/>
                    <a:pt x="36438" y="46455"/>
                  </a:cubicBezTo>
                  <a:cubicBezTo>
                    <a:pt x="37979" y="47514"/>
                    <a:pt x="41578" y="48038"/>
                    <a:pt x="46059" y="48127"/>
                  </a:cubicBezTo>
                  <a:cubicBezTo>
                    <a:pt x="51672" y="48234"/>
                    <a:pt x="56518" y="52094"/>
                    <a:pt x="57881" y="57537"/>
                  </a:cubicBezTo>
                  <a:cubicBezTo>
                    <a:pt x="85704" y="168269"/>
                    <a:pt x="111504" y="295766"/>
                    <a:pt x="111370" y="427238"/>
                  </a:cubicBezTo>
                  <a:cubicBezTo>
                    <a:pt x="111254" y="431515"/>
                    <a:pt x="115940" y="434833"/>
                    <a:pt x="119949" y="433223"/>
                  </a:cubicBezTo>
                  <a:cubicBezTo>
                    <a:pt x="161126" y="416966"/>
                    <a:pt x="195577" y="427753"/>
                    <a:pt x="247791" y="449782"/>
                  </a:cubicBezTo>
                  <a:cubicBezTo>
                    <a:pt x="249680" y="450574"/>
                    <a:pt x="257698" y="448502"/>
                    <a:pt x="260558" y="455377"/>
                  </a:cubicBezTo>
                  <a:cubicBezTo>
                    <a:pt x="264362" y="464519"/>
                    <a:pt x="275908" y="462705"/>
                    <a:pt x="306020" y="487028"/>
                  </a:cubicBezTo>
                  <a:cubicBezTo>
                    <a:pt x="309423" y="490088"/>
                    <a:pt x="313753" y="489679"/>
                    <a:pt x="314768" y="485232"/>
                  </a:cubicBezTo>
                  <a:cubicBezTo>
                    <a:pt x="316559" y="472087"/>
                    <a:pt x="328336" y="446661"/>
                    <a:pt x="324016" y="437883"/>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3" name="Freeform: Shape 102">
              <a:extLst>
                <a:ext uri="{FF2B5EF4-FFF2-40B4-BE49-F238E27FC236}">
                  <a16:creationId xmlns:a16="http://schemas.microsoft.com/office/drawing/2014/main" id="{8D79A985-5151-A876-565D-D4CF7B9B9D4C}"/>
                </a:ext>
              </a:extLst>
            </p:cNvPr>
            <p:cNvSpPr/>
            <p:nvPr/>
          </p:nvSpPr>
          <p:spPr>
            <a:xfrm>
              <a:off x="5565150" y="3493036"/>
              <a:ext cx="438135" cy="633267"/>
            </a:xfrm>
            <a:custGeom>
              <a:avLst/>
              <a:gdLst>
                <a:gd name="connsiteX0" fmla="*/ 204301 w 438135"/>
                <a:gd name="connsiteY0" fmla="*/ 607894 h 633267"/>
                <a:gd name="connsiteX1" fmla="*/ 246511 w 438135"/>
                <a:gd name="connsiteY1" fmla="*/ 625032 h 633267"/>
                <a:gd name="connsiteX2" fmla="*/ 272846 w 438135"/>
                <a:gd name="connsiteY2" fmla="*/ 630208 h 633267"/>
                <a:gd name="connsiteX3" fmla="*/ 303590 w 438135"/>
                <a:gd name="connsiteY3" fmla="*/ 633267 h 633267"/>
                <a:gd name="connsiteX4" fmla="*/ 414319 w 438135"/>
                <a:gd name="connsiteY4" fmla="*/ 607103 h 633267"/>
                <a:gd name="connsiteX5" fmla="*/ 437758 w 438135"/>
                <a:gd name="connsiteY5" fmla="*/ 595995 h 633267"/>
                <a:gd name="connsiteX6" fmla="*/ 434150 w 438135"/>
                <a:gd name="connsiteY6" fmla="*/ 537583 h 633267"/>
                <a:gd name="connsiteX7" fmla="*/ 432466 w 438135"/>
                <a:gd name="connsiteY7" fmla="*/ 456786 h 633267"/>
                <a:gd name="connsiteX8" fmla="*/ 413517 w 438135"/>
                <a:gd name="connsiteY8" fmla="*/ 227139 h 633267"/>
                <a:gd name="connsiteX9" fmla="*/ 384091 w 438135"/>
                <a:gd name="connsiteY9" fmla="*/ 64931 h 633267"/>
                <a:gd name="connsiteX10" fmla="*/ 371654 w 438135"/>
                <a:gd name="connsiteY10" fmla="*/ 5122 h 633267"/>
                <a:gd name="connsiteX11" fmla="*/ 367645 w 438135"/>
                <a:gd name="connsiteY11" fmla="*/ 409 h 633267"/>
                <a:gd name="connsiteX12" fmla="*/ 361516 w 438135"/>
                <a:gd name="connsiteY12" fmla="*/ 1307 h 633267"/>
                <a:gd name="connsiteX13" fmla="*/ 295973 w 438135"/>
                <a:gd name="connsiteY13" fmla="*/ 31216 h 633267"/>
                <a:gd name="connsiteX14" fmla="*/ 246066 w 438135"/>
                <a:gd name="connsiteY14" fmla="*/ 47695 h 633267"/>
                <a:gd name="connsiteX15" fmla="*/ 106553 w 438135"/>
                <a:gd name="connsiteY15" fmla="*/ 117420 h 633267"/>
                <a:gd name="connsiteX16" fmla="*/ 106268 w 438135"/>
                <a:gd name="connsiteY16" fmla="*/ 117722 h 633267"/>
                <a:gd name="connsiteX17" fmla="*/ 12386 w 438135"/>
                <a:gd name="connsiteY17" fmla="*/ 398231 h 633267"/>
                <a:gd name="connsiteX18" fmla="*/ 10792 w 438135"/>
                <a:gd name="connsiteY18" fmla="*/ 409882 h 633267"/>
                <a:gd name="connsiteX19" fmla="*/ 10774 w 438135"/>
                <a:gd name="connsiteY19" fmla="*/ 410059 h 633267"/>
                <a:gd name="connsiteX20" fmla="*/ 529 w 438135"/>
                <a:gd name="connsiteY20" fmla="*/ 618753 h 633267"/>
                <a:gd name="connsiteX21" fmla="*/ 3709 w 438135"/>
                <a:gd name="connsiteY21" fmla="*/ 624063 h 633267"/>
                <a:gd name="connsiteX22" fmla="*/ 9901 w 438135"/>
                <a:gd name="connsiteY22" fmla="*/ 624178 h 633267"/>
                <a:gd name="connsiteX23" fmla="*/ 105671 w 438135"/>
                <a:gd name="connsiteY23" fmla="*/ 603545 h 633267"/>
                <a:gd name="connsiteX24" fmla="*/ 204301 w 438135"/>
                <a:gd name="connsiteY24" fmla="*/ 607894 h 6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8135" h="633267">
                  <a:moveTo>
                    <a:pt x="204301" y="607894"/>
                  </a:moveTo>
                  <a:cubicBezTo>
                    <a:pt x="206288" y="608419"/>
                    <a:pt x="238235" y="623129"/>
                    <a:pt x="246511" y="625032"/>
                  </a:cubicBezTo>
                  <a:cubicBezTo>
                    <a:pt x="255046" y="626989"/>
                    <a:pt x="263875" y="629016"/>
                    <a:pt x="272846" y="630208"/>
                  </a:cubicBezTo>
                  <a:cubicBezTo>
                    <a:pt x="283207" y="632334"/>
                    <a:pt x="293443" y="633267"/>
                    <a:pt x="303590" y="633267"/>
                  </a:cubicBezTo>
                  <a:cubicBezTo>
                    <a:pt x="341774" y="633267"/>
                    <a:pt x="378523" y="620016"/>
                    <a:pt x="414319" y="607103"/>
                  </a:cubicBezTo>
                  <a:cubicBezTo>
                    <a:pt x="420350" y="604924"/>
                    <a:pt x="434230" y="601375"/>
                    <a:pt x="437758" y="595995"/>
                  </a:cubicBezTo>
                  <a:cubicBezTo>
                    <a:pt x="439557" y="593256"/>
                    <a:pt x="434346" y="554276"/>
                    <a:pt x="434150" y="537583"/>
                  </a:cubicBezTo>
                  <a:cubicBezTo>
                    <a:pt x="433838" y="511116"/>
                    <a:pt x="433508" y="483742"/>
                    <a:pt x="432466" y="456786"/>
                  </a:cubicBezTo>
                  <a:cubicBezTo>
                    <a:pt x="429303" y="374681"/>
                    <a:pt x="423103" y="299549"/>
                    <a:pt x="413517" y="227139"/>
                  </a:cubicBezTo>
                  <a:cubicBezTo>
                    <a:pt x="406897" y="172399"/>
                    <a:pt x="395307" y="117767"/>
                    <a:pt x="384091" y="64931"/>
                  </a:cubicBezTo>
                  <a:cubicBezTo>
                    <a:pt x="379930" y="45339"/>
                    <a:pt x="375636" y="25079"/>
                    <a:pt x="371654" y="5122"/>
                  </a:cubicBezTo>
                  <a:cubicBezTo>
                    <a:pt x="371226" y="2961"/>
                    <a:pt x="369712" y="1183"/>
                    <a:pt x="367645" y="409"/>
                  </a:cubicBezTo>
                  <a:cubicBezTo>
                    <a:pt x="365578" y="-365"/>
                    <a:pt x="363262" y="-27"/>
                    <a:pt x="361516" y="1307"/>
                  </a:cubicBezTo>
                  <a:cubicBezTo>
                    <a:pt x="342674" y="15697"/>
                    <a:pt x="318931" y="23585"/>
                    <a:pt x="295973" y="31216"/>
                  </a:cubicBezTo>
                  <a:cubicBezTo>
                    <a:pt x="295973" y="31216"/>
                    <a:pt x="261282" y="42937"/>
                    <a:pt x="246066" y="47695"/>
                  </a:cubicBezTo>
                  <a:cubicBezTo>
                    <a:pt x="196239" y="63277"/>
                    <a:pt x="144728" y="79383"/>
                    <a:pt x="106553" y="117420"/>
                  </a:cubicBezTo>
                  <a:cubicBezTo>
                    <a:pt x="106455" y="117518"/>
                    <a:pt x="106357" y="117625"/>
                    <a:pt x="106268" y="117722"/>
                  </a:cubicBezTo>
                  <a:cubicBezTo>
                    <a:pt x="40423" y="192579"/>
                    <a:pt x="25527" y="301835"/>
                    <a:pt x="12386" y="398231"/>
                  </a:cubicBezTo>
                  <a:lnTo>
                    <a:pt x="10792" y="409882"/>
                  </a:lnTo>
                  <a:cubicBezTo>
                    <a:pt x="10783" y="409944"/>
                    <a:pt x="10774" y="410006"/>
                    <a:pt x="10774" y="410059"/>
                  </a:cubicBezTo>
                  <a:cubicBezTo>
                    <a:pt x="1874" y="492235"/>
                    <a:pt x="-1387" y="558545"/>
                    <a:pt x="529" y="618753"/>
                  </a:cubicBezTo>
                  <a:cubicBezTo>
                    <a:pt x="600" y="620950"/>
                    <a:pt x="1803" y="622960"/>
                    <a:pt x="3709" y="624063"/>
                  </a:cubicBezTo>
                  <a:cubicBezTo>
                    <a:pt x="5616" y="625165"/>
                    <a:pt x="7959" y="625210"/>
                    <a:pt x="9901" y="624178"/>
                  </a:cubicBezTo>
                  <a:cubicBezTo>
                    <a:pt x="37349" y="609629"/>
                    <a:pt x="105671" y="603545"/>
                    <a:pt x="105671" y="603545"/>
                  </a:cubicBezTo>
                  <a:cubicBezTo>
                    <a:pt x="139525" y="600148"/>
                    <a:pt x="172229" y="599410"/>
                    <a:pt x="204301" y="607894"/>
                  </a:cubicBezTo>
                  <a:close/>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tile tx="0" ty="0" sx="20000" sy="20000" flip="none" algn="tl"/>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4" name="Freeform: Shape 103">
              <a:extLst>
                <a:ext uri="{FF2B5EF4-FFF2-40B4-BE49-F238E27FC236}">
                  <a16:creationId xmlns:a16="http://schemas.microsoft.com/office/drawing/2014/main" id="{B3A86668-2812-099A-7715-BC29E159AE7F}"/>
                </a:ext>
              </a:extLst>
            </p:cNvPr>
            <p:cNvSpPr/>
            <p:nvPr/>
          </p:nvSpPr>
          <p:spPr>
            <a:xfrm>
              <a:off x="6062885" y="3569887"/>
              <a:ext cx="1050323" cy="636955"/>
            </a:xfrm>
            <a:custGeom>
              <a:avLst/>
              <a:gdLst>
                <a:gd name="connsiteX0" fmla="*/ 1049203 w 1050323"/>
                <a:gd name="connsiteY0" fmla="*/ 32503 h 636955"/>
                <a:gd name="connsiteX1" fmla="*/ 953246 w 1050323"/>
                <a:gd name="connsiteY1" fmla="*/ 2559 h 636955"/>
                <a:gd name="connsiteX2" fmla="*/ 658460 w 1050323"/>
                <a:gd name="connsiteY2" fmla="*/ 9798 h 636955"/>
                <a:gd name="connsiteX3" fmla="*/ 578975 w 1050323"/>
                <a:gd name="connsiteY3" fmla="*/ 107155 h 636955"/>
                <a:gd name="connsiteX4" fmla="*/ 462082 w 1050323"/>
                <a:gd name="connsiteY4" fmla="*/ 549764 h 636955"/>
                <a:gd name="connsiteX5" fmla="*/ 446224 w 1050323"/>
                <a:gd name="connsiteY5" fmla="*/ 555883 h 636955"/>
                <a:gd name="connsiteX6" fmla="*/ 114334 w 1050323"/>
                <a:gd name="connsiteY6" fmla="*/ 594090 h 636955"/>
                <a:gd name="connsiteX7" fmla="*/ 5289 w 1050323"/>
                <a:gd name="connsiteY7" fmla="*/ 610044 h 636955"/>
                <a:gd name="connsiteX8" fmla="*/ 12933 w 1050323"/>
                <a:gd name="connsiteY8" fmla="*/ 635177 h 636955"/>
                <a:gd name="connsiteX9" fmla="*/ 30929 w 1050323"/>
                <a:gd name="connsiteY9" fmla="*/ 636956 h 636955"/>
                <a:gd name="connsiteX10" fmla="*/ 234577 w 1050323"/>
                <a:gd name="connsiteY10" fmla="*/ 617239 h 636955"/>
                <a:gd name="connsiteX11" fmla="*/ 347960 w 1050323"/>
                <a:gd name="connsiteY11" fmla="*/ 608337 h 636955"/>
                <a:gd name="connsiteX12" fmla="*/ 455026 w 1050323"/>
                <a:gd name="connsiteY12" fmla="*/ 597549 h 636955"/>
                <a:gd name="connsiteX13" fmla="*/ 489700 w 1050323"/>
                <a:gd name="connsiteY13" fmla="*/ 587855 h 636955"/>
                <a:gd name="connsiteX14" fmla="*/ 553942 w 1050323"/>
                <a:gd name="connsiteY14" fmla="*/ 580340 h 636955"/>
                <a:gd name="connsiteX15" fmla="*/ 662336 w 1050323"/>
                <a:gd name="connsiteY15" fmla="*/ 563736 h 636955"/>
                <a:gd name="connsiteX16" fmla="*/ 706844 w 1050323"/>
                <a:gd name="connsiteY16" fmla="*/ 545878 h 636955"/>
                <a:gd name="connsiteX17" fmla="*/ 754819 w 1050323"/>
                <a:gd name="connsiteY17" fmla="*/ 462769 h 636955"/>
                <a:gd name="connsiteX18" fmla="*/ 776075 w 1050323"/>
                <a:gd name="connsiteY18" fmla="*/ 429098 h 636955"/>
                <a:gd name="connsiteX19" fmla="*/ 792886 w 1050323"/>
                <a:gd name="connsiteY19" fmla="*/ 435377 h 636955"/>
                <a:gd name="connsiteX20" fmla="*/ 797447 w 1050323"/>
                <a:gd name="connsiteY20" fmla="*/ 429489 h 636955"/>
                <a:gd name="connsiteX21" fmla="*/ 826045 w 1050323"/>
                <a:gd name="connsiteY21" fmla="*/ 414895 h 636955"/>
                <a:gd name="connsiteX22" fmla="*/ 850268 w 1050323"/>
                <a:gd name="connsiteY22" fmla="*/ 418079 h 636955"/>
                <a:gd name="connsiteX23" fmla="*/ 883721 w 1050323"/>
                <a:gd name="connsiteY23" fmla="*/ 504906 h 636955"/>
                <a:gd name="connsiteX24" fmla="*/ 891088 w 1050323"/>
                <a:gd name="connsiteY24" fmla="*/ 496839 h 636955"/>
                <a:gd name="connsiteX25" fmla="*/ 919089 w 1050323"/>
                <a:gd name="connsiteY25" fmla="*/ 457201 h 636955"/>
                <a:gd name="connsiteX26" fmla="*/ 1049203 w 1050323"/>
                <a:gd name="connsiteY26" fmla="*/ 32503 h 63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50323" h="636955">
                  <a:moveTo>
                    <a:pt x="1049203" y="32503"/>
                  </a:moveTo>
                  <a:cubicBezTo>
                    <a:pt x="1060277" y="-11413"/>
                    <a:pt x="986467" y="1536"/>
                    <a:pt x="953246" y="2559"/>
                  </a:cubicBezTo>
                  <a:cubicBezTo>
                    <a:pt x="844094" y="6036"/>
                    <a:pt x="744351" y="5867"/>
                    <a:pt x="658460" y="9798"/>
                  </a:cubicBezTo>
                  <a:cubicBezTo>
                    <a:pt x="602156" y="16842"/>
                    <a:pt x="591528" y="61193"/>
                    <a:pt x="578975" y="107155"/>
                  </a:cubicBezTo>
                  <a:cubicBezTo>
                    <a:pt x="535304" y="254173"/>
                    <a:pt x="502163" y="403716"/>
                    <a:pt x="462082" y="549764"/>
                  </a:cubicBezTo>
                  <a:cubicBezTo>
                    <a:pt x="461672" y="551250"/>
                    <a:pt x="449191" y="554860"/>
                    <a:pt x="446224" y="555883"/>
                  </a:cubicBezTo>
                  <a:cubicBezTo>
                    <a:pt x="335764" y="576632"/>
                    <a:pt x="224679" y="575440"/>
                    <a:pt x="114334" y="594090"/>
                  </a:cubicBezTo>
                  <a:cubicBezTo>
                    <a:pt x="78859" y="596571"/>
                    <a:pt x="42279" y="604477"/>
                    <a:pt x="5289" y="610044"/>
                  </a:cubicBezTo>
                  <a:cubicBezTo>
                    <a:pt x="-7058" y="615114"/>
                    <a:pt x="5040" y="628712"/>
                    <a:pt x="12933" y="635177"/>
                  </a:cubicBezTo>
                  <a:cubicBezTo>
                    <a:pt x="18002" y="637836"/>
                    <a:pt x="24916" y="635889"/>
                    <a:pt x="30929" y="636956"/>
                  </a:cubicBezTo>
                  <a:cubicBezTo>
                    <a:pt x="99002" y="630615"/>
                    <a:pt x="167154" y="621117"/>
                    <a:pt x="234577" y="617239"/>
                  </a:cubicBezTo>
                  <a:cubicBezTo>
                    <a:pt x="271905" y="614509"/>
                    <a:pt x="310462" y="610783"/>
                    <a:pt x="347960" y="608337"/>
                  </a:cubicBezTo>
                  <a:cubicBezTo>
                    <a:pt x="383266" y="605909"/>
                    <a:pt x="419765" y="603392"/>
                    <a:pt x="455026" y="597549"/>
                  </a:cubicBezTo>
                  <a:cubicBezTo>
                    <a:pt x="460568" y="596464"/>
                    <a:pt x="481031" y="586130"/>
                    <a:pt x="489700" y="587855"/>
                  </a:cubicBezTo>
                  <a:cubicBezTo>
                    <a:pt x="511224" y="586299"/>
                    <a:pt x="532409" y="583106"/>
                    <a:pt x="553942" y="580340"/>
                  </a:cubicBezTo>
                  <a:cubicBezTo>
                    <a:pt x="590263" y="576240"/>
                    <a:pt x="626059" y="566484"/>
                    <a:pt x="662336" y="563736"/>
                  </a:cubicBezTo>
                  <a:cubicBezTo>
                    <a:pt x="676527" y="557057"/>
                    <a:pt x="692118" y="552424"/>
                    <a:pt x="706844" y="545878"/>
                  </a:cubicBezTo>
                  <a:cubicBezTo>
                    <a:pt x="741322" y="532689"/>
                    <a:pt x="740306" y="467295"/>
                    <a:pt x="754819" y="462769"/>
                  </a:cubicBezTo>
                  <a:cubicBezTo>
                    <a:pt x="776699" y="481054"/>
                    <a:pt x="766311" y="435261"/>
                    <a:pt x="776075" y="429098"/>
                  </a:cubicBezTo>
                  <a:cubicBezTo>
                    <a:pt x="782596" y="424625"/>
                    <a:pt x="786098" y="437840"/>
                    <a:pt x="792886" y="435377"/>
                  </a:cubicBezTo>
                  <a:cubicBezTo>
                    <a:pt x="795514" y="434594"/>
                    <a:pt x="797358" y="432220"/>
                    <a:pt x="797447" y="429489"/>
                  </a:cubicBezTo>
                  <a:cubicBezTo>
                    <a:pt x="798427" y="404926"/>
                    <a:pt x="815541" y="393809"/>
                    <a:pt x="826045" y="414895"/>
                  </a:cubicBezTo>
                  <a:cubicBezTo>
                    <a:pt x="831675" y="422979"/>
                    <a:pt x="842838" y="411018"/>
                    <a:pt x="850268" y="418079"/>
                  </a:cubicBezTo>
                  <a:cubicBezTo>
                    <a:pt x="880033" y="438667"/>
                    <a:pt x="865066" y="516636"/>
                    <a:pt x="883721" y="504906"/>
                  </a:cubicBezTo>
                  <a:cubicBezTo>
                    <a:pt x="887017" y="502976"/>
                    <a:pt x="890269" y="500664"/>
                    <a:pt x="891088" y="496839"/>
                  </a:cubicBezTo>
                  <a:cubicBezTo>
                    <a:pt x="903231" y="482726"/>
                    <a:pt x="912131" y="470132"/>
                    <a:pt x="919089" y="457201"/>
                  </a:cubicBezTo>
                  <a:cubicBezTo>
                    <a:pt x="972212" y="327641"/>
                    <a:pt x="1030806" y="184857"/>
                    <a:pt x="1049203" y="3250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05" name="Freeform: Shape 104">
              <a:extLst>
                <a:ext uri="{FF2B5EF4-FFF2-40B4-BE49-F238E27FC236}">
                  <a16:creationId xmlns:a16="http://schemas.microsoft.com/office/drawing/2014/main" id="{619BB272-8E52-5814-FA5A-7757CF4EEC47}"/>
                </a:ext>
              </a:extLst>
            </p:cNvPr>
            <p:cNvSpPr/>
            <p:nvPr/>
          </p:nvSpPr>
          <p:spPr>
            <a:xfrm>
              <a:off x="5546364" y="3368067"/>
              <a:ext cx="1576758" cy="1077197"/>
            </a:xfrm>
            <a:custGeom>
              <a:avLst/>
              <a:gdLst>
                <a:gd name="connsiteX0" fmla="*/ 1575657 w 1576758"/>
                <a:gd name="connsiteY0" fmla="*/ 220903 h 1077197"/>
                <a:gd name="connsiteX1" fmla="*/ 1567675 w 1576758"/>
                <a:gd name="connsiteY1" fmla="*/ 203649 h 1077197"/>
                <a:gd name="connsiteX2" fmla="*/ 1543220 w 1576758"/>
                <a:gd name="connsiteY2" fmla="*/ 195227 h 1077197"/>
                <a:gd name="connsiteX3" fmla="*/ 1180745 w 1576758"/>
                <a:gd name="connsiteY3" fmla="*/ 200777 h 1077197"/>
                <a:gd name="connsiteX4" fmla="*/ 1156611 w 1576758"/>
                <a:gd name="connsiteY4" fmla="*/ 205339 h 1077197"/>
                <a:gd name="connsiteX5" fmla="*/ 1088422 w 1576758"/>
                <a:gd name="connsiteY5" fmla="*/ 294443 h 1077197"/>
                <a:gd name="connsiteX6" fmla="*/ 1014889 w 1576758"/>
                <a:gd name="connsiteY6" fmla="*/ 568877 h 1077197"/>
                <a:gd name="connsiteX7" fmla="*/ 843972 w 1576758"/>
                <a:gd name="connsiteY7" fmla="*/ 221232 h 1077197"/>
                <a:gd name="connsiteX8" fmla="*/ 740959 w 1576758"/>
                <a:gd name="connsiteY8" fmla="*/ 175395 h 1077197"/>
                <a:gd name="connsiteX9" fmla="*/ 682134 w 1576758"/>
                <a:gd name="connsiteY9" fmla="*/ 166066 h 1077197"/>
                <a:gd name="connsiteX10" fmla="*/ 668378 w 1576758"/>
                <a:gd name="connsiteY10" fmla="*/ 111860 h 1077197"/>
                <a:gd name="connsiteX11" fmla="*/ 660574 w 1576758"/>
                <a:gd name="connsiteY11" fmla="*/ 109752 h 1077197"/>
                <a:gd name="connsiteX12" fmla="*/ 712851 w 1576758"/>
                <a:gd name="connsiteY12" fmla="*/ 226043 h 1077197"/>
                <a:gd name="connsiteX13" fmla="*/ 612386 w 1576758"/>
                <a:gd name="connsiteY13" fmla="*/ 250927 h 1077197"/>
                <a:gd name="connsiteX14" fmla="*/ 413122 w 1576758"/>
                <a:gd name="connsiteY14" fmla="*/ 188166 h 1077197"/>
                <a:gd name="connsiteX15" fmla="*/ 406208 w 1576758"/>
                <a:gd name="connsiteY15" fmla="*/ 161930 h 1077197"/>
                <a:gd name="connsiteX16" fmla="*/ 447626 w 1576758"/>
                <a:gd name="connsiteY16" fmla="*/ 56987 h 1077197"/>
                <a:gd name="connsiteX17" fmla="*/ 431020 w 1576758"/>
                <a:gd name="connsiteY17" fmla="*/ 1581 h 1077197"/>
                <a:gd name="connsiteX18" fmla="*/ 421942 w 1576758"/>
                <a:gd name="connsiteY18" fmla="*/ 5334 h 1077197"/>
                <a:gd name="connsiteX19" fmla="*/ 427287 w 1576758"/>
                <a:gd name="connsiteY19" fmla="*/ 32344 h 1077197"/>
                <a:gd name="connsiteX20" fmla="*/ 400534 w 1576758"/>
                <a:gd name="connsiteY20" fmla="*/ 143209 h 1077197"/>
                <a:gd name="connsiteX21" fmla="*/ 392560 w 1576758"/>
                <a:gd name="connsiteY21" fmla="*/ 120416 h 1077197"/>
                <a:gd name="connsiteX22" fmla="*/ 383999 w 1576758"/>
                <a:gd name="connsiteY22" fmla="*/ 118379 h 1077197"/>
                <a:gd name="connsiteX23" fmla="*/ 133642 w 1576758"/>
                <a:gd name="connsiteY23" fmla="*/ 210488 h 1077197"/>
                <a:gd name="connsiteX24" fmla="*/ 0 w 1576758"/>
                <a:gd name="connsiteY24" fmla="*/ 687213 h 1077197"/>
                <a:gd name="connsiteX25" fmla="*/ 38299 w 1576758"/>
                <a:gd name="connsiteY25" fmla="*/ 941504 h 1077197"/>
                <a:gd name="connsiteX26" fmla="*/ 120546 w 1576758"/>
                <a:gd name="connsiteY26" fmla="*/ 988568 h 1077197"/>
                <a:gd name="connsiteX27" fmla="*/ 109481 w 1576758"/>
                <a:gd name="connsiteY27" fmla="*/ 1045682 h 1077197"/>
                <a:gd name="connsiteX28" fmla="*/ 109561 w 1576758"/>
                <a:gd name="connsiteY28" fmla="*/ 1071766 h 1077197"/>
                <a:gd name="connsiteX29" fmla="*/ 128849 w 1576758"/>
                <a:gd name="connsiteY29" fmla="*/ 1071766 h 1077197"/>
                <a:gd name="connsiteX30" fmla="*/ 133633 w 1576758"/>
                <a:gd name="connsiteY30" fmla="*/ 1047603 h 1077197"/>
                <a:gd name="connsiteX31" fmla="*/ 139139 w 1576758"/>
                <a:gd name="connsiteY31" fmla="*/ 988924 h 1077197"/>
                <a:gd name="connsiteX32" fmla="*/ 325263 w 1576758"/>
                <a:gd name="connsiteY32" fmla="*/ 947445 h 1077197"/>
                <a:gd name="connsiteX33" fmla="*/ 466210 w 1576758"/>
                <a:gd name="connsiteY33" fmla="*/ 886934 h 1077197"/>
                <a:gd name="connsiteX34" fmla="*/ 474130 w 1576758"/>
                <a:gd name="connsiteY34" fmla="*/ 1050564 h 1077197"/>
                <a:gd name="connsiteX35" fmla="*/ 491146 w 1576758"/>
                <a:gd name="connsiteY35" fmla="*/ 1050564 h 1077197"/>
                <a:gd name="connsiteX36" fmla="*/ 476856 w 1576758"/>
                <a:gd name="connsiteY36" fmla="*/ 881295 h 1077197"/>
                <a:gd name="connsiteX37" fmla="*/ 533124 w 1576758"/>
                <a:gd name="connsiteY37" fmla="*/ 849688 h 1077197"/>
                <a:gd name="connsiteX38" fmla="*/ 536376 w 1576758"/>
                <a:gd name="connsiteY38" fmla="*/ 845899 h 1077197"/>
                <a:gd name="connsiteX39" fmla="*/ 625375 w 1576758"/>
                <a:gd name="connsiteY39" fmla="*/ 837673 h 1077197"/>
                <a:gd name="connsiteX40" fmla="*/ 783597 w 1576758"/>
                <a:gd name="connsiteY40" fmla="*/ 823861 h 1077197"/>
                <a:gd name="connsiteX41" fmla="*/ 782741 w 1576758"/>
                <a:gd name="connsiteY41" fmla="*/ 869663 h 1077197"/>
                <a:gd name="connsiteX42" fmla="*/ 781022 w 1576758"/>
                <a:gd name="connsiteY42" fmla="*/ 921725 h 1077197"/>
                <a:gd name="connsiteX43" fmla="*/ 779873 w 1576758"/>
                <a:gd name="connsiteY43" fmla="*/ 972409 h 1077197"/>
                <a:gd name="connsiteX44" fmla="*/ 780782 w 1576758"/>
                <a:gd name="connsiteY44" fmla="*/ 1024507 h 1077197"/>
                <a:gd name="connsiteX45" fmla="*/ 797192 w 1576758"/>
                <a:gd name="connsiteY45" fmla="*/ 1024507 h 1077197"/>
                <a:gd name="connsiteX46" fmla="*/ 798947 w 1576758"/>
                <a:gd name="connsiteY46" fmla="*/ 973787 h 1077197"/>
                <a:gd name="connsiteX47" fmla="*/ 800087 w 1576758"/>
                <a:gd name="connsiteY47" fmla="*/ 871041 h 1077197"/>
                <a:gd name="connsiteX48" fmla="*/ 799891 w 1576758"/>
                <a:gd name="connsiteY48" fmla="*/ 822679 h 1077197"/>
                <a:gd name="connsiteX49" fmla="*/ 909051 w 1576758"/>
                <a:gd name="connsiteY49" fmla="*/ 814328 h 1077197"/>
                <a:gd name="connsiteX50" fmla="*/ 904552 w 1576758"/>
                <a:gd name="connsiteY50" fmla="*/ 861436 h 1077197"/>
                <a:gd name="connsiteX51" fmla="*/ 905550 w 1576758"/>
                <a:gd name="connsiteY51" fmla="*/ 912680 h 1077197"/>
                <a:gd name="connsiteX52" fmla="*/ 910566 w 1576758"/>
                <a:gd name="connsiteY52" fmla="*/ 989707 h 1077197"/>
                <a:gd name="connsiteX53" fmla="*/ 916250 w 1576758"/>
                <a:gd name="connsiteY53" fmla="*/ 1015124 h 1077197"/>
                <a:gd name="connsiteX54" fmla="*/ 935208 w 1576758"/>
                <a:gd name="connsiteY54" fmla="*/ 1012652 h 1077197"/>
                <a:gd name="connsiteX55" fmla="*/ 935992 w 1576758"/>
                <a:gd name="connsiteY55" fmla="*/ 988435 h 1077197"/>
                <a:gd name="connsiteX56" fmla="*/ 934041 w 1576758"/>
                <a:gd name="connsiteY56" fmla="*/ 963933 h 1077197"/>
                <a:gd name="connsiteX57" fmla="*/ 930504 w 1576758"/>
                <a:gd name="connsiteY57" fmla="*/ 892821 h 1077197"/>
                <a:gd name="connsiteX58" fmla="*/ 987405 w 1576758"/>
                <a:gd name="connsiteY58" fmla="*/ 899740 h 1077197"/>
                <a:gd name="connsiteX59" fmla="*/ 1158589 w 1576758"/>
                <a:gd name="connsiteY59" fmla="*/ 859622 h 1077197"/>
                <a:gd name="connsiteX60" fmla="*/ 1202999 w 1576758"/>
                <a:gd name="connsiteY60" fmla="*/ 862397 h 1077197"/>
                <a:gd name="connsiteX61" fmla="*/ 1252372 w 1576758"/>
                <a:gd name="connsiteY61" fmla="*/ 859337 h 1077197"/>
                <a:gd name="connsiteX62" fmla="*/ 1396491 w 1576758"/>
                <a:gd name="connsiteY62" fmla="*/ 720502 h 1077197"/>
                <a:gd name="connsiteX63" fmla="*/ 1423048 w 1576758"/>
                <a:gd name="connsiteY63" fmla="*/ 696071 h 1077197"/>
                <a:gd name="connsiteX64" fmla="*/ 1463370 w 1576758"/>
                <a:gd name="connsiteY64" fmla="*/ 620032 h 1077197"/>
                <a:gd name="connsiteX65" fmla="*/ 1500671 w 1576758"/>
                <a:gd name="connsiteY65" fmla="*/ 521893 h 1077197"/>
                <a:gd name="connsiteX66" fmla="*/ 1571924 w 1576758"/>
                <a:gd name="connsiteY66" fmla="*/ 272111 h 1077197"/>
                <a:gd name="connsiteX67" fmla="*/ 1575657 w 1576758"/>
                <a:gd name="connsiteY67" fmla="*/ 220903 h 1077197"/>
                <a:gd name="connsiteX68" fmla="*/ 759276 w 1576758"/>
                <a:gd name="connsiteY68" fmla="*/ 207749 h 1077197"/>
                <a:gd name="connsiteX69" fmla="*/ 812417 w 1576758"/>
                <a:gd name="connsiteY69" fmla="*/ 234439 h 1077197"/>
                <a:gd name="connsiteX70" fmla="*/ 986977 w 1576758"/>
                <a:gd name="connsiteY70" fmla="*/ 553571 h 1077197"/>
                <a:gd name="connsiteX71" fmla="*/ 1003405 w 1576758"/>
                <a:gd name="connsiteY71" fmla="*/ 614385 h 1077197"/>
                <a:gd name="connsiteX72" fmla="*/ 992759 w 1576758"/>
                <a:gd name="connsiteY72" fmla="*/ 655944 h 1077197"/>
                <a:gd name="connsiteX73" fmla="*/ 950148 w 1576758"/>
                <a:gd name="connsiteY73" fmla="*/ 626969 h 1077197"/>
                <a:gd name="connsiteX74" fmla="*/ 921310 w 1576758"/>
                <a:gd name="connsiteY74" fmla="*/ 423558 h 1077197"/>
                <a:gd name="connsiteX75" fmla="*/ 916820 w 1576758"/>
                <a:gd name="connsiteY75" fmla="*/ 424794 h 1077197"/>
                <a:gd name="connsiteX76" fmla="*/ 934504 w 1576758"/>
                <a:gd name="connsiteY76" fmla="*/ 618618 h 1077197"/>
                <a:gd name="connsiteX77" fmla="*/ 801931 w 1576758"/>
                <a:gd name="connsiteY77" fmla="*/ 599542 h 1077197"/>
                <a:gd name="connsiteX78" fmla="*/ 739248 w 1576758"/>
                <a:gd name="connsiteY78" fmla="*/ 193173 h 1077197"/>
                <a:gd name="connsiteX79" fmla="*/ 759276 w 1576758"/>
                <a:gd name="connsiteY79" fmla="*/ 207749 h 1077197"/>
                <a:gd name="connsiteX80" fmla="*/ 703934 w 1576758"/>
                <a:gd name="connsiteY80" fmla="*/ 196561 h 1077197"/>
                <a:gd name="connsiteX81" fmla="*/ 690000 w 1576758"/>
                <a:gd name="connsiteY81" fmla="*/ 179388 h 1077197"/>
                <a:gd name="connsiteX82" fmla="*/ 720442 w 1576758"/>
                <a:gd name="connsiteY82" fmla="*/ 181807 h 1077197"/>
                <a:gd name="connsiteX83" fmla="*/ 726696 w 1576758"/>
                <a:gd name="connsiteY83" fmla="*/ 212836 h 1077197"/>
                <a:gd name="connsiteX84" fmla="*/ 724522 w 1576758"/>
                <a:gd name="connsiteY84" fmla="*/ 213708 h 1077197"/>
                <a:gd name="connsiteX85" fmla="*/ 703934 w 1576758"/>
                <a:gd name="connsiteY85" fmla="*/ 196561 h 1077197"/>
                <a:gd name="connsiteX86" fmla="*/ 448356 w 1576758"/>
                <a:gd name="connsiteY86" fmla="*/ 225919 h 1077197"/>
                <a:gd name="connsiteX87" fmla="*/ 732255 w 1576758"/>
                <a:gd name="connsiteY87" fmla="*/ 236102 h 1077197"/>
                <a:gd name="connsiteX88" fmla="*/ 777868 w 1576758"/>
                <a:gd name="connsiteY88" fmla="*/ 511888 h 1077197"/>
                <a:gd name="connsiteX89" fmla="*/ 782946 w 1576758"/>
                <a:gd name="connsiteY89" fmla="*/ 607768 h 1077197"/>
                <a:gd name="connsiteX90" fmla="*/ 466878 w 1576758"/>
                <a:gd name="connsiteY90" fmla="*/ 713565 h 1077197"/>
                <a:gd name="connsiteX91" fmla="*/ 418280 w 1576758"/>
                <a:gd name="connsiteY91" fmla="*/ 210560 h 1077197"/>
                <a:gd name="connsiteX92" fmla="*/ 448356 w 1576758"/>
                <a:gd name="connsiteY92" fmla="*/ 225919 h 1077197"/>
                <a:gd name="connsiteX93" fmla="*/ 35903 w 1576758"/>
                <a:gd name="connsiteY93" fmla="*/ 535731 h 1077197"/>
                <a:gd name="connsiteX94" fmla="*/ 129847 w 1576758"/>
                <a:gd name="connsiteY94" fmla="*/ 246916 h 1077197"/>
                <a:gd name="connsiteX95" fmla="*/ 312808 w 1576758"/>
                <a:gd name="connsiteY95" fmla="*/ 163558 h 1077197"/>
                <a:gd name="connsiteX96" fmla="*/ 384177 w 1576758"/>
                <a:gd name="connsiteY96" fmla="*/ 131354 h 1077197"/>
                <a:gd name="connsiteX97" fmla="*/ 425950 w 1576758"/>
                <a:gd name="connsiteY97" fmla="*/ 352891 h 1077197"/>
                <a:gd name="connsiteX98" fmla="*/ 444864 w 1576758"/>
                <a:gd name="connsiteY98" fmla="*/ 582013 h 1077197"/>
                <a:gd name="connsiteX99" fmla="*/ 447323 w 1576758"/>
                <a:gd name="connsiteY99" fmla="*/ 713618 h 1077197"/>
                <a:gd name="connsiteX100" fmla="*/ 449345 w 1576758"/>
                <a:gd name="connsiteY100" fmla="*/ 719514 h 1077197"/>
                <a:gd name="connsiteX101" fmla="*/ 292692 w 1576758"/>
                <a:gd name="connsiteY101" fmla="*/ 748907 h 1077197"/>
                <a:gd name="connsiteX102" fmla="*/ 240896 w 1576758"/>
                <a:gd name="connsiteY102" fmla="*/ 738724 h 1077197"/>
                <a:gd name="connsiteX103" fmla="*/ 240121 w 1576758"/>
                <a:gd name="connsiteY103" fmla="*/ 713440 h 1077197"/>
                <a:gd name="connsiteX104" fmla="*/ 239114 w 1576758"/>
                <a:gd name="connsiteY104" fmla="*/ 684261 h 1077197"/>
                <a:gd name="connsiteX105" fmla="*/ 239987 w 1576758"/>
                <a:gd name="connsiteY105" fmla="*/ 518344 h 1077197"/>
                <a:gd name="connsiteX106" fmla="*/ 231140 w 1576758"/>
                <a:gd name="connsiteY106" fmla="*/ 515908 h 1077197"/>
                <a:gd name="connsiteX107" fmla="*/ 222677 w 1576758"/>
                <a:gd name="connsiteY107" fmla="*/ 626942 h 1077197"/>
                <a:gd name="connsiteX108" fmla="*/ 223995 w 1576758"/>
                <a:gd name="connsiteY108" fmla="*/ 724246 h 1077197"/>
                <a:gd name="connsiteX109" fmla="*/ 119192 w 1576758"/>
                <a:gd name="connsiteY109" fmla="*/ 722654 h 1077197"/>
                <a:gd name="connsiteX110" fmla="*/ 25675 w 1576758"/>
                <a:gd name="connsiteY110" fmla="*/ 743536 h 1077197"/>
                <a:gd name="connsiteX111" fmla="*/ 35903 w 1576758"/>
                <a:gd name="connsiteY111" fmla="*/ 535731 h 1077197"/>
                <a:gd name="connsiteX112" fmla="*/ 48215 w 1576758"/>
                <a:gd name="connsiteY112" fmla="*/ 903360 h 1077197"/>
                <a:gd name="connsiteX113" fmla="*/ 35039 w 1576758"/>
                <a:gd name="connsiteY113" fmla="*/ 846495 h 1077197"/>
                <a:gd name="connsiteX114" fmla="*/ 26522 w 1576758"/>
                <a:gd name="connsiteY114" fmla="*/ 763510 h 1077197"/>
                <a:gd name="connsiteX115" fmla="*/ 149615 w 1576758"/>
                <a:gd name="connsiteY115" fmla="*/ 736759 h 1077197"/>
                <a:gd name="connsiteX116" fmla="*/ 215906 w 1576758"/>
                <a:gd name="connsiteY116" fmla="*/ 740005 h 1077197"/>
                <a:gd name="connsiteX117" fmla="*/ 169767 w 1576758"/>
                <a:gd name="connsiteY117" fmla="*/ 769673 h 1077197"/>
                <a:gd name="connsiteX118" fmla="*/ 118399 w 1576758"/>
                <a:gd name="connsiteY118" fmla="*/ 815075 h 1077197"/>
                <a:gd name="connsiteX119" fmla="*/ 48215 w 1576758"/>
                <a:gd name="connsiteY119" fmla="*/ 903360 h 1077197"/>
                <a:gd name="connsiteX120" fmla="*/ 359677 w 1576758"/>
                <a:gd name="connsiteY120" fmla="*/ 907406 h 1077197"/>
                <a:gd name="connsiteX121" fmla="*/ 84919 w 1576758"/>
                <a:gd name="connsiteY121" fmla="*/ 954524 h 1077197"/>
                <a:gd name="connsiteX122" fmla="*/ 54424 w 1576758"/>
                <a:gd name="connsiteY122" fmla="*/ 918390 h 1077197"/>
                <a:gd name="connsiteX123" fmla="*/ 131299 w 1576758"/>
                <a:gd name="connsiteY123" fmla="*/ 822963 h 1077197"/>
                <a:gd name="connsiteX124" fmla="*/ 183095 w 1576758"/>
                <a:gd name="connsiteY124" fmla="*/ 778540 h 1077197"/>
                <a:gd name="connsiteX125" fmla="*/ 210775 w 1576758"/>
                <a:gd name="connsiteY125" fmla="*/ 761527 h 1077197"/>
                <a:gd name="connsiteX126" fmla="*/ 233225 w 1576758"/>
                <a:gd name="connsiteY126" fmla="*/ 744816 h 1077197"/>
                <a:gd name="connsiteX127" fmla="*/ 239933 w 1576758"/>
                <a:gd name="connsiteY127" fmla="*/ 742122 h 1077197"/>
                <a:gd name="connsiteX128" fmla="*/ 355143 w 1576758"/>
                <a:gd name="connsiteY128" fmla="*/ 762763 h 1077197"/>
                <a:gd name="connsiteX129" fmla="*/ 438851 w 1576758"/>
                <a:gd name="connsiteY129" fmla="*/ 737701 h 1077197"/>
                <a:gd name="connsiteX130" fmla="*/ 700219 w 1576758"/>
                <a:gd name="connsiteY130" fmla="*/ 657563 h 1077197"/>
                <a:gd name="connsiteX131" fmla="*/ 774483 w 1576758"/>
                <a:gd name="connsiteY131" fmla="*/ 627983 h 1077197"/>
                <a:gd name="connsiteX132" fmla="*/ 990692 w 1576758"/>
                <a:gd name="connsiteY132" fmla="*/ 663877 h 1077197"/>
                <a:gd name="connsiteX133" fmla="*/ 983369 w 1576758"/>
                <a:gd name="connsiteY133" fmla="*/ 691642 h 1077197"/>
                <a:gd name="connsiteX134" fmla="*/ 892846 w 1576758"/>
                <a:gd name="connsiteY134" fmla="*/ 634742 h 1077197"/>
                <a:gd name="connsiteX135" fmla="*/ 843144 w 1576758"/>
                <a:gd name="connsiteY135" fmla="*/ 638975 h 1077197"/>
                <a:gd name="connsiteX136" fmla="*/ 843144 w 1576758"/>
                <a:gd name="connsiteY136" fmla="*/ 644712 h 1077197"/>
                <a:gd name="connsiteX137" fmla="*/ 888222 w 1576758"/>
                <a:gd name="connsiteY137" fmla="*/ 647148 h 1077197"/>
                <a:gd name="connsiteX138" fmla="*/ 979039 w 1576758"/>
                <a:gd name="connsiteY138" fmla="*/ 707837 h 1077197"/>
                <a:gd name="connsiteX139" fmla="*/ 974193 w 1576758"/>
                <a:gd name="connsiteY139" fmla="*/ 725927 h 1077197"/>
                <a:gd name="connsiteX140" fmla="*/ 860008 w 1576758"/>
                <a:gd name="connsiteY140" fmla="*/ 680890 h 1077197"/>
                <a:gd name="connsiteX141" fmla="*/ 791401 w 1576758"/>
                <a:gd name="connsiteY141" fmla="*/ 684812 h 1077197"/>
                <a:gd name="connsiteX142" fmla="*/ 791695 w 1576758"/>
                <a:gd name="connsiteY142" fmla="*/ 686955 h 1077197"/>
                <a:gd name="connsiteX143" fmla="*/ 933907 w 1576758"/>
                <a:gd name="connsiteY143" fmla="*/ 742486 h 1077197"/>
                <a:gd name="connsiteX144" fmla="*/ 898966 w 1576758"/>
                <a:gd name="connsiteY144" fmla="*/ 729715 h 1077197"/>
                <a:gd name="connsiteX145" fmla="*/ 796185 w 1576758"/>
                <a:gd name="connsiteY145" fmla="*/ 720181 h 1077197"/>
                <a:gd name="connsiteX146" fmla="*/ 739409 w 1576758"/>
                <a:gd name="connsiteY146" fmla="*/ 749352 h 1077197"/>
                <a:gd name="connsiteX147" fmla="*/ 667550 w 1576758"/>
                <a:gd name="connsiteY147" fmla="*/ 753914 h 1077197"/>
                <a:gd name="connsiteX148" fmla="*/ 665251 w 1576758"/>
                <a:gd name="connsiteY148" fmla="*/ 759366 h 1077197"/>
                <a:gd name="connsiteX149" fmla="*/ 674249 w 1576758"/>
                <a:gd name="connsiteY149" fmla="*/ 764311 h 1077197"/>
                <a:gd name="connsiteX150" fmla="*/ 634667 w 1576758"/>
                <a:gd name="connsiteY150" fmla="*/ 787229 h 1077197"/>
                <a:gd name="connsiteX151" fmla="*/ 509337 w 1576758"/>
                <a:gd name="connsiteY151" fmla="*/ 806323 h 1077197"/>
                <a:gd name="connsiteX152" fmla="*/ 508553 w 1576758"/>
                <a:gd name="connsiteY152" fmla="*/ 819424 h 1077197"/>
                <a:gd name="connsiteX153" fmla="*/ 520883 w 1576758"/>
                <a:gd name="connsiteY153" fmla="*/ 839718 h 1077197"/>
                <a:gd name="connsiteX154" fmla="*/ 359677 w 1576758"/>
                <a:gd name="connsiteY154" fmla="*/ 907406 h 1077197"/>
                <a:gd name="connsiteX155" fmla="*/ 954273 w 1576758"/>
                <a:gd name="connsiteY155" fmla="*/ 746061 h 1077197"/>
                <a:gd name="connsiteX156" fmla="*/ 895946 w 1576758"/>
                <a:gd name="connsiteY156" fmla="*/ 693946 h 1077197"/>
                <a:gd name="connsiteX157" fmla="*/ 944794 w 1576758"/>
                <a:gd name="connsiteY157" fmla="*/ 719123 h 1077197"/>
                <a:gd name="connsiteX158" fmla="*/ 968812 w 1576758"/>
                <a:gd name="connsiteY158" fmla="*/ 741241 h 1077197"/>
                <a:gd name="connsiteX159" fmla="*/ 962086 w 1576758"/>
                <a:gd name="connsiteY159" fmla="*/ 753505 h 1077197"/>
                <a:gd name="connsiteX160" fmla="*/ 953141 w 1576758"/>
                <a:gd name="connsiteY160" fmla="*/ 754510 h 1077197"/>
                <a:gd name="connsiteX161" fmla="*/ 953729 w 1576758"/>
                <a:gd name="connsiteY161" fmla="*/ 753194 h 1077197"/>
                <a:gd name="connsiteX162" fmla="*/ 954273 w 1576758"/>
                <a:gd name="connsiteY162" fmla="*/ 746061 h 1077197"/>
                <a:gd name="connsiteX163" fmla="*/ 785102 w 1576758"/>
                <a:gd name="connsiteY163" fmla="*/ 771461 h 1077197"/>
                <a:gd name="connsiteX164" fmla="*/ 737217 w 1576758"/>
                <a:gd name="connsiteY164" fmla="*/ 775481 h 1077197"/>
                <a:gd name="connsiteX165" fmla="*/ 664111 w 1576758"/>
                <a:gd name="connsiteY165" fmla="*/ 783512 h 1077197"/>
                <a:gd name="connsiteX166" fmla="*/ 686009 w 1576758"/>
                <a:gd name="connsiteY166" fmla="*/ 768464 h 1077197"/>
                <a:gd name="connsiteX167" fmla="*/ 745805 w 1576758"/>
                <a:gd name="connsiteY167" fmla="*/ 760220 h 1077197"/>
                <a:gd name="connsiteX168" fmla="*/ 756442 w 1576758"/>
                <a:gd name="connsiteY168" fmla="*/ 755399 h 1077197"/>
                <a:gd name="connsiteX169" fmla="*/ 760906 w 1576758"/>
                <a:gd name="connsiteY169" fmla="*/ 753203 h 1077197"/>
                <a:gd name="connsiteX170" fmla="*/ 785182 w 1576758"/>
                <a:gd name="connsiteY170" fmla="*/ 760753 h 1077197"/>
                <a:gd name="connsiteX171" fmla="*/ 785076 w 1576758"/>
                <a:gd name="connsiteY171" fmla="*/ 762043 h 1077197"/>
                <a:gd name="connsiteX172" fmla="*/ 785076 w 1576758"/>
                <a:gd name="connsiteY172" fmla="*/ 771105 h 1077197"/>
                <a:gd name="connsiteX173" fmla="*/ 785102 w 1576758"/>
                <a:gd name="connsiteY173" fmla="*/ 771461 h 1077197"/>
                <a:gd name="connsiteX174" fmla="*/ 772692 w 1576758"/>
                <a:gd name="connsiteY174" fmla="*/ 747093 h 1077197"/>
                <a:gd name="connsiteX175" fmla="*/ 866903 w 1576758"/>
                <a:gd name="connsiteY175" fmla="*/ 730338 h 1077197"/>
                <a:gd name="connsiteX176" fmla="*/ 772692 w 1576758"/>
                <a:gd name="connsiteY176" fmla="*/ 747093 h 1077197"/>
                <a:gd name="connsiteX177" fmla="*/ 801967 w 1576758"/>
                <a:gd name="connsiteY177" fmla="*/ 762550 h 1077197"/>
                <a:gd name="connsiteX178" fmla="*/ 833237 w 1576758"/>
                <a:gd name="connsiteY178" fmla="*/ 759348 h 1077197"/>
                <a:gd name="connsiteX179" fmla="*/ 866743 w 1576758"/>
                <a:gd name="connsiteY179" fmla="*/ 745181 h 1077197"/>
                <a:gd name="connsiteX180" fmla="*/ 885710 w 1576758"/>
                <a:gd name="connsiteY180" fmla="*/ 738297 h 1077197"/>
                <a:gd name="connsiteX181" fmla="*/ 932776 w 1576758"/>
                <a:gd name="connsiteY181" fmla="*/ 756787 h 1077197"/>
                <a:gd name="connsiteX182" fmla="*/ 801976 w 1576758"/>
                <a:gd name="connsiteY182" fmla="*/ 770065 h 1077197"/>
                <a:gd name="connsiteX183" fmla="*/ 801967 w 1576758"/>
                <a:gd name="connsiteY183" fmla="*/ 762550 h 1077197"/>
                <a:gd name="connsiteX184" fmla="*/ 810038 w 1576758"/>
                <a:gd name="connsiteY184" fmla="*/ 807915 h 1077197"/>
                <a:gd name="connsiteX185" fmla="*/ 573187 w 1576758"/>
                <a:gd name="connsiteY185" fmla="*/ 830282 h 1077197"/>
                <a:gd name="connsiteX186" fmla="*/ 547004 w 1576758"/>
                <a:gd name="connsiteY186" fmla="*/ 832390 h 1077197"/>
                <a:gd name="connsiteX187" fmla="*/ 533044 w 1576758"/>
                <a:gd name="connsiteY187" fmla="*/ 832017 h 1077197"/>
                <a:gd name="connsiteX188" fmla="*/ 522496 w 1576758"/>
                <a:gd name="connsiteY188" fmla="*/ 818143 h 1077197"/>
                <a:gd name="connsiteX189" fmla="*/ 628128 w 1576758"/>
                <a:gd name="connsiteY189" fmla="*/ 801832 h 1077197"/>
                <a:gd name="connsiteX190" fmla="*/ 634302 w 1576758"/>
                <a:gd name="connsiteY190" fmla="*/ 801014 h 1077197"/>
                <a:gd name="connsiteX191" fmla="*/ 963502 w 1576758"/>
                <a:gd name="connsiteY191" fmla="*/ 763973 h 1077197"/>
                <a:gd name="connsiteX192" fmla="*/ 972108 w 1576758"/>
                <a:gd name="connsiteY192" fmla="*/ 765698 h 1077197"/>
                <a:gd name="connsiteX193" fmla="*/ 971413 w 1576758"/>
                <a:gd name="connsiteY193" fmla="*/ 791738 h 1077197"/>
                <a:gd name="connsiteX194" fmla="*/ 970113 w 1576758"/>
                <a:gd name="connsiteY194" fmla="*/ 793090 h 1077197"/>
                <a:gd name="connsiteX195" fmla="*/ 810038 w 1576758"/>
                <a:gd name="connsiteY195" fmla="*/ 807915 h 1077197"/>
                <a:gd name="connsiteX196" fmla="*/ 1378780 w 1576758"/>
                <a:gd name="connsiteY196" fmla="*/ 740005 h 1077197"/>
                <a:gd name="connsiteX197" fmla="*/ 1337380 w 1576758"/>
                <a:gd name="connsiteY197" fmla="*/ 819468 h 1077197"/>
                <a:gd name="connsiteX198" fmla="*/ 1182001 w 1576758"/>
                <a:gd name="connsiteY198" fmla="*/ 845499 h 1077197"/>
                <a:gd name="connsiteX199" fmla="*/ 1148530 w 1576758"/>
                <a:gd name="connsiteY199" fmla="*/ 847847 h 1077197"/>
                <a:gd name="connsiteX200" fmla="*/ 984705 w 1576758"/>
                <a:gd name="connsiteY200" fmla="*/ 887227 h 1077197"/>
                <a:gd name="connsiteX201" fmla="*/ 930370 w 1576758"/>
                <a:gd name="connsiteY201" fmla="*/ 887707 h 1077197"/>
                <a:gd name="connsiteX202" fmla="*/ 928954 w 1576758"/>
                <a:gd name="connsiteY202" fmla="*/ 838215 h 1077197"/>
                <a:gd name="connsiteX203" fmla="*/ 926032 w 1576758"/>
                <a:gd name="connsiteY203" fmla="*/ 812700 h 1077197"/>
                <a:gd name="connsiteX204" fmla="*/ 973053 w 1576758"/>
                <a:gd name="connsiteY204" fmla="*/ 806154 h 1077197"/>
                <a:gd name="connsiteX205" fmla="*/ 980928 w 1576758"/>
                <a:gd name="connsiteY205" fmla="*/ 805683 h 1077197"/>
                <a:gd name="connsiteX206" fmla="*/ 1003111 w 1576758"/>
                <a:gd name="connsiteY206" fmla="*/ 800898 h 1077197"/>
                <a:gd name="connsiteX207" fmla="*/ 1158152 w 1576758"/>
                <a:gd name="connsiteY207" fmla="*/ 778496 h 1077197"/>
                <a:gd name="connsiteX208" fmla="*/ 1156139 w 1576758"/>
                <a:gd name="connsiteY208" fmla="*/ 792681 h 1077197"/>
                <a:gd name="connsiteX209" fmla="*/ 1163809 w 1576758"/>
                <a:gd name="connsiteY209" fmla="*/ 794700 h 1077197"/>
                <a:gd name="connsiteX210" fmla="*/ 1177048 w 1576758"/>
                <a:gd name="connsiteY210" fmla="*/ 777740 h 1077197"/>
                <a:gd name="connsiteX211" fmla="*/ 1232773 w 1576758"/>
                <a:gd name="connsiteY211" fmla="*/ 751815 h 1077197"/>
                <a:gd name="connsiteX212" fmla="*/ 1270555 w 1576758"/>
                <a:gd name="connsiteY212" fmla="*/ 678862 h 1077197"/>
                <a:gd name="connsiteX213" fmla="*/ 1274475 w 1576758"/>
                <a:gd name="connsiteY213" fmla="*/ 737871 h 1077197"/>
                <a:gd name="connsiteX214" fmla="*/ 1246332 w 1576758"/>
                <a:gd name="connsiteY214" fmla="*/ 790191 h 1077197"/>
                <a:gd name="connsiteX215" fmla="*/ 1245664 w 1576758"/>
                <a:gd name="connsiteY215" fmla="*/ 795287 h 1077197"/>
                <a:gd name="connsiteX216" fmla="*/ 1283384 w 1576758"/>
                <a:gd name="connsiteY216" fmla="*/ 763866 h 1077197"/>
                <a:gd name="connsiteX217" fmla="*/ 1287678 w 1576758"/>
                <a:gd name="connsiteY217" fmla="*/ 686466 h 1077197"/>
                <a:gd name="connsiteX218" fmla="*/ 1294858 w 1576758"/>
                <a:gd name="connsiteY218" fmla="*/ 636441 h 1077197"/>
                <a:gd name="connsiteX219" fmla="*/ 1303714 w 1576758"/>
                <a:gd name="connsiteY219" fmla="*/ 662685 h 1077197"/>
                <a:gd name="connsiteX220" fmla="*/ 1311197 w 1576758"/>
                <a:gd name="connsiteY220" fmla="*/ 709998 h 1077197"/>
                <a:gd name="connsiteX221" fmla="*/ 1312061 w 1576758"/>
                <a:gd name="connsiteY221" fmla="*/ 768366 h 1077197"/>
                <a:gd name="connsiteX222" fmla="*/ 1310280 w 1576758"/>
                <a:gd name="connsiteY222" fmla="*/ 788563 h 1077197"/>
                <a:gd name="connsiteX223" fmla="*/ 1318725 w 1576758"/>
                <a:gd name="connsiteY223" fmla="*/ 790787 h 1077197"/>
                <a:gd name="connsiteX224" fmla="*/ 1312872 w 1576758"/>
                <a:gd name="connsiteY224" fmla="*/ 643991 h 1077197"/>
                <a:gd name="connsiteX225" fmla="*/ 1329603 w 1576758"/>
                <a:gd name="connsiteY225" fmla="*/ 610845 h 1077197"/>
                <a:gd name="connsiteX226" fmla="*/ 1343750 w 1576758"/>
                <a:gd name="connsiteY226" fmla="*/ 649896 h 1077197"/>
                <a:gd name="connsiteX227" fmla="*/ 1346664 w 1576758"/>
                <a:gd name="connsiteY227" fmla="*/ 733815 h 1077197"/>
                <a:gd name="connsiteX228" fmla="*/ 1342521 w 1576758"/>
                <a:gd name="connsiteY228" fmla="*/ 773071 h 1077197"/>
                <a:gd name="connsiteX229" fmla="*/ 1352312 w 1576758"/>
                <a:gd name="connsiteY229" fmla="*/ 775721 h 1077197"/>
                <a:gd name="connsiteX230" fmla="*/ 1361648 w 1576758"/>
                <a:gd name="connsiteY230" fmla="*/ 740316 h 1077197"/>
                <a:gd name="connsiteX231" fmla="*/ 1352151 w 1576758"/>
                <a:gd name="connsiteY231" fmla="*/ 623599 h 1077197"/>
                <a:gd name="connsiteX232" fmla="*/ 1378780 w 1576758"/>
                <a:gd name="connsiteY232" fmla="*/ 740005 h 1077197"/>
                <a:gd name="connsiteX233" fmla="*/ 1558775 w 1576758"/>
                <a:gd name="connsiteY233" fmla="*/ 246231 h 1077197"/>
                <a:gd name="connsiteX234" fmla="*/ 1449436 w 1576758"/>
                <a:gd name="connsiteY234" fmla="*/ 609333 h 1077197"/>
                <a:gd name="connsiteX235" fmla="*/ 1429560 w 1576758"/>
                <a:gd name="connsiteY235" fmla="*/ 656006 h 1077197"/>
                <a:gd name="connsiteX236" fmla="*/ 1402353 w 1576758"/>
                <a:gd name="connsiteY236" fmla="*/ 694488 h 1077197"/>
                <a:gd name="connsiteX237" fmla="*/ 1400500 w 1576758"/>
                <a:gd name="connsiteY237" fmla="*/ 698455 h 1077197"/>
                <a:gd name="connsiteX238" fmla="*/ 1396482 w 1576758"/>
                <a:gd name="connsiteY238" fmla="*/ 701301 h 1077197"/>
                <a:gd name="connsiteX239" fmla="*/ 1347706 w 1576758"/>
                <a:gd name="connsiteY239" fmla="*/ 613549 h 1077197"/>
                <a:gd name="connsiteX240" fmla="*/ 1307179 w 1576758"/>
                <a:gd name="connsiteY240" fmla="*/ 631087 h 1077197"/>
                <a:gd name="connsiteX241" fmla="*/ 1296694 w 1576758"/>
                <a:gd name="connsiteY241" fmla="*/ 623919 h 1077197"/>
                <a:gd name="connsiteX242" fmla="*/ 1278716 w 1576758"/>
                <a:gd name="connsiteY242" fmla="*/ 662587 h 1077197"/>
                <a:gd name="connsiteX243" fmla="*/ 1246902 w 1576758"/>
                <a:gd name="connsiteY243" fmla="*/ 705294 h 1077197"/>
                <a:gd name="connsiteX244" fmla="*/ 1220184 w 1576758"/>
                <a:gd name="connsiteY244" fmla="*/ 741961 h 1077197"/>
                <a:gd name="connsiteX245" fmla="*/ 1177983 w 1576758"/>
                <a:gd name="connsiteY245" fmla="*/ 759206 h 1077197"/>
                <a:gd name="connsiteX246" fmla="*/ 1069233 w 1576758"/>
                <a:gd name="connsiteY246" fmla="*/ 775846 h 1077197"/>
                <a:gd name="connsiteX247" fmla="*/ 1018354 w 1576758"/>
                <a:gd name="connsiteY247" fmla="*/ 782276 h 1077197"/>
                <a:gd name="connsiteX248" fmla="*/ 984180 w 1576758"/>
                <a:gd name="connsiteY248" fmla="*/ 785940 h 1077197"/>
                <a:gd name="connsiteX249" fmla="*/ 983369 w 1576758"/>
                <a:gd name="connsiteY249" fmla="*/ 755568 h 1077197"/>
                <a:gd name="connsiteX250" fmla="*/ 982336 w 1576758"/>
                <a:gd name="connsiteY250" fmla="*/ 752580 h 1077197"/>
                <a:gd name="connsiteX251" fmla="*/ 993819 w 1576758"/>
                <a:gd name="connsiteY251" fmla="*/ 718332 h 1077197"/>
                <a:gd name="connsiteX252" fmla="*/ 1084841 w 1576758"/>
                <a:gd name="connsiteY252" fmla="*/ 367209 h 1077197"/>
                <a:gd name="connsiteX253" fmla="*/ 1114632 w 1576758"/>
                <a:gd name="connsiteY253" fmla="*/ 267931 h 1077197"/>
                <a:gd name="connsiteX254" fmla="*/ 1139586 w 1576758"/>
                <a:gd name="connsiteY254" fmla="*/ 230926 h 1077197"/>
                <a:gd name="connsiteX255" fmla="*/ 1173894 w 1576758"/>
                <a:gd name="connsiteY255" fmla="*/ 218048 h 1077197"/>
                <a:gd name="connsiteX256" fmla="*/ 1228577 w 1576758"/>
                <a:gd name="connsiteY256" fmla="*/ 216634 h 1077197"/>
                <a:gd name="connsiteX257" fmla="*/ 1526177 w 1576758"/>
                <a:gd name="connsiteY257" fmla="*/ 212205 h 1077197"/>
                <a:gd name="connsiteX258" fmla="*/ 1548895 w 1576758"/>
                <a:gd name="connsiteY258" fmla="*/ 212392 h 1077197"/>
                <a:gd name="connsiteX259" fmla="*/ 1557037 w 1576758"/>
                <a:gd name="connsiteY259" fmla="*/ 217176 h 1077197"/>
                <a:gd name="connsiteX260" fmla="*/ 1558775 w 1576758"/>
                <a:gd name="connsiteY260" fmla="*/ 246231 h 107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1576758" h="1077197">
                  <a:moveTo>
                    <a:pt x="1575657" y="220903"/>
                  </a:moveTo>
                  <a:cubicBezTo>
                    <a:pt x="1574552" y="214882"/>
                    <a:pt x="1572628" y="207580"/>
                    <a:pt x="1567675" y="203649"/>
                  </a:cubicBezTo>
                  <a:cubicBezTo>
                    <a:pt x="1560895" y="198260"/>
                    <a:pt x="1551915" y="194596"/>
                    <a:pt x="1543220" y="195227"/>
                  </a:cubicBezTo>
                  <a:cubicBezTo>
                    <a:pt x="1422389" y="195601"/>
                    <a:pt x="1301540" y="197993"/>
                    <a:pt x="1180745" y="200777"/>
                  </a:cubicBezTo>
                  <a:cubicBezTo>
                    <a:pt x="1172531" y="200563"/>
                    <a:pt x="1164264" y="202422"/>
                    <a:pt x="1156611" y="205339"/>
                  </a:cubicBezTo>
                  <a:cubicBezTo>
                    <a:pt x="1111594" y="215807"/>
                    <a:pt x="1099416" y="254920"/>
                    <a:pt x="1088422" y="294443"/>
                  </a:cubicBezTo>
                  <a:cubicBezTo>
                    <a:pt x="1060671" y="385040"/>
                    <a:pt x="1037945" y="477008"/>
                    <a:pt x="1014889" y="568877"/>
                  </a:cubicBezTo>
                  <a:cubicBezTo>
                    <a:pt x="993971" y="412886"/>
                    <a:pt x="1010782" y="297600"/>
                    <a:pt x="843972" y="221232"/>
                  </a:cubicBezTo>
                  <a:cubicBezTo>
                    <a:pt x="810626" y="203694"/>
                    <a:pt x="774029" y="193449"/>
                    <a:pt x="740959" y="175395"/>
                  </a:cubicBezTo>
                  <a:cubicBezTo>
                    <a:pt x="726910" y="161423"/>
                    <a:pt x="701118" y="160418"/>
                    <a:pt x="682134" y="166066"/>
                  </a:cubicBezTo>
                  <a:cubicBezTo>
                    <a:pt x="673563" y="149293"/>
                    <a:pt x="668966" y="130670"/>
                    <a:pt x="668378" y="111860"/>
                  </a:cubicBezTo>
                  <a:cubicBezTo>
                    <a:pt x="668263" y="108054"/>
                    <a:pt x="662374" y="105732"/>
                    <a:pt x="660574" y="109752"/>
                  </a:cubicBezTo>
                  <a:cubicBezTo>
                    <a:pt x="642890" y="150004"/>
                    <a:pt x="679007" y="204610"/>
                    <a:pt x="712851" y="226043"/>
                  </a:cubicBezTo>
                  <a:cubicBezTo>
                    <a:pt x="689305" y="253382"/>
                    <a:pt x="645590" y="252759"/>
                    <a:pt x="612386" y="250927"/>
                  </a:cubicBezTo>
                  <a:cubicBezTo>
                    <a:pt x="542639" y="245262"/>
                    <a:pt x="473533" y="223357"/>
                    <a:pt x="413122" y="188166"/>
                  </a:cubicBezTo>
                  <a:cubicBezTo>
                    <a:pt x="410975" y="179379"/>
                    <a:pt x="408685" y="170628"/>
                    <a:pt x="406208" y="161930"/>
                  </a:cubicBezTo>
                  <a:cubicBezTo>
                    <a:pt x="434405" y="134876"/>
                    <a:pt x="451171" y="96279"/>
                    <a:pt x="447626" y="56987"/>
                  </a:cubicBezTo>
                  <a:cubicBezTo>
                    <a:pt x="446067" y="40623"/>
                    <a:pt x="441710" y="14156"/>
                    <a:pt x="431020" y="1581"/>
                  </a:cubicBezTo>
                  <a:cubicBezTo>
                    <a:pt x="427732" y="-1958"/>
                    <a:pt x="422146" y="950"/>
                    <a:pt x="421942" y="5334"/>
                  </a:cubicBezTo>
                  <a:cubicBezTo>
                    <a:pt x="421523" y="14325"/>
                    <a:pt x="425567" y="23548"/>
                    <a:pt x="427287" y="32344"/>
                  </a:cubicBezTo>
                  <a:cubicBezTo>
                    <a:pt x="436213" y="72453"/>
                    <a:pt x="429345" y="112732"/>
                    <a:pt x="400534" y="143209"/>
                  </a:cubicBezTo>
                  <a:cubicBezTo>
                    <a:pt x="398057" y="135552"/>
                    <a:pt x="395420" y="127948"/>
                    <a:pt x="392560" y="120416"/>
                  </a:cubicBezTo>
                  <a:cubicBezTo>
                    <a:pt x="390956" y="116182"/>
                    <a:pt x="386351" y="115978"/>
                    <a:pt x="383999" y="118379"/>
                  </a:cubicBezTo>
                  <a:cubicBezTo>
                    <a:pt x="301494" y="150760"/>
                    <a:pt x="207425" y="157964"/>
                    <a:pt x="133642" y="210488"/>
                  </a:cubicBezTo>
                  <a:cubicBezTo>
                    <a:pt x="15573" y="303487"/>
                    <a:pt x="7492" y="546217"/>
                    <a:pt x="0" y="687213"/>
                  </a:cubicBezTo>
                  <a:cubicBezTo>
                    <a:pt x="641" y="767886"/>
                    <a:pt x="-187" y="869378"/>
                    <a:pt x="38299" y="941504"/>
                  </a:cubicBezTo>
                  <a:cubicBezTo>
                    <a:pt x="55680" y="972667"/>
                    <a:pt x="84937" y="987910"/>
                    <a:pt x="120546" y="988568"/>
                  </a:cubicBezTo>
                  <a:cubicBezTo>
                    <a:pt x="117107" y="1007805"/>
                    <a:pt x="112857" y="1026481"/>
                    <a:pt x="109481" y="1045682"/>
                  </a:cubicBezTo>
                  <a:cubicBezTo>
                    <a:pt x="107958" y="1054584"/>
                    <a:pt x="105508" y="1063344"/>
                    <a:pt x="109561" y="1071766"/>
                  </a:cubicBezTo>
                  <a:cubicBezTo>
                    <a:pt x="113526" y="1080020"/>
                    <a:pt x="124394" y="1077921"/>
                    <a:pt x="128849" y="1071766"/>
                  </a:cubicBezTo>
                  <a:cubicBezTo>
                    <a:pt x="133490" y="1065354"/>
                    <a:pt x="132626" y="1055287"/>
                    <a:pt x="133633" y="1047603"/>
                  </a:cubicBezTo>
                  <a:cubicBezTo>
                    <a:pt x="136101" y="1028037"/>
                    <a:pt x="140564" y="1008801"/>
                    <a:pt x="139139" y="988924"/>
                  </a:cubicBezTo>
                  <a:cubicBezTo>
                    <a:pt x="203407" y="989102"/>
                    <a:pt x="265618" y="969536"/>
                    <a:pt x="325263" y="947445"/>
                  </a:cubicBezTo>
                  <a:cubicBezTo>
                    <a:pt x="373290" y="929782"/>
                    <a:pt x="421015" y="911088"/>
                    <a:pt x="466210" y="886934"/>
                  </a:cubicBezTo>
                  <a:cubicBezTo>
                    <a:pt x="476286" y="940793"/>
                    <a:pt x="478281" y="995985"/>
                    <a:pt x="474130" y="1050564"/>
                  </a:cubicBezTo>
                  <a:cubicBezTo>
                    <a:pt x="473239" y="1061459"/>
                    <a:pt x="490264" y="1061406"/>
                    <a:pt x="491146" y="1050564"/>
                  </a:cubicBezTo>
                  <a:cubicBezTo>
                    <a:pt x="493613" y="1005759"/>
                    <a:pt x="497702" y="921138"/>
                    <a:pt x="476856" y="881295"/>
                  </a:cubicBezTo>
                  <a:cubicBezTo>
                    <a:pt x="495823" y="871112"/>
                    <a:pt x="514620" y="860671"/>
                    <a:pt x="533124" y="849688"/>
                  </a:cubicBezTo>
                  <a:cubicBezTo>
                    <a:pt x="534879" y="848647"/>
                    <a:pt x="535913" y="847313"/>
                    <a:pt x="536376" y="845899"/>
                  </a:cubicBezTo>
                  <a:cubicBezTo>
                    <a:pt x="566238" y="847473"/>
                    <a:pt x="595727" y="840270"/>
                    <a:pt x="625375" y="837673"/>
                  </a:cubicBezTo>
                  <a:cubicBezTo>
                    <a:pt x="677982" y="831705"/>
                    <a:pt x="730794" y="827748"/>
                    <a:pt x="783597" y="823861"/>
                  </a:cubicBezTo>
                  <a:cubicBezTo>
                    <a:pt x="781663" y="838793"/>
                    <a:pt x="783142" y="854739"/>
                    <a:pt x="782741" y="869663"/>
                  </a:cubicBezTo>
                  <a:cubicBezTo>
                    <a:pt x="782269" y="887023"/>
                    <a:pt x="781628" y="904374"/>
                    <a:pt x="781022" y="921725"/>
                  </a:cubicBezTo>
                  <a:cubicBezTo>
                    <a:pt x="780434" y="938614"/>
                    <a:pt x="780176" y="955520"/>
                    <a:pt x="779873" y="972409"/>
                  </a:cubicBezTo>
                  <a:cubicBezTo>
                    <a:pt x="779561" y="989591"/>
                    <a:pt x="777886" y="1007529"/>
                    <a:pt x="780782" y="1024507"/>
                  </a:cubicBezTo>
                  <a:cubicBezTo>
                    <a:pt x="782162" y="1032618"/>
                    <a:pt x="795802" y="1032618"/>
                    <a:pt x="797192" y="1024507"/>
                  </a:cubicBezTo>
                  <a:cubicBezTo>
                    <a:pt x="800034" y="1007947"/>
                    <a:pt x="798724" y="990560"/>
                    <a:pt x="798947" y="973787"/>
                  </a:cubicBezTo>
                  <a:cubicBezTo>
                    <a:pt x="799624" y="939548"/>
                    <a:pt x="800034" y="905299"/>
                    <a:pt x="800087" y="871041"/>
                  </a:cubicBezTo>
                  <a:cubicBezTo>
                    <a:pt x="800140" y="855353"/>
                    <a:pt x="802074" y="838349"/>
                    <a:pt x="799891" y="822679"/>
                  </a:cubicBezTo>
                  <a:cubicBezTo>
                    <a:pt x="836284" y="819993"/>
                    <a:pt x="872694" y="817485"/>
                    <a:pt x="909051" y="814328"/>
                  </a:cubicBezTo>
                  <a:cubicBezTo>
                    <a:pt x="903884" y="828788"/>
                    <a:pt x="905016" y="846433"/>
                    <a:pt x="904552" y="861436"/>
                  </a:cubicBezTo>
                  <a:cubicBezTo>
                    <a:pt x="904027" y="878494"/>
                    <a:pt x="904837" y="895640"/>
                    <a:pt x="905550" y="912680"/>
                  </a:cubicBezTo>
                  <a:cubicBezTo>
                    <a:pt x="906628" y="938391"/>
                    <a:pt x="908339" y="964067"/>
                    <a:pt x="910566" y="989707"/>
                  </a:cubicBezTo>
                  <a:cubicBezTo>
                    <a:pt x="911341" y="998627"/>
                    <a:pt x="911581" y="1007218"/>
                    <a:pt x="916250" y="1015124"/>
                  </a:cubicBezTo>
                  <a:cubicBezTo>
                    <a:pt x="921007" y="1023182"/>
                    <a:pt x="932330" y="1020851"/>
                    <a:pt x="935208" y="1012652"/>
                  </a:cubicBezTo>
                  <a:cubicBezTo>
                    <a:pt x="938023" y="1004621"/>
                    <a:pt x="936704" y="996706"/>
                    <a:pt x="935992" y="988435"/>
                  </a:cubicBezTo>
                  <a:cubicBezTo>
                    <a:pt x="935288" y="980271"/>
                    <a:pt x="934638" y="972106"/>
                    <a:pt x="934041" y="963933"/>
                  </a:cubicBezTo>
                  <a:cubicBezTo>
                    <a:pt x="932348" y="940259"/>
                    <a:pt x="930967" y="916558"/>
                    <a:pt x="930504" y="892821"/>
                  </a:cubicBezTo>
                  <a:cubicBezTo>
                    <a:pt x="949622" y="893791"/>
                    <a:pt x="968313" y="898771"/>
                    <a:pt x="987405" y="899740"/>
                  </a:cubicBezTo>
                  <a:cubicBezTo>
                    <a:pt x="1046773" y="901190"/>
                    <a:pt x="1103496" y="879116"/>
                    <a:pt x="1158589" y="859622"/>
                  </a:cubicBezTo>
                  <a:cubicBezTo>
                    <a:pt x="1173065" y="863499"/>
                    <a:pt x="1188104" y="862486"/>
                    <a:pt x="1202999" y="862397"/>
                  </a:cubicBezTo>
                  <a:cubicBezTo>
                    <a:pt x="1219489" y="862094"/>
                    <a:pt x="1235989" y="861223"/>
                    <a:pt x="1252372" y="859337"/>
                  </a:cubicBezTo>
                  <a:cubicBezTo>
                    <a:pt x="1342842" y="850097"/>
                    <a:pt x="1396063" y="818259"/>
                    <a:pt x="1396491" y="720502"/>
                  </a:cubicBezTo>
                  <a:cubicBezTo>
                    <a:pt x="1407440" y="715254"/>
                    <a:pt x="1418888" y="708051"/>
                    <a:pt x="1423048" y="696071"/>
                  </a:cubicBezTo>
                  <a:cubicBezTo>
                    <a:pt x="1441926" y="673900"/>
                    <a:pt x="1453258" y="647015"/>
                    <a:pt x="1463370" y="620032"/>
                  </a:cubicBezTo>
                  <a:cubicBezTo>
                    <a:pt x="1476448" y="587571"/>
                    <a:pt x="1488929" y="554861"/>
                    <a:pt x="1500671" y="521893"/>
                  </a:cubicBezTo>
                  <a:cubicBezTo>
                    <a:pt x="1529295" y="440233"/>
                    <a:pt x="1555986" y="357275"/>
                    <a:pt x="1571924" y="272111"/>
                  </a:cubicBezTo>
                  <a:cubicBezTo>
                    <a:pt x="1574739" y="255703"/>
                    <a:pt x="1578713" y="237560"/>
                    <a:pt x="1575657" y="220903"/>
                  </a:cubicBezTo>
                  <a:close/>
                  <a:moveTo>
                    <a:pt x="759276" y="207749"/>
                  </a:moveTo>
                  <a:cubicBezTo>
                    <a:pt x="776265" y="218181"/>
                    <a:pt x="794359" y="226070"/>
                    <a:pt x="812417" y="234439"/>
                  </a:cubicBezTo>
                  <a:cubicBezTo>
                    <a:pt x="976696" y="302198"/>
                    <a:pt x="970888" y="398621"/>
                    <a:pt x="986977" y="553571"/>
                  </a:cubicBezTo>
                  <a:cubicBezTo>
                    <a:pt x="990737" y="573350"/>
                    <a:pt x="990532" y="599755"/>
                    <a:pt x="1003405" y="614385"/>
                  </a:cubicBezTo>
                  <a:cubicBezTo>
                    <a:pt x="999886" y="628250"/>
                    <a:pt x="996349" y="642106"/>
                    <a:pt x="992759" y="655944"/>
                  </a:cubicBezTo>
                  <a:cubicBezTo>
                    <a:pt x="979690" y="644836"/>
                    <a:pt x="965124" y="635373"/>
                    <a:pt x="950148" y="626969"/>
                  </a:cubicBezTo>
                  <a:cubicBezTo>
                    <a:pt x="945310" y="558801"/>
                    <a:pt x="945943" y="488534"/>
                    <a:pt x="921310" y="423558"/>
                  </a:cubicBezTo>
                  <a:cubicBezTo>
                    <a:pt x="920303" y="420792"/>
                    <a:pt x="915965" y="421877"/>
                    <a:pt x="916820" y="424794"/>
                  </a:cubicBezTo>
                  <a:cubicBezTo>
                    <a:pt x="935484" y="487724"/>
                    <a:pt x="934246" y="553705"/>
                    <a:pt x="934504" y="618618"/>
                  </a:cubicBezTo>
                  <a:cubicBezTo>
                    <a:pt x="894227" y="598012"/>
                    <a:pt x="846181" y="583356"/>
                    <a:pt x="801931" y="599542"/>
                  </a:cubicBezTo>
                  <a:cubicBezTo>
                    <a:pt x="802074" y="461995"/>
                    <a:pt x="773904" y="325712"/>
                    <a:pt x="739248" y="193173"/>
                  </a:cubicBezTo>
                  <a:cubicBezTo>
                    <a:pt x="745609" y="198464"/>
                    <a:pt x="752229" y="203427"/>
                    <a:pt x="759276" y="207749"/>
                  </a:cubicBezTo>
                  <a:close/>
                  <a:moveTo>
                    <a:pt x="703934" y="196561"/>
                  </a:moveTo>
                  <a:cubicBezTo>
                    <a:pt x="698775" y="191252"/>
                    <a:pt x="694134" y="185498"/>
                    <a:pt x="690000" y="179388"/>
                  </a:cubicBezTo>
                  <a:cubicBezTo>
                    <a:pt x="700530" y="178952"/>
                    <a:pt x="710624" y="178365"/>
                    <a:pt x="720442" y="181807"/>
                  </a:cubicBezTo>
                  <a:cubicBezTo>
                    <a:pt x="721190" y="192399"/>
                    <a:pt x="724032" y="202573"/>
                    <a:pt x="726696" y="212836"/>
                  </a:cubicBezTo>
                  <a:cubicBezTo>
                    <a:pt x="725939" y="213041"/>
                    <a:pt x="725208" y="213343"/>
                    <a:pt x="724522" y="213708"/>
                  </a:cubicBezTo>
                  <a:cubicBezTo>
                    <a:pt x="717538" y="208318"/>
                    <a:pt x="709929" y="203249"/>
                    <a:pt x="703934" y="196561"/>
                  </a:cubicBezTo>
                  <a:close/>
                  <a:moveTo>
                    <a:pt x="448356" y="225919"/>
                  </a:moveTo>
                  <a:cubicBezTo>
                    <a:pt x="521409" y="258718"/>
                    <a:pt x="670490" y="307383"/>
                    <a:pt x="732255" y="236102"/>
                  </a:cubicBezTo>
                  <a:cubicBezTo>
                    <a:pt x="752683" y="327046"/>
                    <a:pt x="770367" y="418880"/>
                    <a:pt x="777868" y="511888"/>
                  </a:cubicBezTo>
                  <a:cubicBezTo>
                    <a:pt x="781325" y="543700"/>
                    <a:pt x="779089" y="576276"/>
                    <a:pt x="782946" y="607768"/>
                  </a:cubicBezTo>
                  <a:cubicBezTo>
                    <a:pt x="683773" y="659021"/>
                    <a:pt x="572296" y="678889"/>
                    <a:pt x="466878" y="713565"/>
                  </a:cubicBezTo>
                  <a:cubicBezTo>
                    <a:pt x="467956" y="544874"/>
                    <a:pt x="454120" y="375595"/>
                    <a:pt x="418280" y="210560"/>
                  </a:cubicBezTo>
                  <a:cubicBezTo>
                    <a:pt x="427875" y="216563"/>
                    <a:pt x="438467" y="221303"/>
                    <a:pt x="448356" y="225919"/>
                  </a:cubicBezTo>
                  <a:close/>
                  <a:moveTo>
                    <a:pt x="35903" y="535731"/>
                  </a:moveTo>
                  <a:cubicBezTo>
                    <a:pt x="49284" y="438330"/>
                    <a:pt x="62611" y="323355"/>
                    <a:pt x="129847" y="246916"/>
                  </a:cubicBezTo>
                  <a:cubicBezTo>
                    <a:pt x="178605" y="198322"/>
                    <a:pt x="250473" y="186369"/>
                    <a:pt x="312808" y="163558"/>
                  </a:cubicBezTo>
                  <a:cubicBezTo>
                    <a:pt x="337387" y="155358"/>
                    <a:pt x="363366" y="147238"/>
                    <a:pt x="384177" y="131354"/>
                  </a:cubicBezTo>
                  <a:cubicBezTo>
                    <a:pt x="398868" y="205046"/>
                    <a:pt x="416917" y="278168"/>
                    <a:pt x="425950" y="352891"/>
                  </a:cubicBezTo>
                  <a:cubicBezTo>
                    <a:pt x="436017" y="428858"/>
                    <a:pt x="441915" y="505449"/>
                    <a:pt x="444864" y="582013"/>
                  </a:cubicBezTo>
                  <a:cubicBezTo>
                    <a:pt x="446557" y="625884"/>
                    <a:pt x="446334" y="669747"/>
                    <a:pt x="447323" y="713618"/>
                  </a:cubicBezTo>
                  <a:cubicBezTo>
                    <a:pt x="447376" y="716064"/>
                    <a:pt x="448151" y="718020"/>
                    <a:pt x="449345" y="719514"/>
                  </a:cubicBezTo>
                  <a:cubicBezTo>
                    <a:pt x="399099" y="737043"/>
                    <a:pt x="346947" y="760122"/>
                    <a:pt x="292692" y="748907"/>
                  </a:cubicBezTo>
                  <a:cubicBezTo>
                    <a:pt x="275230" y="746604"/>
                    <a:pt x="258339" y="741028"/>
                    <a:pt x="240896" y="738724"/>
                  </a:cubicBezTo>
                  <a:cubicBezTo>
                    <a:pt x="242134" y="730267"/>
                    <a:pt x="240700" y="721960"/>
                    <a:pt x="240121" y="713440"/>
                  </a:cubicBezTo>
                  <a:cubicBezTo>
                    <a:pt x="239461" y="703729"/>
                    <a:pt x="239247" y="693990"/>
                    <a:pt x="239114" y="684261"/>
                  </a:cubicBezTo>
                  <a:cubicBezTo>
                    <a:pt x="239078" y="628988"/>
                    <a:pt x="231541" y="573324"/>
                    <a:pt x="239987" y="518344"/>
                  </a:cubicBezTo>
                  <a:cubicBezTo>
                    <a:pt x="240887" y="512661"/>
                    <a:pt x="232566" y="510056"/>
                    <a:pt x="231140" y="515908"/>
                  </a:cubicBezTo>
                  <a:cubicBezTo>
                    <a:pt x="222312" y="552202"/>
                    <a:pt x="221982" y="589794"/>
                    <a:pt x="222677" y="626942"/>
                  </a:cubicBezTo>
                  <a:cubicBezTo>
                    <a:pt x="223791" y="659368"/>
                    <a:pt x="221902" y="691856"/>
                    <a:pt x="223995" y="724246"/>
                  </a:cubicBezTo>
                  <a:cubicBezTo>
                    <a:pt x="189278" y="715050"/>
                    <a:pt x="154239" y="719167"/>
                    <a:pt x="119192" y="722654"/>
                  </a:cubicBezTo>
                  <a:cubicBezTo>
                    <a:pt x="87405" y="725464"/>
                    <a:pt x="54389" y="728319"/>
                    <a:pt x="25675" y="743536"/>
                  </a:cubicBezTo>
                  <a:cubicBezTo>
                    <a:pt x="23484" y="674309"/>
                    <a:pt x="28499" y="604060"/>
                    <a:pt x="35903" y="535731"/>
                  </a:cubicBezTo>
                  <a:close/>
                  <a:moveTo>
                    <a:pt x="48215" y="903360"/>
                  </a:moveTo>
                  <a:cubicBezTo>
                    <a:pt x="41685" y="884924"/>
                    <a:pt x="37925" y="864736"/>
                    <a:pt x="35039" y="846495"/>
                  </a:cubicBezTo>
                  <a:cubicBezTo>
                    <a:pt x="30718" y="819183"/>
                    <a:pt x="28001" y="791454"/>
                    <a:pt x="26522" y="763510"/>
                  </a:cubicBezTo>
                  <a:cubicBezTo>
                    <a:pt x="57480" y="740370"/>
                    <a:pt x="111904" y="741339"/>
                    <a:pt x="149615" y="736759"/>
                  </a:cubicBezTo>
                  <a:cubicBezTo>
                    <a:pt x="171692" y="734829"/>
                    <a:pt x="194284" y="734580"/>
                    <a:pt x="215906" y="740005"/>
                  </a:cubicBezTo>
                  <a:cubicBezTo>
                    <a:pt x="201474" y="751291"/>
                    <a:pt x="184948" y="759482"/>
                    <a:pt x="169767" y="769673"/>
                  </a:cubicBezTo>
                  <a:cubicBezTo>
                    <a:pt x="150595" y="782391"/>
                    <a:pt x="134613" y="798906"/>
                    <a:pt x="118399" y="815075"/>
                  </a:cubicBezTo>
                  <a:cubicBezTo>
                    <a:pt x="91868" y="841746"/>
                    <a:pt x="65810" y="869832"/>
                    <a:pt x="48215" y="903360"/>
                  </a:cubicBezTo>
                  <a:close/>
                  <a:moveTo>
                    <a:pt x="359677" y="907406"/>
                  </a:moveTo>
                  <a:cubicBezTo>
                    <a:pt x="283640" y="935510"/>
                    <a:pt x="164404" y="984753"/>
                    <a:pt x="84919" y="954524"/>
                  </a:cubicBezTo>
                  <a:cubicBezTo>
                    <a:pt x="71191" y="946618"/>
                    <a:pt x="61507" y="932886"/>
                    <a:pt x="54424" y="918390"/>
                  </a:cubicBezTo>
                  <a:cubicBezTo>
                    <a:pt x="74264" y="882327"/>
                    <a:pt x="102185" y="851742"/>
                    <a:pt x="131299" y="822963"/>
                  </a:cubicBezTo>
                  <a:cubicBezTo>
                    <a:pt x="147629" y="806777"/>
                    <a:pt x="163540" y="790867"/>
                    <a:pt x="183095" y="778540"/>
                  </a:cubicBezTo>
                  <a:cubicBezTo>
                    <a:pt x="192253" y="772768"/>
                    <a:pt x="201670" y="767397"/>
                    <a:pt x="210775" y="761527"/>
                  </a:cubicBezTo>
                  <a:cubicBezTo>
                    <a:pt x="217795" y="757000"/>
                    <a:pt x="227372" y="751655"/>
                    <a:pt x="233225" y="744816"/>
                  </a:cubicBezTo>
                  <a:cubicBezTo>
                    <a:pt x="235773" y="745208"/>
                    <a:pt x="238561" y="744283"/>
                    <a:pt x="239933" y="742122"/>
                  </a:cubicBezTo>
                  <a:cubicBezTo>
                    <a:pt x="274821" y="761047"/>
                    <a:pt x="315766" y="768553"/>
                    <a:pt x="355143" y="762763"/>
                  </a:cubicBezTo>
                  <a:cubicBezTo>
                    <a:pt x="383999" y="758041"/>
                    <a:pt x="411393" y="747360"/>
                    <a:pt x="438851" y="737701"/>
                  </a:cubicBezTo>
                  <a:cubicBezTo>
                    <a:pt x="524714" y="706939"/>
                    <a:pt x="614818" y="689606"/>
                    <a:pt x="700219" y="657563"/>
                  </a:cubicBezTo>
                  <a:cubicBezTo>
                    <a:pt x="725253" y="648056"/>
                    <a:pt x="750821" y="640674"/>
                    <a:pt x="774483" y="627983"/>
                  </a:cubicBezTo>
                  <a:cubicBezTo>
                    <a:pt x="850271" y="578464"/>
                    <a:pt x="924321" y="619712"/>
                    <a:pt x="990692" y="663877"/>
                  </a:cubicBezTo>
                  <a:cubicBezTo>
                    <a:pt x="988278" y="673135"/>
                    <a:pt x="985828" y="682393"/>
                    <a:pt x="983369" y="691642"/>
                  </a:cubicBezTo>
                  <a:cubicBezTo>
                    <a:pt x="958504" y="665869"/>
                    <a:pt x="930825" y="636699"/>
                    <a:pt x="892846" y="634742"/>
                  </a:cubicBezTo>
                  <a:cubicBezTo>
                    <a:pt x="876142" y="634013"/>
                    <a:pt x="859696" y="637348"/>
                    <a:pt x="843144" y="638975"/>
                  </a:cubicBezTo>
                  <a:cubicBezTo>
                    <a:pt x="839473" y="639340"/>
                    <a:pt x="839437" y="644382"/>
                    <a:pt x="843144" y="644712"/>
                  </a:cubicBezTo>
                  <a:cubicBezTo>
                    <a:pt x="858146" y="646028"/>
                    <a:pt x="873211" y="646099"/>
                    <a:pt x="888222" y="647148"/>
                  </a:cubicBezTo>
                  <a:cubicBezTo>
                    <a:pt x="931110" y="650003"/>
                    <a:pt x="950896" y="681477"/>
                    <a:pt x="979039" y="707837"/>
                  </a:cubicBezTo>
                  <a:cubicBezTo>
                    <a:pt x="977400" y="713867"/>
                    <a:pt x="975912" y="719950"/>
                    <a:pt x="974193" y="725927"/>
                  </a:cubicBezTo>
                  <a:cubicBezTo>
                    <a:pt x="950433" y="698882"/>
                    <a:pt x="895848" y="668039"/>
                    <a:pt x="860008" y="680890"/>
                  </a:cubicBezTo>
                  <a:cubicBezTo>
                    <a:pt x="837264" y="675848"/>
                    <a:pt x="813531" y="676532"/>
                    <a:pt x="791401" y="684812"/>
                  </a:cubicBezTo>
                  <a:cubicBezTo>
                    <a:pt x="790323" y="685221"/>
                    <a:pt x="790376" y="687000"/>
                    <a:pt x="791695" y="686955"/>
                  </a:cubicBezTo>
                  <a:cubicBezTo>
                    <a:pt x="845112" y="683540"/>
                    <a:pt x="900552" y="698170"/>
                    <a:pt x="933907" y="742486"/>
                  </a:cubicBezTo>
                  <a:cubicBezTo>
                    <a:pt x="921702" y="739969"/>
                    <a:pt x="910227" y="734909"/>
                    <a:pt x="898966" y="729715"/>
                  </a:cubicBezTo>
                  <a:cubicBezTo>
                    <a:pt x="866485" y="712746"/>
                    <a:pt x="830929" y="703684"/>
                    <a:pt x="796185" y="720181"/>
                  </a:cubicBezTo>
                  <a:cubicBezTo>
                    <a:pt x="776799" y="728995"/>
                    <a:pt x="758839" y="740610"/>
                    <a:pt x="739409" y="749352"/>
                  </a:cubicBezTo>
                  <a:cubicBezTo>
                    <a:pt x="715613" y="760051"/>
                    <a:pt x="692504" y="761260"/>
                    <a:pt x="667550" y="753914"/>
                  </a:cubicBezTo>
                  <a:cubicBezTo>
                    <a:pt x="664209" y="752936"/>
                    <a:pt x="662472" y="757561"/>
                    <a:pt x="665251" y="759366"/>
                  </a:cubicBezTo>
                  <a:cubicBezTo>
                    <a:pt x="668236" y="761296"/>
                    <a:pt x="671238" y="762914"/>
                    <a:pt x="674249" y="764311"/>
                  </a:cubicBezTo>
                  <a:cubicBezTo>
                    <a:pt x="661376" y="772840"/>
                    <a:pt x="647906" y="779341"/>
                    <a:pt x="634667" y="787229"/>
                  </a:cubicBezTo>
                  <a:cubicBezTo>
                    <a:pt x="592760" y="792690"/>
                    <a:pt x="550977" y="799075"/>
                    <a:pt x="509337" y="806323"/>
                  </a:cubicBezTo>
                  <a:cubicBezTo>
                    <a:pt x="502389" y="807533"/>
                    <a:pt x="503279" y="816844"/>
                    <a:pt x="508553" y="819424"/>
                  </a:cubicBezTo>
                  <a:cubicBezTo>
                    <a:pt x="510264" y="827561"/>
                    <a:pt x="514897" y="834107"/>
                    <a:pt x="520883" y="839718"/>
                  </a:cubicBezTo>
                  <a:cubicBezTo>
                    <a:pt x="467377" y="862868"/>
                    <a:pt x="414324" y="887049"/>
                    <a:pt x="359677" y="907406"/>
                  </a:cubicBezTo>
                  <a:close/>
                  <a:moveTo>
                    <a:pt x="954273" y="746061"/>
                  </a:moveTo>
                  <a:cubicBezTo>
                    <a:pt x="941043" y="723463"/>
                    <a:pt x="918833" y="706014"/>
                    <a:pt x="895946" y="693946"/>
                  </a:cubicBezTo>
                  <a:cubicBezTo>
                    <a:pt x="913613" y="698606"/>
                    <a:pt x="930388" y="707811"/>
                    <a:pt x="944794" y="719123"/>
                  </a:cubicBezTo>
                  <a:cubicBezTo>
                    <a:pt x="953498" y="725847"/>
                    <a:pt x="960349" y="734358"/>
                    <a:pt x="968812" y="741241"/>
                  </a:cubicBezTo>
                  <a:cubicBezTo>
                    <a:pt x="966968" y="745492"/>
                    <a:pt x="964785" y="749601"/>
                    <a:pt x="962086" y="753505"/>
                  </a:cubicBezTo>
                  <a:cubicBezTo>
                    <a:pt x="959101" y="753843"/>
                    <a:pt x="956126" y="754172"/>
                    <a:pt x="953141" y="754510"/>
                  </a:cubicBezTo>
                  <a:cubicBezTo>
                    <a:pt x="953391" y="754092"/>
                    <a:pt x="953587" y="753648"/>
                    <a:pt x="953729" y="753194"/>
                  </a:cubicBezTo>
                  <a:cubicBezTo>
                    <a:pt x="955146" y="751211"/>
                    <a:pt x="955645" y="748551"/>
                    <a:pt x="954273" y="746061"/>
                  </a:cubicBezTo>
                  <a:close/>
                  <a:moveTo>
                    <a:pt x="785102" y="771461"/>
                  </a:moveTo>
                  <a:cubicBezTo>
                    <a:pt x="780826" y="771808"/>
                    <a:pt x="760558" y="773222"/>
                    <a:pt x="737217" y="775481"/>
                  </a:cubicBezTo>
                  <a:cubicBezTo>
                    <a:pt x="710321" y="778087"/>
                    <a:pt x="679354" y="781662"/>
                    <a:pt x="664111" y="783512"/>
                  </a:cubicBezTo>
                  <a:cubicBezTo>
                    <a:pt x="671051" y="779581"/>
                    <a:pt x="680699" y="775027"/>
                    <a:pt x="686009" y="768464"/>
                  </a:cubicBezTo>
                  <a:cubicBezTo>
                    <a:pt x="706018" y="773444"/>
                    <a:pt x="726313" y="768473"/>
                    <a:pt x="745805" y="760220"/>
                  </a:cubicBezTo>
                  <a:cubicBezTo>
                    <a:pt x="746456" y="759944"/>
                    <a:pt x="755846" y="755684"/>
                    <a:pt x="756442" y="755399"/>
                  </a:cubicBezTo>
                  <a:cubicBezTo>
                    <a:pt x="757939" y="754679"/>
                    <a:pt x="759427" y="753950"/>
                    <a:pt x="760906" y="753203"/>
                  </a:cubicBezTo>
                  <a:cubicBezTo>
                    <a:pt x="768487" y="756707"/>
                    <a:pt x="776710" y="759206"/>
                    <a:pt x="785182" y="760753"/>
                  </a:cubicBezTo>
                  <a:cubicBezTo>
                    <a:pt x="785120" y="761171"/>
                    <a:pt x="785076" y="761598"/>
                    <a:pt x="785076" y="762043"/>
                  </a:cubicBezTo>
                  <a:cubicBezTo>
                    <a:pt x="785076" y="765067"/>
                    <a:pt x="785076" y="768082"/>
                    <a:pt x="785076" y="771105"/>
                  </a:cubicBezTo>
                  <a:cubicBezTo>
                    <a:pt x="785085" y="771221"/>
                    <a:pt x="785093" y="771337"/>
                    <a:pt x="785102" y="771461"/>
                  </a:cubicBezTo>
                  <a:close/>
                  <a:moveTo>
                    <a:pt x="772692" y="747093"/>
                  </a:moveTo>
                  <a:cubicBezTo>
                    <a:pt x="801290" y="730356"/>
                    <a:pt x="834199" y="716446"/>
                    <a:pt x="866903" y="730338"/>
                  </a:cubicBezTo>
                  <a:cubicBezTo>
                    <a:pt x="829353" y="749281"/>
                    <a:pt x="815473" y="754181"/>
                    <a:pt x="772692" y="747093"/>
                  </a:cubicBezTo>
                  <a:close/>
                  <a:moveTo>
                    <a:pt x="801967" y="762550"/>
                  </a:moveTo>
                  <a:cubicBezTo>
                    <a:pt x="812604" y="762914"/>
                    <a:pt x="823268" y="761838"/>
                    <a:pt x="833237" y="759348"/>
                  </a:cubicBezTo>
                  <a:cubicBezTo>
                    <a:pt x="844997" y="756182"/>
                    <a:pt x="855669" y="750081"/>
                    <a:pt x="866743" y="745181"/>
                  </a:cubicBezTo>
                  <a:cubicBezTo>
                    <a:pt x="872926" y="742344"/>
                    <a:pt x="879536" y="741054"/>
                    <a:pt x="885710" y="738297"/>
                  </a:cubicBezTo>
                  <a:cubicBezTo>
                    <a:pt x="900303" y="744905"/>
                    <a:pt x="916027" y="753639"/>
                    <a:pt x="932776" y="756787"/>
                  </a:cubicBezTo>
                  <a:cubicBezTo>
                    <a:pt x="889274" y="762256"/>
                    <a:pt x="845647" y="766401"/>
                    <a:pt x="801976" y="770065"/>
                  </a:cubicBezTo>
                  <a:cubicBezTo>
                    <a:pt x="801967" y="767566"/>
                    <a:pt x="801967" y="765058"/>
                    <a:pt x="801967" y="762550"/>
                  </a:cubicBezTo>
                  <a:close/>
                  <a:moveTo>
                    <a:pt x="810038" y="807915"/>
                  </a:moveTo>
                  <a:cubicBezTo>
                    <a:pt x="731008" y="814630"/>
                    <a:pt x="651772" y="819023"/>
                    <a:pt x="573187" y="830282"/>
                  </a:cubicBezTo>
                  <a:cubicBezTo>
                    <a:pt x="564510" y="831403"/>
                    <a:pt x="555770" y="832328"/>
                    <a:pt x="547004" y="832390"/>
                  </a:cubicBezTo>
                  <a:cubicBezTo>
                    <a:pt x="542461" y="832417"/>
                    <a:pt x="537445" y="831252"/>
                    <a:pt x="533044" y="832017"/>
                  </a:cubicBezTo>
                  <a:cubicBezTo>
                    <a:pt x="528393" y="828308"/>
                    <a:pt x="524108" y="823790"/>
                    <a:pt x="522496" y="818143"/>
                  </a:cubicBezTo>
                  <a:cubicBezTo>
                    <a:pt x="557615" y="812122"/>
                    <a:pt x="592822" y="806652"/>
                    <a:pt x="628128" y="801832"/>
                  </a:cubicBezTo>
                  <a:cubicBezTo>
                    <a:pt x="630008" y="802997"/>
                    <a:pt x="632458" y="802437"/>
                    <a:pt x="634302" y="801014"/>
                  </a:cubicBezTo>
                  <a:cubicBezTo>
                    <a:pt x="743632" y="785024"/>
                    <a:pt x="854698" y="783752"/>
                    <a:pt x="963502" y="763973"/>
                  </a:cubicBezTo>
                  <a:cubicBezTo>
                    <a:pt x="965836" y="765796"/>
                    <a:pt x="969124" y="766614"/>
                    <a:pt x="972108" y="765698"/>
                  </a:cubicBezTo>
                  <a:cubicBezTo>
                    <a:pt x="971877" y="774378"/>
                    <a:pt x="971645" y="783058"/>
                    <a:pt x="971413" y="791738"/>
                  </a:cubicBezTo>
                  <a:cubicBezTo>
                    <a:pt x="970905" y="792156"/>
                    <a:pt x="970478" y="792610"/>
                    <a:pt x="970113" y="793090"/>
                  </a:cubicBezTo>
                  <a:cubicBezTo>
                    <a:pt x="917577" y="801788"/>
                    <a:pt x="863144" y="802980"/>
                    <a:pt x="810038" y="807915"/>
                  </a:cubicBezTo>
                  <a:close/>
                  <a:moveTo>
                    <a:pt x="1378780" y="740005"/>
                  </a:moveTo>
                  <a:cubicBezTo>
                    <a:pt x="1376170" y="771354"/>
                    <a:pt x="1365942" y="802882"/>
                    <a:pt x="1337380" y="819468"/>
                  </a:cubicBezTo>
                  <a:cubicBezTo>
                    <a:pt x="1290413" y="844921"/>
                    <a:pt x="1234145" y="844983"/>
                    <a:pt x="1182001" y="845499"/>
                  </a:cubicBezTo>
                  <a:cubicBezTo>
                    <a:pt x="1173092" y="846522"/>
                    <a:pt x="1151488" y="836712"/>
                    <a:pt x="1148530" y="847847"/>
                  </a:cubicBezTo>
                  <a:cubicBezTo>
                    <a:pt x="1095817" y="866666"/>
                    <a:pt x="1041455" y="887423"/>
                    <a:pt x="984705" y="887227"/>
                  </a:cubicBezTo>
                  <a:cubicBezTo>
                    <a:pt x="966317" y="886542"/>
                    <a:pt x="948375" y="883029"/>
                    <a:pt x="930370" y="887707"/>
                  </a:cubicBezTo>
                  <a:cubicBezTo>
                    <a:pt x="930130" y="871201"/>
                    <a:pt x="929266" y="854722"/>
                    <a:pt x="928954" y="838215"/>
                  </a:cubicBezTo>
                  <a:cubicBezTo>
                    <a:pt x="928749" y="829918"/>
                    <a:pt x="929078" y="820508"/>
                    <a:pt x="926032" y="812700"/>
                  </a:cubicBezTo>
                  <a:cubicBezTo>
                    <a:pt x="941649" y="810619"/>
                    <a:pt x="957783" y="810299"/>
                    <a:pt x="973053" y="806154"/>
                  </a:cubicBezTo>
                  <a:cubicBezTo>
                    <a:pt x="975271" y="807408"/>
                    <a:pt x="978068" y="807551"/>
                    <a:pt x="980928" y="805683"/>
                  </a:cubicBezTo>
                  <a:cubicBezTo>
                    <a:pt x="988108" y="801023"/>
                    <a:pt x="994897" y="801539"/>
                    <a:pt x="1003111" y="800898"/>
                  </a:cubicBezTo>
                  <a:cubicBezTo>
                    <a:pt x="1055041" y="795358"/>
                    <a:pt x="1106721" y="787647"/>
                    <a:pt x="1158152" y="778496"/>
                  </a:cubicBezTo>
                  <a:cubicBezTo>
                    <a:pt x="1156121" y="782809"/>
                    <a:pt x="1155239" y="787558"/>
                    <a:pt x="1156139" y="792681"/>
                  </a:cubicBezTo>
                  <a:cubicBezTo>
                    <a:pt x="1156718" y="795980"/>
                    <a:pt x="1161671" y="797208"/>
                    <a:pt x="1163809" y="794700"/>
                  </a:cubicBezTo>
                  <a:cubicBezTo>
                    <a:pt x="1168495" y="789212"/>
                    <a:pt x="1171667" y="782685"/>
                    <a:pt x="1177048" y="777740"/>
                  </a:cubicBezTo>
                  <a:cubicBezTo>
                    <a:pt x="1192879" y="764088"/>
                    <a:pt x="1215231" y="762514"/>
                    <a:pt x="1232773" y="751815"/>
                  </a:cubicBezTo>
                  <a:cubicBezTo>
                    <a:pt x="1261958" y="734171"/>
                    <a:pt x="1258136" y="705249"/>
                    <a:pt x="1270555" y="678862"/>
                  </a:cubicBezTo>
                  <a:cubicBezTo>
                    <a:pt x="1276551" y="697868"/>
                    <a:pt x="1275874" y="718225"/>
                    <a:pt x="1274475" y="737871"/>
                  </a:cubicBezTo>
                  <a:cubicBezTo>
                    <a:pt x="1272346" y="756707"/>
                    <a:pt x="1269896" y="787380"/>
                    <a:pt x="1246332" y="790191"/>
                  </a:cubicBezTo>
                  <a:cubicBezTo>
                    <a:pt x="1243739" y="790582"/>
                    <a:pt x="1243900" y="794086"/>
                    <a:pt x="1245664" y="795287"/>
                  </a:cubicBezTo>
                  <a:cubicBezTo>
                    <a:pt x="1264622" y="808173"/>
                    <a:pt x="1279286" y="777188"/>
                    <a:pt x="1283384" y="763866"/>
                  </a:cubicBezTo>
                  <a:cubicBezTo>
                    <a:pt x="1290992" y="739107"/>
                    <a:pt x="1291999" y="711919"/>
                    <a:pt x="1287678" y="686466"/>
                  </a:cubicBezTo>
                  <a:cubicBezTo>
                    <a:pt x="1289246" y="669720"/>
                    <a:pt x="1289878" y="652582"/>
                    <a:pt x="1294858" y="636441"/>
                  </a:cubicBezTo>
                  <a:cubicBezTo>
                    <a:pt x="1300916" y="643573"/>
                    <a:pt x="1301798" y="653809"/>
                    <a:pt x="1303714" y="662685"/>
                  </a:cubicBezTo>
                  <a:cubicBezTo>
                    <a:pt x="1306413" y="678391"/>
                    <a:pt x="1309122" y="694212"/>
                    <a:pt x="1311197" y="709998"/>
                  </a:cubicBezTo>
                  <a:cubicBezTo>
                    <a:pt x="1313781" y="729324"/>
                    <a:pt x="1314556" y="748987"/>
                    <a:pt x="1312061" y="768366"/>
                  </a:cubicBezTo>
                  <a:cubicBezTo>
                    <a:pt x="1311197" y="775045"/>
                    <a:pt x="1308560" y="781902"/>
                    <a:pt x="1310280" y="788563"/>
                  </a:cubicBezTo>
                  <a:cubicBezTo>
                    <a:pt x="1311215" y="792183"/>
                    <a:pt x="1316124" y="793535"/>
                    <a:pt x="1318725" y="790787"/>
                  </a:cubicBezTo>
                  <a:cubicBezTo>
                    <a:pt x="1337951" y="761749"/>
                    <a:pt x="1320454" y="678356"/>
                    <a:pt x="1312872" y="643991"/>
                  </a:cubicBezTo>
                  <a:cubicBezTo>
                    <a:pt x="1316970" y="639295"/>
                    <a:pt x="1319732" y="606336"/>
                    <a:pt x="1329603" y="610845"/>
                  </a:cubicBezTo>
                  <a:cubicBezTo>
                    <a:pt x="1336989" y="615754"/>
                    <a:pt x="1341550" y="640834"/>
                    <a:pt x="1343750" y="649896"/>
                  </a:cubicBezTo>
                  <a:cubicBezTo>
                    <a:pt x="1350058" y="677457"/>
                    <a:pt x="1351305" y="705854"/>
                    <a:pt x="1346664" y="733815"/>
                  </a:cubicBezTo>
                  <a:cubicBezTo>
                    <a:pt x="1344739" y="746933"/>
                    <a:pt x="1341443" y="759748"/>
                    <a:pt x="1342521" y="773071"/>
                  </a:cubicBezTo>
                  <a:cubicBezTo>
                    <a:pt x="1342904" y="777811"/>
                    <a:pt x="1349782" y="780764"/>
                    <a:pt x="1352312" y="775721"/>
                  </a:cubicBezTo>
                  <a:cubicBezTo>
                    <a:pt x="1357942" y="764471"/>
                    <a:pt x="1359813" y="752660"/>
                    <a:pt x="1361648" y="740316"/>
                  </a:cubicBezTo>
                  <a:cubicBezTo>
                    <a:pt x="1368490" y="701283"/>
                    <a:pt x="1365310" y="661031"/>
                    <a:pt x="1352151" y="623599"/>
                  </a:cubicBezTo>
                  <a:cubicBezTo>
                    <a:pt x="1384188" y="621811"/>
                    <a:pt x="1380802" y="718038"/>
                    <a:pt x="1378780" y="740005"/>
                  </a:cubicBezTo>
                  <a:close/>
                  <a:moveTo>
                    <a:pt x="1558775" y="246231"/>
                  </a:moveTo>
                  <a:cubicBezTo>
                    <a:pt x="1539335" y="371380"/>
                    <a:pt x="1494853" y="491584"/>
                    <a:pt x="1449436" y="609333"/>
                  </a:cubicBezTo>
                  <a:cubicBezTo>
                    <a:pt x="1443191" y="624941"/>
                    <a:pt x="1437534" y="641181"/>
                    <a:pt x="1429560" y="656006"/>
                  </a:cubicBezTo>
                  <a:cubicBezTo>
                    <a:pt x="1422077" y="669925"/>
                    <a:pt x="1412634" y="682535"/>
                    <a:pt x="1402353" y="694488"/>
                  </a:cubicBezTo>
                  <a:cubicBezTo>
                    <a:pt x="1401337" y="695671"/>
                    <a:pt x="1400749" y="697041"/>
                    <a:pt x="1400500" y="698455"/>
                  </a:cubicBezTo>
                  <a:cubicBezTo>
                    <a:pt x="1399235" y="699486"/>
                    <a:pt x="1397889" y="700420"/>
                    <a:pt x="1396482" y="701301"/>
                  </a:cubicBezTo>
                  <a:cubicBezTo>
                    <a:pt x="1395707" y="675643"/>
                    <a:pt x="1388535" y="596509"/>
                    <a:pt x="1347706" y="613549"/>
                  </a:cubicBezTo>
                  <a:cubicBezTo>
                    <a:pt x="1330948" y="584183"/>
                    <a:pt x="1308124" y="603188"/>
                    <a:pt x="1307179" y="631087"/>
                  </a:cubicBezTo>
                  <a:cubicBezTo>
                    <a:pt x="1304587" y="627387"/>
                    <a:pt x="1301202" y="624657"/>
                    <a:pt x="1296694" y="623919"/>
                  </a:cubicBezTo>
                  <a:cubicBezTo>
                    <a:pt x="1279054" y="621402"/>
                    <a:pt x="1281050" y="651168"/>
                    <a:pt x="1278716" y="662587"/>
                  </a:cubicBezTo>
                  <a:cubicBezTo>
                    <a:pt x="1261655" y="643084"/>
                    <a:pt x="1249459" y="694284"/>
                    <a:pt x="1246902" y="705294"/>
                  </a:cubicBezTo>
                  <a:cubicBezTo>
                    <a:pt x="1242653" y="721489"/>
                    <a:pt x="1235766" y="734438"/>
                    <a:pt x="1220184" y="741961"/>
                  </a:cubicBezTo>
                  <a:cubicBezTo>
                    <a:pt x="1206491" y="748578"/>
                    <a:pt x="1191293" y="751673"/>
                    <a:pt x="1177983" y="759206"/>
                  </a:cubicBezTo>
                  <a:cubicBezTo>
                    <a:pt x="1141911" y="761883"/>
                    <a:pt x="1105536" y="771737"/>
                    <a:pt x="1069233" y="775846"/>
                  </a:cubicBezTo>
                  <a:cubicBezTo>
                    <a:pt x="1052306" y="778318"/>
                    <a:pt x="1035317" y="780079"/>
                    <a:pt x="1018354" y="782276"/>
                  </a:cubicBezTo>
                  <a:cubicBezTo>
                    <a:pt x="1007102" y="783734"/>
                    <a:pt x="995102" y="783058"/>
                    <a:pt x="984180" y="785940"/>
                  </a:cubicBezTo>
                  <a:cubicBezTo>
                    <a:pt x="983912" y="775819"/>
                    <a:pt x="983636" y="765689"/>
                    <a:pt x="983369" y="755568"/>
                  </a:cubicBezTo>
                  <a:cubicBezTo>
                    <a:pt x="983342" y="754457"/>
                    <a:pt x="982950" y="753434"/>
                    <a:pt x="982336" y="752580"/>
                  </a:cubicBezTo>
                  <a:cubicBezTo>
                    <a:pt x="987663" y="741793"/>
                    <a:pt x="990621" y="730062"/>
                    <a:pt x="993819" y="718332"/>
                  </a:cubicBezTo>
                  <a:cubicBezTo>
                    <a:pt x="1025606" y="601667"/>
                    <a:pt x="1052163" y="483633"/>
                    <a:pt x="1084841" y="367209"/>
                  </a:cubicBezTo>
                  <a:cubicBezTo>
                    <a:pt x="1094151" y="334045"/>
                    <a:pt x="1103095" y="300401"/>
                    <a:pt x="1114632" y="267931"/>
                  </a:cubicBezTo>
                  <a:cubicBezTo>
                    <a:pt x="1119594" y="253969"/>
                    <a:pt x="1126757" y="239241"/>
                    <a:pt x="1139586" y="230926"/>
                  </a:cubicBezTo>
                  <a:cubicBezTo>
                    <a:pt x="1149778" y="225127"/>
                    <a:pt x="1162722" y="220849"/>
                    <a:pt x="1173894" y="218048"/>
                  </a:cubicBezTo>
                  <a:cubicBezTo>
                    <a:pt x="1192041" y="216901"/>
                    <a:pt x="1210367" y="217310"/>
                    <a:pt x="1228577" y="216634"/>
                  </a:cubicBezTo>
                  <a:cubicBezTo>
                    <a:pt x="1327768" y="214668"/>
                    <a:pt x="1426968" y="212890"/>
                    <a:pt x="1526177" y="212205"/>
                  </a:cubicBezTo>
                  <a:cubicBezTo>
                    <a:pt x="1533616" y="212054"/>
                    <a:pt x="1541527" y="211618"/>
                    <a:pt x="1548895" y="212392"/>
                  </a:cubicBezTo>
                  <a:cubicBezTo>
                    <a:pt x="1551478" y="213272"/>
                    <a:pt x="1554846" y="215664"/>
                    <a:pt x="1557037" y="217176"/>
                  </a:cubicBezTo>
                  <a:cubicBezTo>
                    <a:pt x="1560708" y="226337"/>
                    <a:pt x="1559942" y="236706"/>
                    <a:pt x="1558775" y="246231"/>
                  </a:cubicBezTo>
                  <a:close/>
                </a:path>
              </a:pathLst>
            </a:custGeom>
            <a:solidFill>
              <a:srgbClr val="16180A"/>
            </a:solid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6" name="Freeform: Shape 105">
              <a:extLst>
                <a:ext uri="{FF2B5EF4-FFF2-40B4-BE49-F238E27FC236}">
                  <a16:creationId xmlns:a16="http://schemas.microsoft.com/office/drawing/2014/main" id="{B06DCB82-1A7B-34BA-8992-F1E9C47AF104}"/>
                </a:ext>
              </a:extLst>
            </p:cNvPr>
            <p:cNvSpPr/>
            <p:nvPr/>
          </p:nvSpPr>
          <p:spPr>
            <a:xfrm>
              <a:off x="6026740" y="3665847"/>
              <a:ext cx="194683" cy="49135"/>
            </a:xfrm>
            <a:custGeom>
              <a:avLst/>
              <a:gdLst>
                <a:gd name="connsiteX0" fmla="*/ 13247 w 194683"/>
                <a:gd name="connsiteY0" fmla="*/ 22277 h 49135"/>
                <a:gd name="connsiteX1" fmla="*/ 190827 w 194683"/>
                <a:gd name="connsiteY1" fmla="*/ 29391 h 49135"/>
                <a:gd name="connsiteX2" fmla="*/ 184422 w 194683"/>
                <a:gd name="connsiteY2" fmla="*/ 14228 h 49135"/>
                <a:gd name="connsiteX3" fmla="*/ 85685 w 194683"/>
                <a:gd name="connsiteY3" fmla="*/ 29934 h 49135"/>
                <a:gd name="connsiteX4" fmla="*/ 17684 w 194683"/>
                <a:gd name="connsiteY4" fmla="*/ 6304 h 49135"/>
                <a:gd name="connsiteX5" fmla="*/ 347 w 194683"/>
                <a:gd name="connsiteY5" fmla="*/ 3929 h 49135"/>
                <a:gd name="connsiteX6" fmla="*/ 13247 w 194683"/>
                <a:gd name="connsiteY6" fmla="*/ 22277 h 4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683" h="49135">
                  <a:moveTo>
                    <a:pt x="13247" y="22277"/>
                  </a:moveTo>
                  <a:cubicBezTo>
                    <a:pt x="59974" y="55734"/>
                    <a:pt x="141205" y="57735"/>
                    <a:pt x="190827" y="29391"/>
                  </a:cubicBezTo>
                  <a:cubicBezTo>
                    <a:pt x="198649" y="24705"/>
                    <a:pt x="193589" y="11062"/>
                    <a:pt x="184422" y="14228"/>
                  </a:cubicBezTo>
                  <a:cubicBezTo>
                    <a:pt x="152225" y="25336"/>
                    <a:pt x="120046" y="32735"/>
                    <a:pt x="85685" y="29934"/>
                  </a:cubicBezTo>
                  <a:cubicBezTo>
                    <a:pt x="61426" y="28244"/>
                    <a:pt x="37755" y="20000"/>
                    <a:pt x="17684" y="6304"/>
                  </a:cubicBezTo>
                  <a:cubicBezTo>
                    <a:pt x="13657" y="3556"/>
                    <a:pt x="3153" y="-4920"/>
                    <a:pt x="347" y="3929"/>
                  </a:cubicBezTo>
                  <a:cubicBezTo>
                    <a:pt x="-2005" y="11347"/>
                    <a:pt x="8187" y="18337"/>
                    <a:pt x="13247" y="22277"/>
                  </a:cubicBez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107" name="Freeform: Shape 106">
              <a:extLst>
                <a:ext uri="{FF2B5EF4-FFF2-40B4-BE49-F238E27FC236}">
                  <a16:creationId xmlns:a16="http://schemas.microsoft.com/office/drawing/2014/main" id="{B961037B-36FB-814A-7090-0CD36B81C9E1}"/>
                </a:ext>
              </a:extLst>
            </p:cNvPr>
            <p:cNvSpPr/>
            <p:nvPr/>
          </p:nvSpPr>
          <p:spPr>
            <a:xfrm>
              <a:off x="5935437" y="2917236"/>
              <a:ext cx="416960" cy="541402"/>
            </a:xfrm>
            <a:custGeom>
              <a:avLst/>
              <a:gdLst>
                <a:gd name="connsiteX0" fmla="*/ 417893 w 416960"/>
                <a:gd name="connsiteY0" fmla="*/ 264032 h 541402"/>
                <a:gd name="connsiteX1" fmla="*/ 289250 w 416960"/>
                <a:gd name="connsiteY1" fmla="*/ 2965 h 541402"/>
                <a:gd name="connsiteX2" fmla="*/ 270273 w 416960"/>
                <a:gd name="connsiteY2" fmla="*/ 5553 h 541402"/>
                <a:gd name="connsiteX3" fmla="*/ 260385 w 416960"/>
                <a:gd name="connsiteY3" fmla="*/ 12979 h 541402"/>
                <a:gd name="connsiteX4" fmla="*/ 92987 w 416960"/>
                <a:gd name="connsiteY4" fmla="*/ 298085 h 541402"/>
                <a:gd name="connsiteX5" fmla="*/ 3631 w 416960"/>
                <a:gd name="connsiteY5" fmla="*/ 492087 h 541402"/>
                <a:gd name="connsiteX6" fmla="*/ 34012 w 416960"/>
                <a:gd name="connsiteY6" fmla="*/ 497432 h 541402"/>
                <a:gd name="connsiteX7" fmla="*/ 74367 w 416960"/>
                <a:gd name="connsiteY7" fmla="*/ 505383 h 541402"/>
                <a:gd name="connsiteX8" fmla="*/ 171653 w 416960"/>
                <a:gd name="connsiteY8" fmla="*/ 532944 h 541402"/>
                <a:gd name="connsiteX9" fmla="*/ 403819 w 416960"/>
                <a:gd name="connsiteY9" fmla="*/ 399773 h 541402"/>
                <a:gd name="connsiteX10" fmla="*/ 420299 w 416960"/>
                <a:gd name="connsiteY10" fmla="*/ 288934 h 541402"/>
                <a:gd name="connsiteX11" fmla="*/ 417893 w 416960"/>
                <a:gd name="connsiteY11" fmla="*/ 264032 h 5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960" h="541402">
                  <a:moveTo>
                    <a:pt x="417893" y="264032"/>
                  </a:moveTo>
                  <a:cubicBezTo>
                    <a:pt x="415666" y="159205"/>
                    <a:pt x="378963" y="67745"/>
                    <a:pt x="289250" y="2965"/>
                  </a:cubicBezTo>
                  <a:cubicBezTo>
                    <a:pt x="283549" y="-1171"/>
                    <a:pt x="274995" y="830"/>
                    <a:pt x="270273" y="5553"/>
                  </a:cubicBezTo>
                  <a:cubicBezTo>
                    <a:pt x="265997" y="6398"/>
                    <a:pt x="262434" y="9137"/>
                    <a:pt x="260385" y="12979"/>
                  </a:cubicBezTo>
                  <a:cubicBezTo>
                    <a:pt x="207378" y="109606"/>
                    <a:pt x="151608" y="204641"/>
                    <a:pt x="92987" y="298085"/>
                  </a:cubicBezTo>
                  <a:cubicBezTo>
                    <a:pt x="55303" y="358454"/>
                    <a:pt x="9602" y="418903"/>
                    <a:pt x="3631" y="492087"/>
                  </a:cubicBezTo>
                  <a:cubicBezTo>
                    <a:pt x="2563" y="493475"/>
                    <a:pt x="30090" y="509198"/>
                    <a:pt x="34012" y="497432"/>
                  </a:cubicBezTo>
                  <a:cubicBezTo>
                    <a:pt x="47730" y="497832"/>
                    <a:pt x="61271" y="501328"/>
                    <a:pt x="74367" y="505383"/>
                  </a:cubicBezTo>
                  <a:cubicBezTo>
                    <a:pt x="106440" y="515397"/>
                    <a:pt x="138956" y="525296"/>
                    <a:pt x="171653" y="532944"/>
                  </a:cubicBezTo>
                  <a:cubicBezTo>
                    <a:pt x="279449" y="561492"/>
                    <a:pt x="395175" y="525171"/>
                    <a:pt x="403819" y="399773"/>
                  </a:cubicBezTo>
                  <a:cubicBezTo>
                    <a:pt x="415399" y="383507"/>
                    <a:pt x="421991" y="311328"/>
                    <a:pt x="420299" y="288934"/>
                  </a:cubicBezTo>
                  <a:lnTo>
                    <a:pt x="417893" y="264032"/>
                  </a:ln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08" name="Freeform: Shape 107">
              <a:extLst>
                <a:ext uri="{FF2B5EF4-FFF2-40B4-BE49-F238E27FC236}">
                  <a16:creationId xmlns:a16="http://schemas.microsoft.com/office/drawing/2014/main" id="{1F41327D-A7FF-1882-2B9A-ACB47EC4A6B2}"/>
                </a:ext>
              </a:extLst>
            </p:cNvPr>
            <p:cNvSpPr/>
            <p:nvPr/>
          </p:nvSpPr>
          <p:spPr>
            <a:xfrm>
              <a:off x="5784287" y="2850534"/>
              <a:ext cx="633705" cy="669283"/>
            </a:xfrm>
            <a:custGeom>
              <a:avLst/>
              <a:gdLst>
                <a:gd name="connsiteX0" fmla="*/ 636930 w 633705"/>
                <a:gd name="connsiteY0" fmla="*/ 612986 h 669283"/>
                <a:gd name="connsiteX1" fmla="*/ 603165 w 633705"/>
                <a:gd name="connsiteY1" fmla="*/ 396697 h 669283"/>
                <a:gd name="connsiteX2" fmla="*/ 591583 w 633705"/>
                <a:gd name="connsiteY2" fmla="*/ 291282 h 669283"/>
                <a:gd name="connsiteX3" fmla="*/ 575100 w 633705"/>
                <a:gd name="connsiteY3" fmla="*/ 193872 h 669283"/>
                <a:gd name="connsiteX4" fmla="*/ 538397 w 633705"/>
                <a:gd name="connsiteY4" fmla="*/ 109402 h 669283"/>
                <a:gd name="connsiteX5" fmla="*/ 478976 w 633705"/>
                <a:gd name="connsiteY5" fmla="*/ 47771 h 669283"/>
                <a:gd name="connsiteX6" fmla="*/ 317635 w 633705"/>
                <a:gd name="connsiteY6" fmla="*/ 1854 h 669283"/>
                <a:gd name="connsiteX7" fmla="*/ 299817 w 633705"/>
                <a:gd name="connsiteY7" fmla="*/ 2681 h 669283"/>
                <a:gd name="connsiteX8" fmla="*/ 8498 w 633705"/>
                <a:gd name="connsiteY8" fmla="*/ 507314 h 669283"/>
                <a:gd name="connsiteX9" fmla="*/ 7606 w 633705"/>
                <a:gd name="connsiteY9" fmla="*/ 526230 h 669283"/>
                <a:gd name="connsiteX10" fmla="*/ 3955 w 633705"/>
                <a:gd name="connsiteY10" fmla="*/ 568572 h 669283"/>
                <a:gd name="connsiteX11" fmla="*/ 5112 w 633705"/>
                <a:gd name="connsiteY11" fmla="*/ 617611 h 669283"/>
                <a:gd name="connsiteX12" fmla="*/ 15358 w 633705"/>
                <a:gd name="connsiteY12" fmla="*/ 666738 h 669283"/>
                <a:gd name="connsiteX13" fmla="*/ 221062 w 633705"/>
                <a:gd name="connsiteY13" fmla="*/ 652090 h 669283"/>
                <a:gd name="connsiteX14" fmla="*/ 226141 w 633705"/>
                <a:gd name="connsiteY14" fmla="*/ 583433 h 669283"/>
                <a:gd name="connsiteX15" fmla="*/ 221954 w 633705"/>
                <a:gd name="connsiteY15" fmla="*/ 550803 h 669283"/>
                <a:gd name="connsiteX16" fmla="*/ 218924 w 633705"/>
                <a:gd name="connsiteY16" fmla="*/ 537996 h 669283"/>
                <a:gd name="connsiteX17" fmla="*/ 277724 w 633705"/>
                <a:gd name="connsiteY17" fmla="*/ 436860 h 669283"/>
                <a:gd name="connsiteX18" fmla="*/ 401201 w 633705"/>
                <a:gd name="connsiteY18" fmla="*/ 226752 h 669283"/>
                <a:gd name="connsiteX19" fmla="*/ 444319 w 633705"/>
                <a:gd name="connsiteY19" fmla="*/ 110532 h 669283"/>
                <a:gd name="connsiteX20" fmla="*/ 445657 w 633705"/>
                <a:gd name="connsiteY20" fmla="*/ 110799 h 669283"/>
                <a:gd name="connsiteX21" fmla="*/ 446100 w 633705"/>
                <a:gd name="connsiteY21" fmla="*/ 112213 h 669283"/>
                <a:gd name="connsiteX22" fmla="*/ 526102 w 633705"/>
                <a:gd name="connsiteY22" fmla="*/ 220909 h 669283"/>
                <a:gd name="connsiteX23" fmla="*/ 553274 w 633705"/>
                <a:gd name="connsiteY23" fmla="*/ 377291 h 669283"/>
                <a:gd name="connsiteX24" fmla="*/ 428283 w 633705"/>
                <a:gd name="connsiteY24" fmla="*/ 592922 h 669283"/>
                <a:gd name="connsiteX25" fmla="*/ 363961 w 633705"/>
                <a:gd name="connsiteY25" fmla="*/ 596284 h 669283"/>
                <a:gd name="connsiteX26" fmla="*/ 335096 w 633705"/>
                <a:gd name="connsiteY26" fmla="*/ 586127 h 669283"/>
                <a:gd name="connsiteX27" fmla="*/ 307480 w 633705"/>
                <a:gd name="connsiteY27" fmla="*/ 567069 h 669283"/>
                <a:gd name="connsiteX28" fmla="*/ 293671 w 633705"/>
                <a:gd name="connsiteY28" fmla="*/ 580845 h 669283"/>
                <a:gd name="connsiteX29" fmla="*/ 348281 w 633705"/>
                <a:gd name="connsiteY29" fmla="*/ 616303 h 669283"/>
                <a:gd name="connsiteX30" fmla="*/ 414476 w 633705"/>
                <a:gd name="connsiteY30" fmla="*/ 618758 h 669283"/>
                <a:gd name="connsiteX31" fmla="*/ 419463 w 633705"/>
                <a:gd name="connsiteY31" fmla="*/ 617806 h 669283"/>
                <a:gd name="connsiteX32" fmla="*/ 426055 w 633705"/>
                <a:gd name="connsiteY32" fmla="*/ 633218 h 669283"/>
                <a:gd name="connsiteX33" fmla="*/ 432204 w 633705"/>
                <a:gd name="connsiteY33" fmla="*/ 638403 h 669283"/>
                <a:gd name="connsiteX34" fmla="*/ 441646 w 633705"/>
                <a:gd name="connsiteY34" fmla="*/ 650329 h 669283"/>
                <a:gd name="connsiteX35" fmla="*/ 626505 w 633705"/>
                <a:gd name="connsiteY35" fmla="*/ 631280 h 669283"/>
                <a:gd name="connsiteX36" fmla="*/ 636930 w 633705"/>
                <a:gd name="connsiteY36" fmla="*/ 612986 h 66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33705" h="669283">
                  <a:moveTo>
                    <a:pt x="636930" y="612986"/>
                  </a:moveTo>
                  <a:cubicBezTo>
                    <a:pt x="621696" y="541536"/>
                    <a:pt x="611895" y="469161"/>
                    <a:pt x="603165" y="396697"/>
                  </a:cubicBezTo>
                  <a:cubicBezTo>
                    <a:pt x="598889" y="361603"/>
                    <a:pt x="595502" y="326412"/>
                    <a:pt x="591583" y="291282"/>
                  </a:cubicBezTo>
                  <a:cubicBezTo>
                    <a:pt x="587931" y="258555"/>
                    <a:pt x="583655" y="225729"/>
                    <a:pt x="575100" y="193872"/>
                  </a:cubicBezTo>
                  <a:cubicBezTo>
                    <a:pt x="567173" y="164266"/>
                    <a:pt x="555591" y="134962"/>
                    <a:pt x="538397" y="109402"/>
                  </a:cubicBezTo>
                  <a:cubicBezTo>
                    <a:pt x="522271" y="85595"/>
                    <a:pt x="502227" y="64748"/>
                    <a:pt x="478976" y="47771"/>
                  </a:cubicBezTo>
                  <a:cubicBezTo>
                    <a:pt x="433183" y="13895"/>
                    <a:pt x="374564" y="-4123"/>
                    <a:pt x="317635" y="1854"/>
                  </a:cubicBezTo>
                  <a:cubicBezTo>
                    <a:pt x="308994" y="2770"/>
                    <a:pt x="300709" y="2601"/>
                    <a:pt x="299817" y="2681"/>
                  </a:cubicBezTo>
                  <a:cubicBezTo>
                    <a:pt x="68009" y="23705"/>
                    <a:pt x="13488" y="426161"/>
                    <a:pt x="8498" y="507314"/>
                  </a:cubicBezTo>
                  <a:cubicBezTo>
                    <a:pt x="8141" y="513628"/>
                    <a:pt x="7785" y="519933"/>
                    <a:pt x="7606" y="526230"/>
                  </a:cubicBezTo>
                  <a:cubicBezTo>
                    <a:pt x="5825" y="540308"/>
                    <a:pt x="4579" y="554422"/>
                    <a:pt x="3955" y="568572"/>
                  </a:cubicBezTo>
                  <a:cubicBezTo>
                    <a:pt x="3241" y="584927"/>
                    <a:pt x="3598" y="601309"/>
                    <a:pt x="5112" y="617611"/>
                  </a:cubicBezTo>
                  <a:cubicBezTo>
                    <a:pt x="6628" y="634294"/>
                    <a:pt x="8409" y="651396"/>
                    <a:pt x="15358" y="666738"/>
                  </a:cubicBezTo>
                  <a:cubicBezTo>
                    <a:pt x="19634" y="676183"/>
                    <a:pt x="219013" y="663243"/>
                    <a:pt x="221062" y="652090"/>
                  </a:cubicBezTo>
                  <a:cubicBezTo>
                    <a:pt x="225517" y="629483"/>
                    <a:pt x="227122" y="606431"/>
                    <a:pt x="226141" y="583433"/>
                  </a:cubicBezTo>
                  <a:cubicBezTo>
                    <a:pt x="225606" y="572467"/>
                    <a:pt x="224271" y="561555"/>
                    <a:pt x="221954" y="550803"/>
                  </a:cubicBezTo>
                  <a:cubicBezTo>
                    <a:pt x="221330" y="547868"/>
                    <a:pt x="220619" y="542354"/>
                    <a:pt x="218924" y="537996"/>
                  </a:cubicBezTo>
                  <a:cubicBezTo>
                    <a:pt x="237099" y="503498"/>
                    <a:pt x="257144" y="469988"/>
                    <a:pt x="277724" y="436860"/>
                  </a:cubicBezTo>
                  <a:cubicBezTo>
                    <a:pt x="320576" y="367891"/>
                    <a:pt x="366188" y="300203"/>
                    <a:pt x="401201" y="226752"/>
                  </a:cubicBezTo>
                  <a:cubicBezTo>
                    <a:pt x="418752" y="189951"/>
                    <a:pt x="436034" y="150864"/>
                    <a:pt x="444319" y="110532"/>
                  </a:cubicBezTo>
                  <a:lnTo>
                    <a:pt x="445657" y="110799"/>
                  </a:lnTo>
                  <a:cubicBezTo>
                    <a:pt x="445478" y="111315"/>
                    <a:pt x="445657" y="111893"/>
                    <a:pt x="446100" y="112213"/>
                  </a:cubicBezTo>
                  <a:cubicBezTo>
                    <a:pt x="484141" y="138475"/>
                    <a:pt x="509622" y="178291"/>
                    <a:pt x="526102" y="220909"/>
                  </a:cubicBezTo>
                  <a:cubicBezTo>
                    <a:pt x="545346" y="270756"/>
                    <a:pt x="554523" y="323895"/>
                    <a:pt x="553274" y="377291"/>
                  </a:cubicBezTo>
                  <a:cubicBezTo>
                    <a:pt x="551136" y="461788"/>
                    <a:pt x="519066" y="566215"/>
                    <a:pt x="428283" y="592922"/>
                  </a:cubicBezTo>
                  <a:cubicBezTo>
                    <a:pt x="407526" y="599014"/>
                    <a:pt x="385165" y="600739"/>
                    <a:pt x="363961" y="596284"/>
                  </a:cubicBezTo>
                  <a:cubicBezTo>
                    <a:pt x="353895" y="594265"/>
                    <a:pt x="344183" y="590850"/>
                    <a:pt x="335096" y="586127"/>
                  </a:cubicBezTo>
                  <a:cubicBezTo>
                    <a:pt x="325119" y="580809"/>
                    <a:pt x="316833" y="573268"/>
                    <a:pt x="307480" y="567069"/>
                  </a:cubicBezTo>
                  <a:cubicBezTo>
                    <a:pt x="298839" y="561395"/>
                    <a:pt x="288771" y="572458"/>
                    <a:pt x="293671" y="580845"/>
                  </a:cubicBezTo>
                  <a:cubicBezTo>
                    <a:pt x="304629" y="599388"/>
                    <a:pt x="328147" y="610727"/>
                    <a:pt x="348281" y="616303"/>
                  </a:cubicBezTo>
                  <a:cubicBezTo>
                    <a:pt x="369842" y="622271"/>
                    <a:pt x="392558" y="622546"/>
                    <a:pt x="414476" y="618758"/>
                  </a:cubicBezTo>
                  <a:cubicBezTo>
                    <a:pt x="416079" y="618473"/>
                    <a:pt x="417771" y="618153"/>
                    <a:pt x="419463" y="617806"/>
                  </a:cubicBezTo>
                  <a:cubicBezTo>
                    <a:pt x="419909" y="623515"/>
                    <a:pt x="422225" y="628923"/>
                    <a:pt x="426055" y="633218"/>
                  </a:cubicBezTo>
                  <a:cubicBezTo>
                    <a:pt x="427839" y="635255"/>
                    <a:pt x="429888" y="637007"/>
                    <a:pt x="432204" y="638403"/>
                  </a:cubicBezTo>
                  <a:cubicBezTo>
                    <a:pt x="432559" y="643766"/>
                    <a:pt x="436034" y="649156"/>
                    <a:pt x="441646" y="650329"/>
                  </a:cubicBezTo>
                  <a:cubicBezTo>
                    <a:pt x="471670" y="656573"/>
                    <a:pt x="596483" y="640200"/>
                    <a:pt x="626505" y="631280"/>
                  </a:cubicBezTo>
                  <a:cubicBezTo>
                    <a:pt x="634524" y="628896"/>
                    <a:pt x="638622" y="621017"/>
                    <a:pt x="636930" y="612986"/>
                  </a:cubicBezTo>
                </a:path>
              </a:pathLst>
            </a:custGeom>
            <a:blipFill dpi="0" rotWithShape="1">
              <a:blip r:embed="rId2">
                <a:extLst>
                  <a:ext uri="{BEBA8EAE-BF5A-486C-A8C5-ECC9F3942E4B}">
                    <a14:imgProps xmlns:a14="http://schemas.microsoft.com/office/drawing/2010/main">
                      <a14:imgLayer r:embed="rId3">
                        <a14:imgEffect>
                          <a14:artisticBlur radius="100"/>
                        </a14:imgEffect>
                      </a14:imgLayer>
                    </a14:imgProps>
                  </a:ext>
                </a:extLst>
              </a:blip>
              <a:srcRect/>
              <a:stretch>
                <a:fillRect l="-212069" r="-6185"/>
              </a:stretch>
            </a:blipFill>
            <a:ln w="12700"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z="1000" spc="30">
                <a:solidFill>
                  <a:schemeClr val="bg1"/>
                </a:solidFill>
                <a:cs typeface="Poppins SemiBold" panose="00000700000000000000" pitchFamily="2" charset="0"/>
              </a:endParaRPr>
            </a:p>
          </p:txBody>
        </p:sp>
        <p:sp>
          <p:nvSpPr>
            <p:cNvPr id="109" name="Freeform: Shape 108">
              <a:extLst>
                <a:ext uri="{FF2B5EF4-FFF2-40B4-BE49-F238E27FC236}">
                  <a16:creationId xmlns:a16="http://schemas.microsoft.com/office/drawing/2014/main" id="{A5FAD905-73E0-D014-4A46-39F1C4BC44DE}"/>
                </a:ext>
              </a:extLst>
            </p:cNvPr>
            <p:cNvSpPr/>
            <p:nvPr/>
          </p:nvSpPr>
          <p:spPr>
            <a:xfrm>
              <a:off x="6213140" y="3347346"/>
              <a:ext cx="19486" cy="36698"/>
            </a:xfrm>
            <a:custGeom>
              <a:avLst/>
              <a:gdLst>
                <a:gd name="connsiteX0" fmla="*/ 14975 w 19486"/>
                <a:gd name="connsiteY0" fmla="*/ 6 h 36698"/>
                <a:gd name="connsiteX1" fmla="*/ 16757 w 19486"/>
                <a:gd name="connsiteY1" fmla="*/ 32023 h 36698"/>
                <a:gd name="connsiteX2" fmla="*/ 721 w 19486"/>
                <a:gd name="connsiteY2" fmla="*/ 32023 h 36698"/>
                <a:gd name="connsiteX3" fmla="*/ 14975 w 19486"/>
                <a:gd name="connsiteY3" fmla="*/ 6 h 36698"/>
              </a:gdLst>
              <a:ahLst/>
              <a:cxnLst>
                <a:cxn ang="0">
                  <a:pos x="connsiteX0" y="connsiteY0"/>
                </a:cxn>
                <a:cxn ang="0">
                  <a:pos x="connsiteX1" y="connsiteY1"/>
                </a:cxn>
                <a:cxn ang="0">
                  <a:pos x="connsiteX2" y="connsiteY2"/>
                </a:cxn>
                <a:cxn ang="0">
                  <a:pos x="connsiteX3" y="connsiteY3"/>
                </a:cxn>
              </a:cxnLst>
              <a:rect l="l" t="t" r="r" b="b"/>
              <a:pathLst>
                <a:path w="19486" h="36698">
                  <a:moveTo>
                    <a:pt x="14975" y="6"/>
                  </a:moveTo>
                  <a:cubicBezTo>
                    <a:pt x="19929" y="504"/>
                    <a:pt x="21212" y="28465"/>
                    <a:pt x="16757" y="32023"/>
                  </a:cubicBezTo>
                  <a:cubicBezTo>
                    <a:pt x="12303" y="35580"/>
                    <a:pt x="4730" y="40471"/>
                    <a:pt x="721" y="32023"/>
                  </a:cubicBezTo>
                  <a:cubicBezTo>
                    <a:pt x="-3288" y="23574"/>
                    <a:pt x="10521" y="-439"/>
                    <a:pt x="14975" y="6"/>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10" name="Freeform: Shape 109">
              <a:extLst>
                <a:ext uri="{FF2B5EF4-FFF2-40B4-BE49-F238E27FC236}">
                  <a16:creationId xmlns:a16="http://schemas.microsoft.com/office/drawing/2014/main" id="{110821F5-D22A-BF1F-2542-B052E7C06318}"/>
                </a:ext>
              </a:extLst>
            </p:cNvPr>
            <p:cNvSpPr/>
            <p:nvPr/>
          </p:nvSpPr>
          <p:spPr>
            <a:xfrm>
              <a:off x="6097697" y="3162211"/>
              <a:ext cx="73573" cy="81798"/>
            </a:xfrm>
            <a:custGeom>
              <a:avLst/>
              <a:gdLst>
                <a:gd name="connsiteX0" fmla="*/ 27725 w 73573"/>
                <a:gd name="connsiteY0" fmla="*/ 593 h 81798"/>
                <a:gd name="connsiteX1" fmla="*/ 72385 w 73573"/>
                <a:gd name="connsiteY1" fmla="*/ 28830 h 81798"/>
                <a:gd name="connsiteX2" fmla="*/ 35859 w 73573"/>
                <a:gd name="connsiteY2" fmla="*/ 81524 h 81798"/>
                <a:gd name="connsiteX3" fmla="*/ 1 w 73573"/>
                <a:gd name="connsiteY3" fmla="*/ 47835 h 81798"/>
                <a:gd name="connsiteX4" fmla="*/ 27725 w 73573"/>
                <a:gd name="connsiteY4" fmla="*/ 593 h 81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73" h="81798">
                  <a:moveTo>
                    <a:pt x="27725" y="593"/>
                  </a:moveTo>
                  <a:cubicBezTo>
                    <a:pt x="38834" y="-2680"/>
                    <a:pt x="68145" y="7708"/>
                    <a:pt x="72385" y="28830"/>
                  </a:cubicBezTo>
                  <a:cubicBezTo>
                    <a:pt x="77437" y="54034"/>
                    <a:pt x="66594" y="77966"/>
                    <a:pt x="35859" y="81524"/>
                  </a:cubicBezTo>
                  <a:cubicBezTo>
                    <a:pt x="11422" y="84352"/>
                    <a:pt x="-106" y="64848"/>
                    <a:pt x="1" y="47835"/>
                  </a:cubicBezTo>
                  <a:cubicBezTo>
                    <a:pt x="134" y="26713"/>
                    <a:pt x="8126" y="6374"/>
                    <a:pt x="27725" y="593"/>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11" name="Freeform: Shape 110">
              <a:extLst>
                <a:ext uri="{FF2B5EF4-FFF2-40B4-BE49-F238E27FC236}">
                  <a16:creationId xmlns:a16="http://schemas.microsoft.com/office/drawing/2014/main" id="{4EFEF2F3-F94A-F9CC-B264-33B79607069D}"/>
                </a:ext>
              </a:extLst>
            </p:cNvPr>
            <p:cNvSpPr/>
            <p:nvPr/>
          </p:nvSpPr>
          <p:spPr>
            <a:xfrm>
              <a:off x="6257871" y="3162122"/>
              <a:ext cx="71276" cy="81764"/>
            </a:xfrm>
            <a:custGeom>
              <a:avLst/>
              <a:gdLst>
                <a:gd name="connsiteX0" fmla="*/ 27021 w 71276"/>
                <a:gd name="connsiteY0" fmla="*/ 789 h 81764"/>
                <a:gd name="connsiteX1" fmla="*/ 65774 w 71276"/>
                <a:gd name="connsiteY1" fmla="*/ 18905 h 81764"/>
                <a:gd name="connsiteX2" fmla="*/ 57088 w 71276"/>
                <a:gd name="connsiteY2" fmla="*/ 73493 h 81764"/>
                <a:gd name="connsiteX3" fmla="*/ 7644 w 71276"/>
                <a:gd name="connsiteY3" fmla="*/ 72159 h 81764"/>
                <a:gd name="connsiteX4" fmla="*/ 27021 w 71276"/>
                <a:gd name="connsiteY4" fmla="*/ 789 h 81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76" h="81764">
                  <a:moveTo>
                    <a:pt x="27021" y="789"/>
                  </a:moveTo>
                  <a:cubicBezTo>
                    <a:pt x="39939" y="-3275"/>
                    <a:pt x="61587" y="9202"/>
                    <a:pt x="65774" y="18905"/>
                  </a:cubicBezTo>
                  <a:cubicBezTo>
                    <a:pt x="71672" y="32583"/>
                    <a:pt x="77356" y="55368"/>
                    <a:pt x="57088" y="73493"/>
                  </a:cubicBezTo>
                  <a:cubicBezTo>
                    <a:pt x="42486" y="86549"/>
                    <a:pt x="15199" y="82654"/>
                    <a:pt x="7644" y="72159"/>
                  </a:cubicBezTo>
                  <a:cubicBezTo>
                    <a:pt x="-3715" y="56373"/>
                    <a:pt x="-6165" y="11239"/>
                    <a:pt x="27021" y="789"/>
                  </a:cubicBezTo>
                  <a:close/>
                </a:path>
              </a:pathLst>
            </a:custGeom>
            <a:solidFill>
              <a:srgbClr val="FFFFFF"/>
            </a:solidFill>
            <a:ln w="8863" cap="flat">
              <a:noFill/>
              <a:prstDash val="solid"/>
              <a:miter/>
            </a:ln>
          </p:spPr>
          <p:txBody>
            <a:bodyPr rtlCol="0" anchor="ctr"/>
            <a:lstStyle/>
            <a:p>
              <a:endParaRPr lang="en-GB">
                <a:solidFill>
                  <a:schemeClr val="bg1"/>
                </a:solidFill>
              </a:endParaRPr>
            </a:p>
          </p:txBody>
        </p:sp>
        <p:sp>
          <p:nvSpPr>
            <p:cNvPr id="112" name="Freeform: Shape 111">
              <a:extLst>
                <a:ext uri="{FF2B5EF4-FFF2-40B4-BE49-F238E27FC236}">
                  <a16:creationId xmlns:a16="http://schemas.microsoft.com/office/drawing/2014/main" id="{BABC4816-2E1D-5C74-A507-B43E09FDF1EE}"/>
                </a:ext>
              </a:extLst>
            </p:cNvPr>
            <p:cNvSpPr/>
            <p:nvPr/>
          </p:nvSpPr>
          <p:spPr>
            <a:xfrm>
              <a:off x="6209192" y="3212915"/>
              <a:ext cx="56859" cy="70011"/>
            </a:xfrm>
            <a:custGeom>
              <a:avLst/>
              <a:gdLst>
                <a:gd name="connsiteX0" fmla="*/ 4072 w 56859"/>
                <a:gd name="connsiteY0" fmla="*/ 64606 h 70011"/>
                <a:gd name="connsiteX1" fmla="*/ 12535 w 56859"/>
                <a:gd name="connsiteY1" fmla="*/ 50145 h 70011"/>
                <a:gd name="connsiteX2" fmla="*/ 32001 w 56859"/>
                <a:gd name="connsiteY2" fmla="*/ 51915 h 70011"/>
                <a:gd name="connsiteX3" fmla="*/ 40046 w 56859"/>
                <a:gd name="connsiteY3" fmla="*/ 47459 h 70011"/>
                <a:gd name="connsiteX4" fmla="*/ 40268 w 56859"/>
                <a:gd name="connsiteY4" fmla="*/ 39740 h 70011"/>
                <a:gd name="connsiteX5" fmla="*/ 28901 w 56859"/>
                <a:gd name="connsiteY5" fmla="*/ 16750 h 70011"/>
                <a:gd name="connsiteX6" fmla="*/ 27217 w 56859"/>
                <a:gd name="connsiteY6" fmla="*/ 1364 h 70011"/>
                <a:gd name="connsiteX7" fmla="*/ 32143 w 56859"/>
                <a:gd name="connsiteY7" fmla="*/ 1364 h 70011"/>
                <a:gd name="connsiteX8" fmla="*/ 45204 w 56859"/>
                <a:gd name="connsiteY8" fmla="*/ 25510 h 70011"/>
                <a:gd name="connsiteX9" fmla="*/ 53275 w 56859"/>
                <a:gd name="connsiteY9" fmla="*/ 40656 h 70011"/>
                <a:gd name="connsiteX10" fmla="*/ 55458 w 56859"/>
                <a:gd name="connsiteY10" fmla="*/ 54405 h 70011"/>
                <a:gd name="connsiteX11" fmla="*/ 4072 w 56859"/>
                <a:gd name="connsiteY11" fmla="*/ 64606 h 70011"/>
                <a:gd name="connsiteX12" fmla="*/ 4072 w 56859"/>
                <a:gd name="connsiteY12" fmla="*/ 64606 h 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859" h="70011">
                  <a:moveTo>
                    <a:pt x="4072" y="64606"/>
                  </a:moveTo>
                  <a:cubicBezTo>
                    <a:pt x="-5265" y="59163"/>
                    <a:pt x="3118" y="44853"/>
                    <a:pt x="12535" y="50145"/>
                  </a:cubicBezTo>
                  <a:cubicBezTo>
                    <a:pt x="18557" y="53533"/>
                    <a:pt x="25426" y="54049"/>
                    <a:pt x="32001" y="51915"/>
                  </a:cubicBezTo>
                  <a:cubicBezTo>
                    <a:pt x="34941" y="50963"/>
                    <a:pt x="37622" y="49380"/>
                    <a:pt x="40046" y="47459"/>
                  </a:cubicBezTo>
                  <a:cubicBezTo>
                    <a:pt x="43431" y="44773"/>
                    <a:pt x="41997" y="43679"/>
                    <a:pt x="40268" y="39740"/>
                  </a:cubicBezTo>
                  <a:cubicBezTo>
                    <a:pt x="36838" y="31913"/>
                    <a:pt x="32500" y="24505"/>
                    <a:pt x="28901" y="16750"/>
                  </a:cubicBezTo>
                  <a:cubicBezTo>
                    <a:pt x="26495" y="11565"/>
                    <a:pt x="23404" y="6362"/>
                    <a:pt x="27217" y="1364"/>
                  </a:cubicBezTo>
                  <a:cubicBezTo>
                    <a:pt x="28562" y="-406"/>
                    <a:pt x="30816" y="-503"/>
                    <a:pt x="32143" y="1364"/>
                  </a:cubicBezTo>
                  <a:cubicBezTo>
                    <a:pt x="37257" y="8559"/>
                    <a:pt x="41328" y="17186"/>
                    <a:pt x="45204" y="25510"/>
                  </a:cubicBezTo>
                  <a:cubicBezTo>
                    <a:pt x="47600" y="30659"/>
                    <a:pt x="49943" y="36022"/>
                    <a:pt x="53275" y="40656"/>
                  </a:cubicBezTo>
                  <a:cubicBezTo>
                    <a:pt x="56456" y="45076"/>
                    <a:pt x="58291" y="49095"/>
                    <a:pt x="55458" y="54405"/>
                  </a:cubicBezTo>
                  <a:cubicBezTo>
                    <a:pt x="46041" y="72041"/>
                    <a:pt x="19600" y="73659"/>
                    <a:pt x="4072" y="64606"/>
                  </a:cubicBezTo>
                  <a:lnTo>
                    <a:pt x="4072" y="64606"/>
                  </a:lnTo>
                  <a:close/>
                </a:path>
              </a:pathLst>
            </a:custGeom>
            <a:solidFill>
              <a:srgbClr val="191246"/>
            </a:solidFill>
            <a:ln w="8863" cap="flat">
              <a:noFill/>
              <a:prstDash val="solid"/>
              <a:miter/>
            </a:ln>
          </p:spPr>
          <p:txBody>
            <a:bodyPr rtlCol="0" anchor="ctr"/>
            <a:lstStyle/>
            <a:p>
              <a:endParaRPr lang="en-GB">
                <a:solidFill>
                  <a:schemeClr val="bg1"/>
                </a:solidFill>
              </a:endParaRPr>
            </a:p>
          </p:txBody>
        </p:sp>
        <p:sp>
          <p:nvSpPr>
            <p:cNvPr id="113" name="Freeform: Shape 112">
              <a:extLst>
                <a:ext uri="{FF2B5EF4-FFF2-40B4-BE49-F238E27FC236}">
                  <a16:creationId xmlns:a16="http://schemas.microsoft.com/office/drawing/2014/main" id="{2D622840-ECF6-60FE-FA76-49ABCF8BE6FE}"/>
                </a:ext>
              </a:extLst>
            </p:cNvPr>
            <p:cNvSpPr/>
            <p:nvPr/>
          </p:nvSpPr>
          <p:spPr>
            <a:xfrm>
              <a:off x="6085133" y="3091446"/>
              <a:ext cx="87269" cy="53555"/>
            </a:xfrm>
            <a:custGeom>
              <a:avLst/>
              <a:gdLst>
                <a:gd name="connsiteX0" fmla="*/ 5340 w 87269"/>
                <a:gd name="connsiteY0" fmla="*/ 52140 h 53555"/>
                <a:gd name="connsiteX1" fmla="*/ 36459 w 87269"/>
                <a:gd name="connsiteY1" fmla="*/ 17020 h 53555"/>
                <a:gd name="connsiteX2" fmla="*/ 63604 w 87269"/>
                <a:gd name="connsiteY2" fmla="*/ 14565 h 53555"/>
                <a:gd name="connsiteX3" fmla="*/ 81395 w 87269"/>
                <a:gd name="connsiteY3" fmla="*/ 30200 h 53555"/>
                <a:gd name="connsiteX4" fmla="*/ 86811 w 87269"/>
                <a:gd name="connsiteY4" fmla="*/ 28768 h 53555"/>
                <a:gd name="connsiteX5" fmla="*/ 73101 w 87269"/>
                <a:gd name="connsiteY5" fmla="*/ 4587 h 53555"/>
                <a:gd name="connsiteX6" fmla="*/ 37430 w 87269"/>
                <a:gd name="connsiteY6" fmla="*/ 3164 h 53555"/>
                <a:gd name="connsiteX7" fmla="*/ 3 w 87269"/>
                <a:gd name="connsiteY7" fmla="*/ 50699 h 53555"/>
                <a:gd name="connsiteX8" fmla="*/ 5340 w 87269"/>
                <a:gd name="connsiteY8" fmla="*/ 52140 h 53555"/>
                <a:gd name="connsiteX9" fmla="*/ 5340 w 87269"/>
                <a:gd name="connsiteY9" fmla="*/ 52140 h 5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69" h="53555">
                  <a:moveTo>
                    <a:pt x="5340" y="52140"/>
                  </a:moveTo>
                  <a:cubicBezTo>
                    <a:pt x="11594" y="37635"/>
                    <a:pt x="21830" y="23797"/>
                    <a:pt x="36459" y="17020"/>
                  </a:cubicBezTo>
                  <a:cubicBezTo>
                    <a:pt x="44681" y="13213"/>
                    <a:pt x="54873" y="11426"/>
                    <a:pt x="63604" y="14565"/>
                  </a:cubicBezTo>
                  <a:cubicBezTo>
                    <a:pt x="71506" y="17402"/>
                    <a:pt x="76192" y="24037"/>
                    <a:pt x="81395" y="30200"/>
                  </a:cubicBezTo>
                  <a:cubicBezTo>
                    <a:pt x="82954" y="32050"/>
                    <a:pt x="86295" y="31027"/>
                    <a:pt x="86811" y="28768"/>
                  </a:cubicBezTo>
                  <a:cubicBezTo>
                    <a:pt x="89199" y="18345"/>
                    <a:pt x="81894" y="9540"/>
                    <a:pt x="73101" y="4587"/>
                  </a:cubicBezTo>
                  <a:cubicBezTo>
                    <a:pt x="62339" y="-1470"/>
                    <a:pt x="48735" y="-1087"/>
                    <a:pt x="37430" y="3164"/>
                  </a:cubicBezTo>
                  <a:cubicBezTo>
                    <a:pt x="17153" y="10785"/>
                    <a:pt x="1117" y="28688"/>
                    <a:pt x="3" y="50699"/>
                  </a:cubicBezTo>
                  <a:cubicBezTo>
                    <a:pt x="-139" y="53394"/>
                    <a:pt x="4200" y="54781"/>
                    <a:pt x="5340" y="52140"/>
                  </a:cubicBezTo>
                  <a:lnTo>
                    <a:pt x="5340" y="5214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4" name="Freeform: Shape 113">
              <a:extLst>
                <a:ext uri="{FF2B5EF4-FFF2-40B4-BE49-F238E27FC236}">
                  <a16:creationId xmlns:a16="http://schemas.microsoft.com/office/drawing/2014/main" id="{2117AA87-19A4-F412-9E93-E825054EB05C}"/>
                </a:ext>
              </a:extLst>
            </p:cNvPr>
            <p:cNvSpPr/>
            <p:nvPr/>
          </p:nvSpPr>
          <p:spPr>
            <a:xfrm>
              <a:off x="6254199" y="3114300"/>
              <a:ext cx="71581" cy="45127"/>
            </a:xfrm>
            <a:custGeom>
              <a:avLst/>
              <a:gdLst>
                <a:gd name="connsiteX0" fmla="*/ 7573 w 71581"/>
                <a:gd name="connsiteY0" fmla="*/ 27810 h 45127"/>
                <a:gd name="connsiteX1" fmla="*/ 41944 w 71581"/>
                <a:gd name="connsiteY1" fmla="*/ 12513 h 45127"/>
                <a:gd name="connsiteX2" fmla="*/ 55601 w 71581"/>
                <a:gd name="connsiteY2" fmla="*/ 24163 h 45127"/>
                <a:gd name="connsiteX3" fmla="*/ 64358 w 71581"/>
                <a:gd name="connsiteY3" fmla="*/ 43560 h 45127"/>
                <a:gd name="connsiteX4" fmla="*/ 70452 w 71581"/>
                <a:gd name="connsiteY4" fmla="*/ 42768 h 45127"/>
                <a:gd name="connsiteX5" fmla="*/ 65365 w 71581"/>
                <a:gd name="connsiteY5" fmla="*/ 17138 h 45127"/>
                <a:gd name="connsiteX6" fmla="*/ 45997 w 71581"/>
                <a:gd name="connsiteY6" fmla="*/ 1423 h 45127"/>
                <a:gd name="connsiteX7" fmla="*/ 1248 w 71581"/>
                <a:gd name="connsiteY7" fmla="*/ 21513 h 45127"/>
                <a:gd name="connsiteX8" fmla="*/ 7573 w 71581"/>
                <a:gd name="connsiteY8" fmla="*/ 27810 h 45127"/>
                <a:gd name="connsiteX9" fmla="*/ 7573 w 71581"/>
                <a:gd name="connsiteY9" fmla="*/ 27810 h 4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81" h="45127">
                  <a:moveTo>
                    <a:pt x="7573" y="27810"/>
                  </a:moveTo>
                  <a:cubicBezTo>
                    <a:pt x="16553" y="19210"/>
                    <a:pt x="28393" y="7951"/>
                    <a:pt x="41944" y="12513"/>
                  </a:cubicBezTo>
                  <a:cubicBezTo>
                    <a:pt x="47868" y="14505"/>
                    <a:pt x="52412" y="18916"/>
                    <a:pt x="55601" y="24163"/>
                  </a:cubicBezTo>
                  <a:cubicBezTo>
                    <a:pt x="59289" y="30229"/>
                    <a:pt x="60144" y="37904"/>
                    <a:pt x="64358" y="43560"/>
                  </a:cubicBezTo>
                  <a:cubicBezTo>
                    <a:pt x="66131" y="45943"/>
                    <a:pt x="69374" y="45552"/>
                    <a:pt x="70452" y="42768"/>
                  </a:cubicBezTo>
                  <a:cubicBezTo>
                    <a:pt x="73570" y="34711"/>
                    <a:pt x="69695" y="24137"/>
                    <a:pt x="65365" y="17138"/>
                  </a:cubicBezTo>
                  <a:cubicBezTo>
                    <a:pt x="60937" y="9978"/>
                    <a:pt x="54051" y="4082"/>
                    <a:pt x="45997" y="1423"/>
                  </a:cubicBezTo>
                  <a:cubicBezTo>
                    <a:pt x="27983" y="-4527"/>
                    <a:pt x="12527" y="9347"/>
                    <a:pt x="1248" y="21513"/>
                  </a:cubicBezTo>
                  <a:cubicBezTo>
                    <a:pt x="-2636" y="25720"/>
                    <a:pt x="3413" y="31803"/>
                    <a:pt x="7573" y="27810"/>
                  </a:cubicBezTo>
                  <a:lnTo>
                    <a:pt x="7573" y="27810"/>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5" name="Freeform: Shape 114">
              <a:extLst>
                <a:ext uri="{FF2B5EF4-FFF2-40B4-BE49-F238E27FC236}">
                  <a16:creationId xmlns:a16="http://schemas.microsoft.com/office/drawing/2014/main" id="{369D1948-8F55-E0D4-84E0-D9E917336B58}"/>
                </a:ext>
              </a:extLst>
            </p:cNvPr>
            <p:cNvSpPr/>
            <p:nvPr/>
          </p:nvSpPr>
          <p:spPr>
            <a:xfrm>
              <a:off x="6091095" y="3158173"/>
              <a:ext cx="85138" cy="91668"/>
            </a:xfrm>
            <a:custGeom>
              <a:avLst/>
              <a:gdLst>
                <a:gd name="connsiteX0" fmla="*/ 82515 w 85138"/>
                <a:gd name="connsiteY0" fmla="*/ 31952 h 91668"/>
                <a:gd name="connsiteX1" fmla="*/ 49152 w 85138"/>
                <a:gd name="connsiteY1" fmla="*/ 1955 h 91668"/>
                <a:gd name="connsiteX2" fmla="*/ 47691 w 85138"/>
                <a:gd name="connsiteY2" fmla="*/ 7 h 91668"/>
                <a:gd name="connsiteX3" fmla="*/ 3913 w 85138"/>
                <a:gd name="connsiteY3" fmla="*/ 28964 h 91668"/>
                <a:gd name="connsiteX4" fmla="*/ 15396 w 85138"/>
                <a:gd name="connsiteY4" fmla="*/ 84130 h 91668"/>
                <a:gd name="connsiteX5" fmla="*/ 67317 w 85138"/>
                <a:gd name="connsiteY5" fmla="*/ 82503 h 91668"/>
                <a:gd name="connsiteX6" fmla="*/ 82515 w 85138"/>
                <a:gd name="connsiteY6" fmla="*/ 31952 h 91668"/>
                <a:gd name="connsiteX7" fmla="*/ 45152 w 85138"/>
                <a:gd name="connsiteY7" fmla="*/ 81951 h 91668"/>
                <a:gd name="connsiteX8" fmla="*/ 18968 w 85138"/>
                <a:gd name="connsiteY8" fmla="*/ 74125 h 91668"/>
                <a:gd name="connsiteX9" fmla="*/ 10719 w 85138"/>
                <a:gd name="connsiteY9" fmla="*/ 44741 h 91668"/>
                <a:gd name="connsiteX10" fmla="*/ 35601 w 85138"/>
                <a:gd name="connsiteY10" fmla="*/ 7522 h 91668"/>
                <a:gd name="connsiteX11" fmla="*/ 35949 w 85138"/>
                <a:gd name="connsiteY11" fmla="*/ 7726 h 91668"/>
                <a:gd name="connsiteX12" fmla="*/ 62604 w 85138"/>
                <a:gd name="connsiteY12" fmla="*/ 15428 h 91668"/>
                <a:gd name="connsiteX13" fmla="*/ 77188 w 85138"/>
                <a:gd name="connsiteY13" fmla="*/ 40775 h 91668"/>
                <a:gd name="connsiteX14" fmla="*/ 45152 w 85138"/>
                <a:gd name="connsiteY14" fmla="*/ 81951 h 9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38" h="91668">
                  <a:moveTo>
                    <a:pt x="82515" y="31952"/>
                  </a:moveTo>
                  <a:cubicBezTo>
                    <a:pt x="77731" y="18719"/>
                    <a:pt x="64065" y="5112"/>
                    <a:pt x="49152" y="1955"/>
                  </a:cubicBezTo>
                  <a:cubicBezTo>
                    <a:pt x="49276" y="1065"/>
                    <a:pt x="48769" y="34"/>
                    <a:pt x="47691" y="7"/>
                  </a:cubicBezTo>
                  <a:cubicBezTo>
                    <a:pt x="28367" y="-322"/>
                    <a:pt x="11316" y="11017"/>
                    <a:pt x="3913" y="28964"/>
                  </a:cubicBezTo>
                  <a:cubicBezTo>
                    <a:pt x="-3393" y="46680"/>
                    <a:pt x="-961" y="72000"/>
                    <a:pt x="15396" y="84130"/>
                  </a:cubicBezTo>
                  <a:cubicBezTo>
                    <a:pt x="30541" y="95363"/>
                    <a:pt x="52591" y="93397"/>
                    <a:pt x="67317" y="82503"/>
                  </a:cubicBezTo>
                  <a:cubicBezTo>
                    <a:pt x="82899" y="70995"/>
                    <a:pt x="89144" y="50255"/>
                    <a:pt x="82515" y="31952"/>
                  </a:cubicBezTo>
                  <a:close/>
                  <a:moveTo>
                    <a:pt x="45152" y="81951"/>
                  </a:moveTo>
                  <a:cubicBezTo>
                    <a:pt x="35967" y="83285"/>
                    <a:pt x="25463" y="81142"/>
                    <a:pt x="18968" y="74125"/>
                  </a:cubicBezTo>
                  <a:cubicBezTo>
                    <a:pt x="12037" y="66637"/>
                    <a:pt x="9971" y="54568"/>
                    <a:pt x="10719" y="44741"/>
                  </a:cubicBezTo>
                  <a:cubicBezTo>
                    <a:pt x="11948" y="28635"/>
                    <a:pt x="21677" y="14681"/>
                    <a:pt x="35601" y="7522"/>
                  </a:cubicBezTo>
                  <a:cubicBezTo>
                    <a:pt x="35744" y="7566"/>
                    <a:pt x="35788" y="7709"/>
                    <a:pt x="35949" y="7726"/>
                  </a:cubicBezTo>
                  <a:cubicBezTo>
                    <a:pt x="45668" y="9096"/>
                    <a:pt x="54221" y="9541"/>
                    <a:pt x="62604" y="15428"/>
                  </a:cubicBezTo>
                  <a:cubicBezTo>
                    <a:pt x="71174" y="21440"/>
                    <a:pt x="76181" y="30396"/>
                    <a:pt x="77188" y="40775"/>
                  </a:cubicBezTo>
                  <a:cubicBezTo>
                    <a:pt x="79121" y="60651"/>
                    <a:pt x="65001" y="79061"/>
                    <a:pt x="45152" y="81951"/>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6" name="Freeform: Shape 115">
              <a:extLst>
                <a:ext uri="{FF2B5EF4-FFF2-40B4-BE49-F238E27FC236}">
                  <a16:creationId xmlns:a16="http://schemas.microsoft.com/office/drawing/2014/main" id="{0E628639-6F8E-2F47-6BFF-1912CC28F444}"/>
                </a:ext>
              </a:extLst>
            </p:cNvPr>
            <p:cNvSpPr/>
            <p:nvPr/>
          </p:nvSpPr>
          <p:spPr>
            <a:xfrm>
              <a:off x="6137329" y="3198786"/>
              <a:ext cx="20096" cy="24829"/>
            </a:xfrm>
            <a:custGeom>
              <a:avLst/>
              <a:gdLst>
                <a:gd name="connsiteX0" fmla="*/ 11987 w 20096"/>
                <a:gd name="connsiteY0" fmla="*/ 144 h 24829"/>
                <a:gd name="connsiteX1" fmla="*/ 691 w 20096"/>
                <a:gd name="connsiteY1" fmla="*/ 7739 h 24829"/>
                <a:gd name="connsiteX2" fmla="*/ 869 w 20096"/>
                <a:gd name="connsiteY2" fmla="*/ 18126 h 24829"/>
                <a:gd name="connsiteX3" fmla="*/ 16201 w 20096"/>
                <a:gd name="connsiteY3" fmla="*/ 22164 h 24829"/>
                <a:gd name="connsiteX4" fmla="*/ 19524 w 20096"/>
                <a:gd name="connsiteY4" fmla="*/ 8513 h 24829"/>
                <a:gd name="connsiteX5" fmla="*/ 16842 w 20096"/>
                <a:gd name="connsiteY5" fmla="*/ 4128 h 24829"/>
                <a:gd name="connsiteX6" fmla="*/ 15836 w 20096"/>
                <a:gd name="connsiteY6" fmla="*/ 2794 h 24829"/>
                <a:gd name="connsiteX7" fmla="*/ 11987 w 20096"/>
                <a:gd name="connsiteY7" fmla="*/ 144 h 24829"/>
                <a:gd name="connsiteX8" fmla="*/ 11987 w 20096"/>
                <a:gd name="connsiteY8" fmla="*/ 144 h 2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96" h="24829">
                  <a:moveTo>
                    <a:pt x="11987" y="144"/>
                  </a:moveTo>
                  <a:cubicBezTo>
                    <a:pt x="6535" y="-737"/>
                    <a:pt x="2196" y="2501"/>
                    <a:pt x="691" y="7739"/>
                  </a:cubicBezTo>
                  <a:cubicBezTo>
                    <a:pt x="-254" y="11012"/>
                    <a:pt x="-263" y="14898"/>
                    <a:pt x="869" y="18126"/>
                  </a:cubicBezTo>
                  <a:cubicBezTo>
                    <a:pt x="3096" y="24494"/>
                    <a:pt x="11069" y="27304"/>
                    <a:pt x="16201" y="22164"/>
                  </a:cubicBezTo>
                  <a:cubicBezTo>
                    <a:pt x="19854" y="18500"/>
                    <a:pt x="20878" y="13413"/>
                    <a:pt x="19524" y="8513"/>
                  </a:cubicBezTo>
                  <a:cubicBezTo>
                    <a:pt x="19034" y="6752"/>
                    <a:pt x="18081" y="5267"/>
                    <a:pt x="16842" y="4128"/>
                  </a:cubicBezTo>
                  <a:cubicBezTo>
                    <a:pt x="16709" y="4004"/>
                    <a:pt x="15889" y="2883"/>
                    <a:pt x="15836" y="2794"/>
                  </a:cubicBezTo>
                  <a:cubicBezTo>
                    <a:pt x="14900" y="1425"/>
                    <a:pt x="13617" y="402"/>
                    <a:pt x="11987" y="144"/>
                  </a:cubicBezTo>
                  <a:lnTo>
                    <a:pt x="11987" y="144"/>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7" name="Freeform: Shape 116">
              <a:extLst>
                <a:ext uri="{FF2B5EF4-FFF2-40B4-BE49-F238E27FC236}">
                  <a16:creationId xmlns:a16="http://schemas.microsoft.com/office/drawing/2014/main" id="{A52F4548-6589-6745-57A4-6263748021B9}"/>
                </a:ext>
              </a:extLst>
            </p:cNvPr>
            <p:cNvSpPr/>
            <p:nvPr/>
          </p:nvSpPr>
          <p:spPr>
            <a:xfrm>
              <a:off x="6252019" y="3158184"/>
              <a:ext cx="81486" cy="91615"/>
            </a:xfrm>
            <a:custGeom>
              <a:avLst/>
              <a:gdLst>
                <a:gd name="connsiteX0" fmla="*/ 79251 w 81486"/>
                <a:gd name="connsiteY0" fmla="*/ 32911 h 91615"/>
                <a:gd name="connsiteX1" fmla="*/ 47135 w 81486"/>
                <a:gd name="connsiteY1" fmla="*/ 1953 h 91615"/>
                <a:gd name="connsiteX2" fmla="*/ 45674 w 81486"/>
                <a:gd name="connsiteY2" fmla="*/ 5 h 91615"/>
                <a:gd name="connsiteX3" fmla="*/ 4052 w 81486"/>
                <a:gd name="connsiteY3" fmla="*/ 28366 h 91615"/>
                <a:gd name="connsiteX4" fmla="*/ 12996 w 81486"/>
                <a:gd name="connsiteY4" fmla="*/ 82652 h 91615"/>
                <a:gd name="connsiteX5" fmla="*/ 64819 w 81486"/>
                <a:gd name="connsiteY5" fmla="*/ 82234 h 91615"/>
                <a:gd name="connsiteX6" fmla="*/ 79251 w 81486"/>
                <a:gd name="connsiteY6" fmla="*/ 32911 h 91615"/>
                <a:gd name="connsiteX7" fmla="*/ 42458 w 81486"/>
                <a:gd name="connsiteY7" fmla="*/ 82003 h 91615"/>
                <a:gd name="connsiteX8" fmla="*/ 16373 w 81486"/>
                <a:gd name="connsiteY8" fmla="*/ 71135 h 91615"/>
                <a:gd name="connsiteX9" fmla="*/ 10840 w 81486"/>
                <a:gd name="connsiteY9" fmla="*/ 43663 h 91615"/>
                <a:gd name="connsiteX10" fmla="*/ 34128 w 81486"/>
                <a:gd name="connsiteY10" fmla="*/ 7520 h 91615"/>
                <a:gd name="connsiteX11" fmla="*/ 34458 w 81486"/>
                <a:gd name="connsiteY11" fmla="*/ 7716 h 91615"/>
                <a:gd name="connsiteX12" fmla="*/ 59180 w 81486"/>
                <a:gd name="connsiteY12" fmla="*/ 14991 h 91615"/>
                <a:gd name="connsiteX13" fmla="*/ 73559 w 81486"/>
                <a:gd name="connsiteY13" fmla="*/ 40755 h 91615"/>
                <a:gd name="connsiteX14" fmla="*/ 42458 w 81486"/>
                <a:gd name="connsiteY14" fmla="*/ 82003 h 9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486" h="91615">
                  <a:moveTo>
                    <a:pt x="79251" y="32911"/>
                  </a:moveTo>
                  <a:cubicBezTo>
                    <a:pt x="74957" y="19686"/>
                    <a:pt x="61906" y="5190"/>
                    <a:pt x="47135" y="1953"/>
                  </a:cubicBezTo>
                  <a:cubicBezTo>
                    <a:pt x="47260" y="1063"/>
                    <a:pt x="46752" y="23"/>
                    <a:pt x="45674" y="5"/>
                  </a:cubicBezTo>
                  <a:cubicBezTo>
                    <a:pt x="26992" y="-279"/>
                    <a:pt x="11134" y="11202"/>
                    <a:pt x="4052" y="28366"/>
                  </a:cubicBezTo>
                  <a:cubicBezTo>
                    <a:pt x="-2933" y="45291"/>
                    <a:pt x="-1463" y="69774"/>
                    <a:pt x="12996" y="82652"/>
                  </a:cubicBezTo>
                  <a:cubicBezTo>
                    <a:pt x="27544" y="95610"/>
                    <a:pt x="50102" y="93680"/>
                    <a:pt x="64819" y="82234"/>
                  </a:cubicBezTo>
                  <a:cubicBezTo>
                    <a:pt x="79554" y="70779"/>
                    <a:pt x="84971" y="50538"/>
                    <a:pt x="79251" y="32911"/>
                  </a:cubicBezTo>
                  <a:close/>
                  <a:moveTo>
                    <a:pt x="42458" y="82003"/>
                  </a:moveTo>
                  <a:cubicBezTo>
                    <a:pt x="32489" y="83292"/>
                    <a:pt x="21878" y="79966"/>
                    <a:pt x="16373" y="71135"/>
                  </a:cubicBezTo>
                  <a:cubicBezTo>
                    <a:pt x="11446" y="63220"/>
                    <a:pt x="9967" y="52797"/>
                    <a:pt x="10840" y="43663"/>
                  </a:cubicBezTo>
                  <a:cubicBezTo>
                    <a:pt x="12292" y="28446"/>
                    <a:pt x="20996" y="14653"/>
                    <a:pt x="34128" y="7520"/>
                  </a:cubicBezTo>
                  <a:cubicBezTo>
                    <a:pt x="34262" y="7556"/>
                    <a:pt x="34306" y="7698"/>
                    <a:pt x="34458" y="7716"/>
                  </a:cubicBezTo>
                  <a:cubicBezTo>
                    <a:pt x="43527" y="9023"/>
                    <a:pt x="51385" y="9441"/>
                    <a:pt x="59180" y="14991"/>
                  </a:cubicBezTo>
                  <a:cubicBezTo>
                    <a:pt x="67786" y="21118"/>
                    <a:pt x="72641" y="30314"/>
                    <a:pt x="73559" y="40755"/>
                  </a:cubicBezTo>
                  <a:cubicBezTo>
                    <a:pt x="75278" y="60134"/>
                    <a:pt x="62396" y="79424"/>
                    <a:pt x="42458" y="82003"/>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8" name="Freeform: Shape 117">
              <a:extLst>
                <a:ext uri="{FF2B5EF4-FFF2-40B4-BE49-F238E27FC236}">
                  <a16:creationId xmlns:a16="http://schemas.microsoft.com/office/drawing/2014/main" id="{CF14BCCB-7DC3-6263-3861-DBEF7909D7F6}"/>
                </a:ext>
              </a:extLst>
            </p:cNvPr>
            <p:cNvSpPr/>
            <p:nvPr/>
          </p:nvSpPr>
          <p:spPr>
            <a:xfrm>
              <a:off x="6286341" y="3199236"/>
              <a:ext cx="23057" cy="23854"/>
            </a:xfrm>
            <a:custGeom>
              <a:avLst/>
              <a:gdLst>
                <a:gd name="connsiteX0" fmla="*/ 3824 w 23057"/>
                <a:gd name="connsiteY0" fmla="*/ 3322 h 23854"/>
                <a:gd name="connsiteX1" fmla="*/ 1017 w 23057"/>
                <a:gd name="connsiteY1" fmla="*/ 16831 h 23854"/>
                <a:gd name="connsiteX2" fmla="*/ 13294 w 23057"/>
                <a:gd name="connsiteY2" fmla="*/ 23670 h 23854"/>
                <a:gd name="connsiteX3" fmla="*/ 23031 w 23057"/>
                <a:gd name="connsiteY3" fmla="*/ 12713 h 23854"/>
                <a:gd name="connsiteX4" fmla="*/ 22907 w 23057"/>
                <a:gd name="connsiteY4" fmla="*/ 11068 h 23854"/>
                <a:gd name="connsiteX5" fmla="*/ 16234 w 23057"/>
                <a:gd name="connsiteY5" fmla="*/ 1267 h 23854"/>
                <a:gd name="connsiteX6" fmla="*/ 3824 w 23057"/>
                <a:gd name="connsiteY6" fmla="*/ 3322 h 23854"/>
                <a:gd name="connsiteX7" fmla="*/ 3824 w 23057"/>
                <a:gd name="connsiteY7" fmla="*/ 3322 h 2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57" h="23854">
                  <a:moveTo>
                    <a:pt x="3824" y="3322"/>
                  </a:moveTo>
                  <a:cubicBezTo>
                    <a:pt x="599" y="6701"/>
                    <a:pt x="-1281" y="12447"/>
                    <a:pt x="1017" y="16831"/>
                  </a:cubicBezTo>
                  <a:cubicBezTo>
                    <a:pt x="3601" y="22710"/>
                    <a:pt x="8670" y="24479"/>
                    <a:pt x="13294" y="23670"/>
                  </a:cubicBezTo>
                  <a:cubicBezTo>
                    <a:pt x="18675" y="22718"/>
                    <a:pt x="23459" y="18272"/>
                    <a:pt x="23031" y="12713"/>
                  </a:cubicBezTo>
                  <a:cubicBezTo>
                    <a:pt x="23022" y="12624"/>
                    <a:pt x="23067" y="13798"/>
                    <a:pt x="22907" y="11068"/>
                  </a:cubicBezTo>
                  <a:cubicBezTo>
                    <a:pt x="22666" y="6986"/>
                    <a:pt x="19895" y="3171"/>
                    <a:pt x="16234" y="1267"/>
                  </a:cubicBezTo>
                  <a:cubicBezTo>
                    <a:pt x="12448" y="-707"/>
                    <a:pt x="7699" y="-627"/>
                    <a:pt x="3824" y="3322"/>
                  </a:cubicBezTo>
                  <a:lnTo>
                    <a:pt x="3824" y="3322"/>
                  </a:lnTo>
                  <a:close/>
                </a:path>
              </a:pathLst>
            </a:custGeom>
            <a:solidFill>
              <a:srgbClr val="16180A"/>
            </a:solidFill>
            <a:ln w="8863" cap="flat">
              <a:noFill/>
              <a:prstDash val="solid"/>
              <a:miter/>
            </a:ln>
          </p:spPr>
          <p:txBody>
            <a:bodyPr rtlCol="0" anchor="ctr"/>
            <a:lstStyle/>
            <a:p>
              <a:endParaRPr lang="en-GB">
                <a:solidFill>
                  <a:schemeClr val="bg1"/>
                </a:solidFill>
              </a:endParaRPr>
            </a:p>
          </p:txBody>
        </p:sp>
        <p:sp>
          <p:nvSpPr>
            <p:cNvPr id="119" name="Freeform: Shape 118">
              <a:extLst>
                <a:ext uri="{FF2B5EF4-FFF2-40B4-BE49-F238E27FC236}">
                  <a16:creationId xmlns:a16="http://schemas.microsoft.com/office/drawing/2014/main" id="{CF816F7E-2105-29C6-1B76-B4CA29F134FE}"/>
                </a:ext>
              </a:extLst>
            </p:cNvPr>
            <p:cNvSpPr/>
            <p:nvPr/>
          </p:nvSpPr>
          <p:spPr>
            <a:xfrm>
              <a:off x="6205538" y="3334894"/>
              <a:ext cx="40335" cy="55585"/>
            </a:xfrm>
            <a:custGeom>
              <a:avLst/>
              <a:gdLst>
                <a:gd name="connsiteX0" fmla="*/ 40190 w 40335"/>
                <a:gd name="connsiteY0" fmla="*/ 6420 h 55585"/>
                <a:gd name="connsiteX1" fmla="*/ 14888 w 40335"/>
                <a:gd name="connsiteY1" fmla="*/ 9124 h 55585"/>
                <a:gd name="connsiteX2" fmla="*/ 403 w 40335"/>
                <a:gd name="connsiteY2" fmla="*/ 42101 h 55585"/>
                <a:gd name="connsiteX3" fmla="*/ 24225 w 40335"/>
                <a:gd name="connsiteY3" fmla="*/ 52995 h 55585"/>
                <a:gd name="connsiteX4" fmla="*/ 31771 w 40335"/>
                <a:gd name="connsiteY4" fmla="*/ 34932 h 55585"/>
                <a:gd name="connsiteX5" fmla="*/ 32804 w 40335"/>
                <a:gd name="connsiteY5" fmla="*/ 13713 h 55585"/>
                <a:gd name="connsiteX6" fmla="*/ 31307 w 40335"/>
                <a:gd name="connsiteY6" fmla="*/ 12041 h 55585"/>
                <a:gd name="connsiteX7" fmla="*/ 37668 w 40335"/>
                <a:gd name="connsiteY7" fmla="*/ 10858 h 55585"/>
                <a:gd name="connsiteX8" fmla="*/ 40190 w 40335"/>
                <a:gd name="connsiteY8" fmla="*/ 6420 h 55585"/>
                <a:gd name="connsiteX9" fmla="*/ 16394 w 40335"/>
                <a:gd name="connsiteY9" fmla="*/ 41434 h 55585"/>
                <a:gd name="connsiteX10" fmla="*/ 13997 w 40335"/>
                <a:gd name="connsiteY10" fmla="*/ 35030 h 55585"/>
                <a:gd name="connsiteX11" fmla="*/ 19467 w 40335"/>
                <a:gd name="connsiteY11" fmla="*/ 23371 h 55585"/>
                <a:gd name="connsiteX12" fmla="*/ 18202 w 40335"/>
                <a:gd name="connsiteY12" fmla="*/ 31188 h 55585"/>
                <a:gd name="connsiteX13" fmla="*/ 16394 w 40335"/>
                <a:gd name="connsiteY13" fmla="*/ 41434 h 5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5" h="55585">
                  <a:moveTo>
                    <a:pt x="40190" y="6420"/>
                  </a:moveTo>
                  <a:cubicBezTo>
                    <a:pt x="36234" y="-6511"/>
                    <a:pt x="20519" y="3103"/>
                    <a:pt x="14888" y="9124"/>
                  </a:cubicBezTo>
                  <a:cubicBezTo>
                    <a:pt x="7102" y="17439"/>
                    <a:pt x="-2038" y="30005"/>
                    <a:pt x="403" y="42101"/>
                  </a:cubicBezTo>
                  <a:cubicBezTo>
                    <a:pt x="2452" y="52284"/>
                    <a:pt x="15040" y="59754"/>
                    <a:pt x="24225" y="52995"/>
                  </a:cubicBezTo>
                  <a:cubicBezTo>
                    <a:pt x="29953" y="48780"/>
                    <a:pt x="30577" y="41398"/>
                    <a:pt x="31771" y="34932"/>
                  </a:cubicBezTo>
                  <a:cubicBezTo>
                    <a:pt x="33071" y="27907"/>
                    <a:pt x="36056" y="20392"/>
                    <a:pt x="32804" y="13713"/>
                  </a:cubicBezTo>
                  <a:cubicBezTo>
                    <a:pt x="32448" y="12974"/>
                    <a:pt x="31904" y="12459"/>
                    <a:pt x="31307" y="12041"/>
                  </a:cubicBezTo>
                  <a:cubicBezTo>
                    <a:pt x="33401" y="11569"/>
                    <a:pt x="35637" y="11525"/>
                    <a:pt x="37668" y="10858"/>
                  </a:cubicBezTo>
                  <a:cubicBezTo>
                    <a:pt x="39477" y="10271"/>
                    <a:pt x="40786" y="8368"/>
                    <a:pt x="40190" y="6420"/>
                  </a:cubicBezTo>
                  <a:close/>
                  <a:moveTo>
                    <a:pt x="16394" y="41434"/>
                  </a:moveTo>
                  <a:cubicBezTo>
                    <a:pt x="13686" y="42981"/>
                    <a:pt x="13926" y="35404"/>
                    <a:pt x="13997" y="35030"/>
                  </a:cubicBezTo>
                  <a:cubicBezTo>
                    <a:pt x="14790" y="31019"/>
                    <a:pt x="16991" y="26991"/>
                    <a:pt x="19467" y="23371"/>
                  </a:cubicBezTo>
                  <a:cubicBezTo>
                    <a:pt x="19004" y="26030"/>
                    <a:pt x="18666" y="28725"/>
                    <a:pt x="18202" y="31188"/>
                  </a:cubicBezTo>
                  <a:cubicBezTo>
                    <a:pt x="18042" y="31971"/>
                    <a:pt x="17196" y="40980"/>
                    <a:pt x="16394" y="41434"/>
                  </a:cubicBezTo>
                  <a:close/>
                </a:path>
              </a:pathLst>
            </a:custGeom>
            <a:solidFill>
              <a:srgbClr val="16180A"/>
            </a:solidFill>
            <a:ln w="8863" cap="flat">
              <a:noFill/>
              <a:prstDash val="solid"/>
              <a:miter/>
            </a:ln>
          </p:spPr>
          <p:txBody>
            <a:bodyPr rtlCol="0" anchor="ctr"/>
            <a:lstStyle/>
            <a:p>
              <a:endParaRPr lang="en-GB">
                <a:solidFill>
                  <a:schemeClr val="bg1"/>
                </a:solidFill>
              </a:endParaRPr>
            </a:p>
          </p:txBody>
        </p:sp>
      </p:grpSp>
      <p:sp>
        <p:nvSpPr>
          <p:cNvPr id="121" name="TextBox 120">
            <a:extLst>
              <a:ext uri="{FF2B5EF4-FFF2-40B4-BE49-F238E27FC236}">
                <a16:creationId xmlns:a16="http://schemas.microsoft.com/office/drawing/2014/main" id="{DFC509CD-4B08-5EB6-A6B3-81381CB9C0DC}"/>
              </a:ext>
            </a:extLst>
          </p:cNvPr>
          <p:cNvSpPr txBox="1"/>
          <p:nvPr/>
        </p:nvSpPr>
        <p:spPr>
          <a:xfrm>
            <a:off x="3459480" y="1496408"/>
            <a:ext cx="8092440" cy="4247317"/>
          </a:xfrm>
          <a:prstGeom prst="rect">
            <a:avLst/>
          </a:prstGeom>
          <a:noFill/>
        </p:spPr>
        <p:txBody>
          <a:bodyPr wrap="square" rtlCol="0">
            <a:spAutoFit/>
          </a:bodyPr>
          <a:lstStyle/>
          <a:p>
            <a:r>
              <a:rPr lang="en-US" dirty="0" err="1">
                <a:solidFill>
                  <a:schemeClr val="bg1"/>
                </a:solidFill>
              </a:rPr>
              <a:t>Orrù</a:t>
            </a:r>
            <a:r>
              <a:rPr lang="en-US" dirty="0">
                <a:solidFill>
                  <a:schemeClr val="bg1"/>
                </a:solidFill>
              </a:rPr>
              <a:t>, G., et al. (2020). Machine learning in psychiatry: A systematic review. Neuroscience &amp; Biobehavioral Reviews, 36(1), 58–70.</a:t>
            </a:r>
          </a:p>
          <a:p>
            <a:endParaRPr lang="en-US" dirty="0">
              <a:solidFill>
                <a:schemeClr val="bg1"/>
              </a:solidFill>
            </a:endParaRPr>
          </a:p>
          <a:p>
            <a:r>
              <a:rPr lang="en-US" dirty="0">
                <a:solidFill>
                  <a:schemeClr val="bg1"/>
                </a:solidFill>
              </a:rPr>
              <a:t>Lewis, D.A. and Lieberman, J.A. (2000) Review Catching Up on Schizophrenia: Natural History and Neurobiology </a:t>
            </a:r>
            <a:r>
              <a:rPr lang="en-US" dirty="0" err="1">
                <a:solidFill>
                  <a:schemeClr val="bg1"/>
                </a:solidFill>
              </a:rPr>
              <a:t>diac</a:t>
            </a:r>
            <a:r>
              <a:rPr lang="en-US" dirty="0">
                <a:solidFill>
                  <a:schemeClr val="bg1"/>
                </a:solidFill>
              </a:rPr>
              <a:t> malformations, and a distinctive facial appearance), which carries a substantially increased risk of </a:t>
            </a:r>
            <a:r>
              <a:rPr lang="en-US" dirty="0" err="1">
                <a:solidFill>
                  <a:schemeClr val="bg1"/>
                </a:solidFill>
              </a:rPr>
              <a:t>schizo-phrenia</a:t>
            </a:r>
            <a:r>
              <a:rPr lang="en-US" dirty="0">
                <a:solidFill>
                  <a:schemeClr val="bg1"/>
                </a:solidFill>
              </a:rPr>
              <a:t>, although the incidence of bipolar disorder in, Neuron.</a:t>
            </a:r>
          </a:p>
          <a:p>
            <a:endParaRPr lang="en-US" dirty="0">
              <a:solidFill>
                <a:schemeClr val="bg1"/>
              </a:solidFill>
            </a:endParaRPr>
          </a:p>
          <a:p>
            <a:r>
              <a:rPr lang="en-US" dirty="0">
                <a:solidFill>
                  <a:schemeClr val="bg1"/>
                </a:solidFill>
              </a:rPr>
              <a:t>Shearer, C. (2000). The CRISP-DM model: The new blueprint for data mining. Journal of Data Warehousing, 5(4), 13–22.</a:t>
            </a:r>
          </a:p>
          <a:p>
            <a:endParaRPr lang="en-US" dirty="0">
              <a:solidFill>
                <a:schemeClr val="bg1"/>
              </a:solidFill>
            </a:endParaRPr>
          </a:p>
          <a:p>
            <a:r>
              <a:rPr lang="en-US" dirty="0">
                <a:solidFill>
                  <a:schemeClr val="bg1"/>
                </a:solidFill>
              </a:rPr>
              <a:t>Chapman, P., Clinton, J., Kerber, R., </a:t>
            </a:r>
            <a:r>
              <a:rPr lang="en-US" dirty="0" err="1">
                <a:solidFill>
                  <a:schemeClr val="bg1"/>
                </a:solidFill>
              </a:rPr>
              <a:t>Khabaza</a:t>
            </a:r>
            <a:r>
              <a:rPr lang="en-US" dirty="0">
                <a:solidFill>
                  <a:schemeClr val="bg1"/>
                </a:solidFill>
              </a:rPr>
              <a:t>, T., Reinartz, T., Shearer, C. and Wirth, R. (2000) CRISP-DM 1.0: Step-by-step data mining guide. Available at: </a:t>
            </a:r>
            <a:r>
              <a:rPr lang="en-US" dirty="0">
                <a:solidFill>
                  <a:schemeClr val="bg1"/>
                </a:solidFill>
                <a:hlinkClick r:id="rId4"/>
              </a:rPr>
              <a:t>https://mineracaodedados.files.wordpress.com/2012/12/crisp-dm-1-0.pdf</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184735381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287867" y="2155061"/>
            <a:ext cx="116162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Conclusion</a:t>
            </a:r>
          </a:p>
        </p:txBody>
      </p:sp>
      <p:grpSp>
        <p:nvGrpSpPr>
          <p:cNvPr id="3" name="Group 2">
            <a:extLst>
              <a:ext uri="{FF2B5EF4-FFF2-40B4-BE49-F238E27FC236}">
                <a16:creationId xmlns:a16="http://schemas.microsoft.com/office/drawing/2014/main" id="{F64AE096-313A-7BB5-9D79-63383CE3E290}"/>
              </a:ext>
            </a:extLst>
          </p:cNvPr>
          <p:cNvGrpSpPr/>
          <p:nvPr/>
        </p:nvGrpSpPr>
        <p:grpSpPr>
          <a:xfrm>
            <a:off x="259710" y="7600831"/>
            <a:ext cx="11644423" cy="507586"/>
            <a:chOff x="299484" y="407551"/>
            <a:chExt cx="11644423" cy="507586"/>
          </a:xfrm>
        </p:grpSpPr>
        <p:cxnSp>
          <p:nvCxnSpPr>
            <p:cNvPr id="5" name="Straight Connector 4">
              <a:extLst>
                <a:ext uri="{FF2B5EF4-FFF2-40B4-BE49-F238E27FC236}">
                  <a16:creationId xmlns:a16="http://schemas.microsoft.com/office/drawing/2014/main" id="{9E9B3599-19CA-650F-AA1D-E1E7F7B2123F}"/>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11" name="Group 10">
              <a:extLst>
                <a:ext uri="{FF2B5EF4-FFF2-40B4-BE49-F238E27FC236}">
                  <a16:creationId xmlns:a16="http://schemas.microsoft.com/office/drawing/2014/main" id="{7EB3C5CB-EFEC-04CA-07F4-017875B08FF6}"/>
                </a:ext>
              </a:extLst>
            </p:cNvPr>
            <p:cNvGrpSpPr/>
            <p:nvPr/>
          </p:nvGrpSpPr>
          <p:grpSpPr>
            <a:xfrm>
              <a:off x="5842207" y="407551"/>
              <a:ext cx="507586" cy="507586"/>
              <a:chOff x="6702859" y="2190514"/>
              <a:chExt cx="507586" cy="507586"/>
            </a:xfrm>
          </p:grpSpPr>
          <p:sp useBgFill="1">
            <p:nvSpPr>
              <p:cNvPr id="12" name="Oval 11">
                <a:extLst>
                  <a:ext uri="{FF2B5EF4-FFF2-40B4-BE49-F238E27FC236}">
                    <a16:creationId xmlns:a16="http://schemas.microsoft.com/office/drawing/2014/main" id="{F5733644-55DB-B88A-56A0-16075F341D1C}"/>
                  </a:ext>
                </a:extLst>
              </p:cNvPr>
              <p:cNvSpPr/>
              <p:nvPr/>
            </p:nvSpPr>
            <p:spPr>
              <a:xfrm>
                <a:off x="6702859" y="219051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3" name="Graphic 12">
                <a:extLst>
                  <a:ext uri="{FF2B5EF4-FFF2-40B4-BE49-F238E27FC236}">
                    <a16:creationId xmlns:a16="http://schemas.microsoft.com/office/drawing/2014/main" id="{952DA3CF-20E9-7CE4-55E3-1A0057DAE5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29280" y="2300921"/>
                <a:ext cx="252000" cy="252000"/>
              </a:xfrm>
              <a:prstGeom prst="rect">
                <a:avLst/>
              </a:prstGeom>
            </p:spPr>
          </p:pic>
        </p:grpSp>
      </p:grpSp>
      <p:grpSp>
        <p:nvGrpSpPr>
          <p:cNvPr id="14" name="Group 13">
            <a:extLst>
              <a:ext uri="{FF2B5EF4-FFF2-40B4-BE49-F238E27FC236}">
                <a16:creationId xmlns:a16="http://schemas.microsoft.com/office/drawing/2014/main" id="{88E328D5-9E7B-5D3F-0D4E-42123D2397C0}"/>
              </a:ext>
            </a:extLst>
          </p:cNvPr>
          <p:cNvGrpSpPr/>
          <p:nvPr/>
        </p:nvGrpSpPr>
        <p:grpSpPr>
          <a:xfrm>
            <a:off x="697994" y="8683372"/>
            <a:ext cx="10331972" cy="3877816"/>
            <a:chOff x="737768" y="1490092"/>
            <a:chExt cx="10331972" cy="3877816"/>
          </a:xfrm>
        </p:grpSpPr>
        <p:pic>
          <p:nvPicPr>
            <p:cNvPr id="15" name="Picture 14">
              <a:extLst>
                <a:ext uri="{FF2B5EF4-FFF2-40B4-BE49-F238E27FC236}">
                  <a16:creationId xmlns:a16="http://schemas.microsoft.com/office/drawing/2014/main" id="{724CCB3A-7EA1-604A-1C26-1292F2145590}"/>
                </a:ext>
              </a:extLst>
            </p:cNvPr>
            <p:cNvPicPr>
              <a:picLocks noChangeAspect="1"/>
            </p:cNvPicPr>
            <p:nvPr/>
          </p:nvPicPr>
          <p:blipFill>
            <a:blip r:embed="rId4">
              <a:extLst>
                <a:ext uri="{28A0092B-C50C-407E-A947-70E740481C1C}">
                  <a14:useLocalDpi xmlns:a14="http://schemas.microsoft.com/office/drawing/2010/main" val="0"/>
                </a:ext>
              </a:extLst>
            </a:blip>
            <a:srcRect l="35809" b="953"/>
            <a:stretch/>
          </p:blipFill>
          <p:spPr>
            <a:xfrm>
              <a:off x="7299960" y="1490092"/>
              <a:ext cx="3769780" cy="3877816"/>
            </a:xfrm>
            <a:prstGeom prst="roundRect">
              <a:avLst>
                <a:gd name="adj" fmla="val 16667"/>
              </a:avLst>
            </a:prstGeom>
            <a:ln>
              <a:noFill/>
            </a:ln>
            <a:effectLst>
              <a:glow rad="508000">
                <a:schemeClr val="accent4">
                  <a:satMod val="175000"/>
                  <a:alpha val="40000"/>
                </a:schemeClr>
              </a:glow>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6" name="TextBox 15">
              <a:extLst>
                <a:ext uri="{FF2B5EF4-FFF2-40B4-BE49-F238E27FC236}">
                  <a16:creationId xmlns:a16="http://schemas.microsoft.com/office/drawing/2014/main" id="{ABBCBD4E-9E49-04DB-05B3-C790D493E757}"/>
                </a:ext>
              </a:extLst>
            </p:cNvPr>
            <p:cNvSpPr txBox="1"/>
            <p:nvPr/>
          </p:nvSpPr>
          <p:spPr>
            <a:xfrm>
              <a:off x="737768" y="1659285"/>
              <a:ext cx="5356860" cy="3108543"/>
            </a:xfrm>
            <a:prstGeom prst="rect">
              <a:avLst/>
            </a:prstGeom>
            <a:noFill/>
          </p:spPr>
          <p:txBody>
            <a:bodyPr wrap="square" rtlCol="0">
              <a:spAutoFit/>
            </a:bodyPr>
            <a:lstStyle/>
            <a:p>
              <a:r>
                <a:rPr lang="en-US" sz="2800" dirty="0">
                  <a:solidFill>
                    <a:schemeClr val="bg1"/>
                  </a:solidFill>
                </a:rPr>
                <a:t>Successfully developed an interpretable logistic regression model for early schizophrenia detection.</a:t>
              </a:r>
            </a:p>
            <a:p>
              <a:endParaRPr lang="en-US" sz="2800" dirty="0">
                <a:solidFill>
                  <a:schemeClr val="bg1"/>
                </a:solidFill>
              </a:endParaRPr>
            </a:p>
            <a:p>
              <a:r>
                <a:rPr lang="en-US" sz="2800" dirty="0">
                  <a:solidFill>
                    <a:schemeClr val="bg1"/>
                  </a:solidFill>
                </a:rPr>
                <a:t>Early intervention can significantly improve patient outcomes.</a:t>
              </a:r>
            </a:p>
          </p:txBody>
        </p:sp>
      </p:grpSp>
    </p:spTree>
    <p:extLst>
      <p:ext uri="{BB962C8B-B14F-4D97-AF65-F5344CB8AC3E}">
        <p14:creationId xmlns:p14="http://schemas.microsoft.com/office/powerpoint/2010/main" val="32349843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0">
        <p159:morph option="byObject"/>
      </p:transition>
    </mc:Choice>
    <mc:Fallback xmlns="">
      <p:transition spd="slow" advTm="0">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49201F-4C62-73C1-5D02-47FC1133D852}"/>
              </a:ext>
            </a:extLst>
          </p:cNvPr>
          <p:cNvSpPr txBox="1"/>
          <p:nvPr/>
        </p:nvSpPr>
        <p:spPr>
          <a:xfrm>
            <a:off x="299484" y="407551"/>
            <a:ext cx="1025922" cy="185564"/>
          </a:xfrm>
          <a:prstGeom prst="rect">
            <a:avLst/>
          </a:prstGeom>
          <a:noFill/>
        </p:spPr>
        <p:txBody>
          <a:bodyPr wrap="none" lIns="0" tIns="0" rIns="0" bIns="0" rtlCol="0">
            <a:spAutoFit/>
          </a:bodyPr>
          <a:lstStyle/>
          <a:p>
            <a:pPr marL="0" marR="0" lvl="0" indent="0" defTabSz="914400" rtl="0" eaLnBrk="1" fontAlgn="auto" latinLnBrk="0" hangingPunct="1">
              <a:lnSpc>
                <a:spcPct val="6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Conclusion</a:t>
            </a:r>
          </a:p>
        </p:txBody>
      </p:sp>
      <p:grpSp>
        <p:nvGrpSpPr>
          <p:cNvPr id="9" name="Group 8">
            <a:extLst>
              <a:ext uri="{FF2B5EF4-FFF2-40B4-BE49-F238E27FC236}">
                <a16:creationId xmlns:a16="http://schemas.microsoft.com/office/drawing/2014/main" id="{213BF3B5-5097-B37C-75E0-3ACC0718A926}"/>
              </a:ext>
            </a:extLst>
          </p:cNvPr>
          <p:cNvGrpSpPr/>
          <p:nvPr/>
        </p:nvGrpSpPr>
        <p:grpSpPr>
          <a:xfrm>
            <a:off x="299484" y="407551"/>
            <a:ext cx="11644423" cy="507586"/>
            <a:chOff x="299484" y="407551"/>
            <a:chExt cx="11644423" cy="507586"/>
          </a:xfrm>
        </p:grpSpPr>
        <p:cxnSp>
          <p:nvCxnSpPr>
            <p:cNvPr id="6" name="Straight Connector 5">
              <a:extLst>
                <a:ext uri="{FF2B5EF4-FFF2-40B4-BE49-F238E27FC236}">
                  <a16:creationId xmlns:a16="http://schemas.microsoft.com/office/drawing/2014/main" id="{DAF469FA-AF7F-70C6-5D0C-057DB7FD6D02}"/>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3" name="Group 2">
              <a:extLst>
                <a:ext uri="{FF2B5EF4-FFF2-40B4-BE49-F238E27FC236}">
                  <a16:creationId xmlns:a16="http://schemas.microsoft.com/office/drawing/2014/main" id="{3193802B-8BC4-CB52-A668-8507DEABA57B}"/>
                </a:ext>
              </a:extLst>
            </p:cNvPr>
            <p:cNvGrpSpPr/>
            <p:nvPr/>
          </p:nvGrpSpPr>
          <p:grpSpPr>
            <a:xfrm>
              <a:off x="5842207" y="407551"/>
              <a:ext cx="507586" cy="507586"/>
              <a:chOff x="6702859" y="2190514"/>
              <a:chExt cx="507586" cy="507586"/>
            </a:xfrm>
          </p:grpSpPr>
          <p:sp useBgFill="1">
            <p:nvSpPr>
              <p:cNvPr id="4" name="Oval 3">
                <a:extLst>
                  <a:ext uri="{FF2B5EF4-FFF2-40B4-BE49-F238E27FC236}">
                    <a16:creationId xmlns:a16="http://schemas.microsoft.com/office/drawing/2014/main" id="{964D9525-DB1C-ADB2-C5AA-E43775395904}"/>
                  </a:ext>
                </a:extLst>
              </p:cNvPr>
              <p:cNvSpPr/>
              <p:nvPr/>
            </p:nvSpPr>
            <p:spPr>
              <a:xfrm>
                <a:off x="6702859" y="2190514"/>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5" name="Graphic 4">
                <a:extLst>
                  <a:ext uri="{FF2B5EF4-FFF2-40B4-BE49-F238E27FC236}">
                    <a16:creationId xmlns:a16="http://schemas.microsoft.com/office/drawing/2014/main" id="{51D0D9C6-B8D2-EF9B-927E-DDDC069824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9280" y="2300921"/>
                <a:ext cx="252000" cy="252000"/>
              </a:xfrm>
              <a:prstGeom prst="rect">
                <a:avLst/>
              </a:prstGeom>
            </p:spPr>
          </p:pic>
        </p:grpSp>
      </p:grpSp>
      <p:grpSp>
        <p:nvGrpSpPr>
          <p:cNvPr id="14" name="Group 13">
            <a:extLst>
              <a:ext uri="{FF2B5EF4-FFF2-40B4-BE49-F238E27FC236}">
                <a16:creationId xmlns:a16="http://schemas.microsoft.com/office/drawing/2014/main" id="{BB7AFFB5-157A-62A1-A46F-A58095F0CC69}"/>
              </a:ext>
            </a:extLst>
          </p:cNvPr>
          <p:cNvGrpSpPr/>
          <p:nvPr/>
        </p:nvGrpSpPr>
        <p:grpSpPr>
          <a:xfrm>
            <a:off x="737768" y="1490092"/>
            <a:ext cx="10331972" cy="3877816"/>
            <a:chOff x="737768" y="1490092"/>
            <a:chExt cx="10331972" cy="3877816"/>
          </a:xfrm>
        </p:grpSpPr>
        <p:pic>
          <p:nvPicPr>
            <p:cNvPr id="8" name="Picture 7">
              <a:extLst>
                <a:ext uri="{FF2B5EF4-FFF2-40B4-BE49-F238E27FC236}">
                  <a16:creationId xmlns:a16="http://schemas.microsoft.com/office/drawing/2014/main" id="{59F7C853-632A-5048-ABDF-3B9CC2138E65}"/>
                </a:ext>
              </a:extLst>
            </p:cNvPr>
            <p:cNvPicPr>
              <a:picLocks noChangeAspect="1"/>
            </p:cNvPicPr>
            <p:nvPr/>
          </p:nvPicPr>
          <p:blipFill>
            <a:blip r:embed="rId5">
              <a:extLst>
                <a:ext uri="{28A0092B-C50C-407E-A947-70E740481C1C}">
                  <a14:useLocalDpi xmlns:a14="http://schemas.microsoft.com/office/drawing/2010/main" val="0"/>
                </a:ext>
              </a:extLst>
            </a:blip>
            <a:srcRect l="35809" b="953"/>
            <a:stretch/>
          </p:blipFill>
          <p:spPr>
            <a:xfrm>
              <a:off x="7299960" y="1490092"/>
              <a:ext cx="3769780" cy="3877816"/>
            </a:xfrm>
            <a:prstGeom prst="roundRect">
              <a:avLst>
                <a:gd name="adj" fmla="val 16667"/>
              </a:avLst>
            </a:prstGeom>
            <a:ln>
              <a:noFill/>
            </a:ln>
            <a:effectLst>
              <a:glow rad="508000">
                <a:schemeClr val="accent4">
                  <a:satMod val="175000"/>
                  <a:alpha val="40000"/>
                </a:schemeClr>
              </a:glow>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3" name="TextBox 12">
              <a:extLst>
                <a:ext uri="{FF2B5EF4-FFF2-40B4-BE49-F238E27FC236}">
                  <a16:creationId xmlns:a16="http://schemas.microsoft.com/office/drawing/2014/main" id="{49D8D41F-8B3F-EF5B-8BB3-02668FC7153B}"/>
                </a:ext>
              </a:extLst>
            </p:cNvPr>
            <p:cNvSpPr txBox="1"/>
            <p:nvPr/>
          </p:nvSpPr>
          <p:spPr>
            <a:xfrm>
              <a:off x="737768" y="1659285"/>
              <a:ext cx="5356860" cy="3108543"/>
            </a:xfrm>
            <a:prstGeom prst="rect">
              <a:avLst/>
            </a:prstGeom>
            <a:noFill/>
          </p:spPr>
          <p:txBody>
            <a:bodyPr wrap="square" rtlCol="0">
              <a:spAutoFit/>
            </a:bodyPr>
            <a:lstStyle/>
            <a:p>
              <a:r>
                <a:rPr lang="en-US" sz="2800" dirty="0">
                  <a:solidFill>
                    <a:schemeClr val="bg1"/>
                  </a:solidFill>
                </a:rPr>
                <a:t>Successfully developed an interpretable logistic regression model for early schizophrenia detection.</a:t>
              </a:r>
            </a:p>
            <a:p>
              <a:endParaRPr lang="en-US" sz="2800" dirty="0">
                <a:solidFill>
                  <a:schemeClr val="bg1"/>
                </a:solidFill>
              </a:endParaRPr>
            </a:p>
            <a:p>
              <a:r>
                <a:rPr lang="en-US" sz="2800" dirty="0">
                  <a:solidFill>
                    <a:schemeClr val="bg1"/>
                  </a:solidFill>
                </a:rPr>
                <a:t>Early intervention can significantly improve patient outcomes.</a:t>
              </a:r>
            </a:p>
          </p:txBody>
        </p:sp>
      </p:grpSp>
    </p:spTree>
    <p:extLst>
      <p:ext uri="{BB962C8B-B14F-4D97-AF65-F5344CB8AC3E}">
        <p14:creationId xmlns:p14="http://schemas.microsoft.com/office/powerpoint/2010/main" val="19182050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1A483-485D-D645-F01D-6A5266762088}"/>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D2C305F1-18C9-11FB-8C05-37376396F186}"/>
              </a:ext>
            </a:extLst>
          </p:cNvPr>
          <p:cNvGrpSpPr/>
          <p:nvPr/>
        </p:nvGrpSpPr>
        <p:grpSpPr>
          <a:xfrm>
            <a:off x="299484" y="831805"/>
            <a:ext cx="11540175" cy="5228203"/>
            <a:chOff x="299484" y="831805"/>
            <a:chExt cx="11540175" cy="5228203"/>
          </a:xfrm>
        </p:grpSpPr>
        <p:sp>
          <p:nvSpPr>
            <p:cNvPr id="22" name="TextBox 21">
              <a:extLst>
                <a:ext uri="{FF2B5EF4-FFF2-40B4-BE49-F238E27FC236}">
                  <a16:creationId xmlns:a16="http://schemas.microsoft.com/office/drawing/2014/main" id="{CD9BE111-63B2-D790-F90B-4235E87F6936}"/>
                </a:ext>
              </a:extLst>
            </p:cNvPr>
            <p:cNvSpPr txBox="1"/>
            <p:nvPr/>
          </p:nvSpPr>
          <p:spPr>
            <a:xfrm>
              <a:off x="3558027" y="3146584"/>
              <a:ext cx="5331977" cy="938077"/>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4800" dirty="0">
                  <a:effectLst>
                    <a:glow rad="139700">
                      <a:schemeClr val="accent6">
                        <a:satMod val="175000"/>
                        <a:alpha val="40000"/>
                      </a:schemeClr>
                    </a:glow>
                  </a:effectLst>
                </a:rPr>
                <a:t>Problem Statement &amp; Background</a:t>
              </a:r>
            </a:p>
          </p:txBody>
        </p:sp>
        <p:grpSp>
          <p:nvGrpSpPr>
            <p:cNvPr id="64" name="Group 63">
              <a:extLst>
                <a:ext uri="{FF2B5EF4-FFF2-40B4-BE49-F238E27FC236}">
                  <a16:creationId xmlns:a16="http://schemas.microsoft.com/office/drawing/2014/main" id="{F7A89B3E-D737-B093-516B-ACB7B2D807B5}"/>
                </a:ext>
              </a:extLst>
            </p:cNvPr>
            <p:cNvGrpSpPr/>
            <p:nvPr/>
          </p:nvGrpSpPr>
          <p:grpSpPr>
            <a:xfrm>
              <a:off x="359444" y="909836"/>
              <a:ext cx="3733402" cy="1920950"/>
              <a:chOff x="359444" y="909836"/>
              <a:chExt cx="3733402" cy="1920950"/>
            </a:xfrm>
          </p:grpSpPr>
          <p:sp>
            <p:nvSpPr>
              <p:cNvPr id="58" name="Rectangle: Rounded Corners 57">
                <a:extLst>
                  <a:ext uri="{FF2B5EF4-FFF2-40B4-BE49-F238E27FC236}">
                    <a16:creationId xmlns:a16="http://schemas.microsoft.com/office/drawing/2014/main" id="{32D357CF-8AF0-B8AA-C750-B067513CF35D}"/>
                  </a:ext>
                </a:extLst>
              </p:cNvPr>
              <p:cNvSpPr/>
              <p:nvPr/>
            </p:nvSpPr>
            <p:spPr>
              <a:xfrm>
                <a:off x="359444" y="909836"/>
                <a:ext cx="3733402" cy="1920950"/>
              </a:xfrm>
              <a:prstGeom prst="roundRect">
                <a:avLst>
                  <a:gd name="adj" fmla="val 12077"/>
                </a:avLst>
              </a:prstGeom>
              <a:solidFill>
                <a:schemeClr val="bg1">
                  <a:alpha val="70000"/>
                </a:schemeClr>
              </a:solidFill>
              <a:ln w="6350">
                <a:solidFill>
                  <a:schemeClr val="bg1"/>
                </a:solidFill>
              </a:ln>
              <a:effectLst>
                <a:outerShdw blurRad="1270000" dir="2760000" sx="91000" sy="91000" algn="ctr" rotWithShape="0">
                  <a:schemeClr val="bg1"/>
                </a:outerShdw>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62" name="TextBox 61">
                <a:extLst>
                  <a:ext uri="{FF2B5EF4-FFF2-40B4-BE49-F238E27FC236}">
                    <a16:creationId xmlns:a16="http://schemas.microsoft.com/office/drawing/2014/main" id="{D5D9F685-FDB0-8736-1871-FCA90E590BB6}"/>
                  </a:ext>
                </a:extLst>
              </p:cNvPr>
              <p:cNvSpPr txBox="1"/>
              <p:nvPr/>
            </p:nvSpPr>
            <p:spPr>
              <a:xfrm>
                <a:off x="543549" y="1567368"/>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chemeClr val="accent6">
                        <a:lumMod val="75000"/>
                      </a:schemeClr>
                    </a:solidFill>
                    <a:effectLst/>
                  </a:rPr>
                  <a:t>24M+ people affected globally (WHO)</a:t>
                </a:r>
                <a:endParaRPr lang="en-US" sz="2000" dirty="0">
                  <a:solidFill>
                    <a:schemeClr val="accent6">
                      <a:lumMod val="75000"/>
                    </a:schemeClr>
                  </a:solidFill>
                </a:endParaRPr>
              </a:p>
            </p:txBody>
          </p:sp>
        </p:grpSp>
        <p:grpSp>
          <p:nvGrpSpPr>
            <p:cNvPr id="28" name="Group 27">
              <a:extLst>
                <a:ext uri="{FF2B5EF4-FFF2-40B4-BE49-F238E27FC236}">
                  <a16:creationId xmlns:a16="http://schemas.microsoft.com/office/drawing/2014/main" id="{13BFFB47-F0F9-B272-F5B3-6A086D8911D9}"/>
                </a:ext>
              </a:extLst>
            </p:cNvPr>
            <p:cNvGrpSpPr/>
            <p:nvPr/>
          </p:nvGrpSpPr>
          <p:grpSpPr>
            <a:xfrm>
              <a:off x="8106257" y="831805"/>
              <a:ext cx="3733402" cy="1920950"/>
              <a:chOff x="244780" y="755436"/>
              <a:chExt cx="3733402" cy="1920950"/>
            </a:xfrm>
          </p:grpSpPr>
          <p:sp>
            <p:nvSpPr>
              <p:cNvPr id="53" name="Rectangle: Rounded Corners 52">
                <a:extLst>
                  <a:ext uri="{FF2B5EF4-FFF2-40B4-BE49-F238E27FC236}">
                    <a16:creationId xmlns:a16="http://schemas.microsoft.com/office/drawing/2014/main" id="{6C0410C9-8233-5273-DECD-4150086088A2}"/>
                  </a:ext>
                </a:extLst>
              </p:cNvPr>
              <p:cNvSpPr/>
              <p:nvPr/>
            </p:nvSpPr>
            <p:spPr>
              <a:xfrm>
                <a:off x="244780" y="755436"/>
                <a:ext cx="3733402" cy="1920950"/>
              </a:xfrm>
              <a:prstGeom prst="roundRect">
                <a:avLst>
                  <a:gd name="adj" fmla="val 12077"/>
                </a:avLst>
              </a:prstGeom>
              <a:solidFill>
                <a:schemeClr val="bg1">
                  <a:alpha val="70000"/>
                </a:schemeClr>
              </a:solidFill>
              <a:ln w="6350" cap="rnd">
                <a:solidFill>
                  <a:schemeClr val="bg1">
                    <a:alpha val="30000"/>
                  </a:schemeClr>
                </a:solidFill>
                <a:round/>
              </a:ln>
              <a:effectLst>
                <a:outerShdw blurRad="1270000" dist="139700" dir="5880000" sx="107000" sy="107000" algn="ctr" rotWithShape="0">
                  <a:srgbClr val="FFFFFF"/>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57" name="TextBox 56">
                <a:extLst>
                  <a:ext uri="{FF2B5EF4-FFF2-40B4-BE49-F238E27FC236}">
                    <a16:creationId xmlns:a16="http://schemas.microsoft.com/office/drawing/2014/main" id="{DE3BC5F4-F2B7-18B0-DAF7-F3D42F816381}"/>
                  </a:ext>
                </a:extLst>
              </p:cNvPr>
              <p:cNvSpPr txBox="1"/>
              <p:nvPr/>
            </p:nvSpPr>
            <p:spPr>
              <a:xfrm>
                <a:off x="428885" y="1413321"/>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chemeClr val="accent6">
                        <a:lumMod val="75000"/>
                      </a:schemeClr>
                    </a:solidFill>
                  </a:rPr>
                  <a:t>Diagnosis often occurs late which can worsen outcomes</a:t>
                </a:r>
              </a:p>
            </p:txBody>
          </p:sp>
        </p:grpSp>
        <p:grpSp>
          <p:nvGrpSpPr>
            <p:cNvPr id="30" name="Group 29">
              <a:extLst>
                <a:ext uri="{FF2B5EF4-FFF2-40B4-BE49-F238E27FC236}">
                  <a16:creationId xmlns:a16="http://schemas.microsoft.com/office/drawing/2014/main" id="{30E2B333-C608-A2D3-2E50-F2F50F2A3279}"/>
                </a:ext>
              </a:extLst>
            </p:cNvPr>
            <p:cNvGrpSpPr/>
            <p:nvPr/>
          </p:nvGrpSpPr>
          <p:grpSpPr>
            <a:xfrm>
              <a:off x="299484" y="4139058"/>
              <a:ext cx="3733402" cy="1920950"/>
              <a:chOff x="349031" y="1917633"/>
              <a:chExt cx="3733402" cy="1920950"/>
            </a:xfrm>
          </p:grpSpPr>
          <p:sp>
            <p:nvSpPr>
              <p:cNvPr id="43" name="Rectangle: Rounded Corners 42">
                <a:extLst>
                  <a:ext uri="{FF2B5EF4-FFF2-40B4-BE49-F238E27FC236}">
                    <a16:creationId xmlns:a16="http://schemas.microsoft.com/office/drawing/2014/main" id="{DE6CC8A9-DBB4-991C-7992-14A3BA3AAC07}"/>
                  </a:ext>
                </a:extLst>
              </p:cNvPr>
              <p:cNvSpPr/>
              <p:nvPr/>
            </p:nvSpPr>
            <p:spPr>
              <a:xfrm>
                <a:off x="349031" y="1917633"/>
                <a:ext cx="3733402" cy="1920950"/>
              </a:xfrm>
              <a:prstGeom prst="roundRect">
                <a:avLst>
                  <a:gd name="adj" fmla="val 12077"/>
                </a:avLst>
              </a:prstGeom>
              <a:solidFill>
                <a:schemeClr val="bg1">
                  <a:alpha val="70000"/>
                </a:schemeClr>
              </a:solidFill>
              <a:ln w="6350" cap="rnd">
                <a:solidFill>
                  <a:schemeClr val="bg1">
                    <a:alpha val="30000"/>
                  </a:schemeClr>
                </a:solidFill>
                <a:round/>
              </a:ln>
              <a:effectLst>
                <a:outerShdw blurRad="1270000" dir="5640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47" name="TextBox 46">
                <a:extLst>
                  <a:ext uri="{FF2B5EF4-FFF2-40B4-BE49-F238E27FC236}">
                    <a16:creationId xmlns:a16="http://schemas.microsoft.com/office/drawing/2014/main" id="{F16AE424-FDC4-919A-D5D8-84F77EF92BF3}"/>
                  </a:ext>
                </a:extLst>
              </p:cNvPr>
              <p:cNvSpPr txBox="1"/>
              <p:nvPr/>
            </p:nvSpPr>
            <p:spPr>
              <a:xfrm>
                <a:off x="569444" y="2515935"/>
                <a:ext cx="3365192" cy="615553"/>
              </a:xfrm>
              <a:prstGeom prst="rect">
                <a:avLst/>
              </a:prstGeom>
              <a:noFill/>
              <a:effectLst>
                <a:outerShdw blurRad="50800" dist="50800" dir="5400000" sx="121000" sy="121000" algn="ctr" rotWithShape="0">
                  <a:schemeClr val="bg1"/>
                </a:outerShdw>
              </a:effectLst>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chemeClr val="accent6">
                        <a:lumMod val="75000"/>
                      </a:schemeClr>
                    </a:solidFill>
                    <a:effectLst/>
                  </a:rPr>
                  <a:t>Early symptoms are vague causing difficult detection</a:t>
                </a:r>
                <a:endParaRPr lang="en-US" sz="2000" dirty="0">
                  <a:solidFill>
                    <a:schemeClr val="accent6">
                      <a:lumMod val="75000"/>
                    </a:schemeClr>
                  </a:solidFill>
                </a:endParaRPr>
              </a:p>
            </p:txBody>
          </p:sp>
        </p:grpSp>
        <p:grpSp>
          <p:nvGrpSpPr>
            <p:cNvPr id="31" name="Group 30">
              <a:extLst>
                <a:ext uri="{FF2B5EF4-FFF2-40B4-BE49-F238E27FC236}">
                  <a16:creationId xmlns:a16="http://schemas.microsoft.com/office/drawing/2014/main" id="{1C99BAA5-8098-C681-8A6B-314752601479}"/>
                </a:ext>
              </a:extLst>
            </p:cNvPr>
            <p:cNvGrpSpPr/>
            <p:nvPr/>
          </p:nvGrpSpPr>
          <p:grpSpPr>
            <a:xfrm>
              <a:off x="8099156" y="4139058"/>
              <a:ext cx="3733402" cy="1920950"/>
              <a:chOff x="237679" y="1917633"/>
              <a:chExt cx="3733402" cy="1920950"/>
            </a:xfrm>
          </p:grpSpPr>
          <p:sp>
            <p:nvSpPr>
              <p:cNvPr id="38" name="Rectangle: Rounded Corners 37">
                <a:extLst>
                  <a:ext uri="{FF2B5EF4-FFF2-40B4-BE49-F238E27FC236}">
                    <a16:creationId xmlns:a16="http://schemas.microsoft.com/office/drawing/2014/main" id="{1B682AD7-3C8C-DAC5-824B-C057C9CC7470}"/>
                  </a:ext>
                </a:extLst>
              </p:cNvPr>
              <p:cNvSpPr/>
              <p:nvPr/>
            </p:nvSpPr>
            <p:spPr>
              <a:xfrm>
                <a:off x="237679" y="1917633"/>
                <a:ext cx="3733402" cy="1920950"/>
              </a:xfrm>
              <a:prstGeom prst="roundRect">
                <a:avLst>
                  <a:gd name="adj" fmla="val 12077"/>
                </a:avLst>
              </a:prstGeom>
              <a:solidFill>
                <a:schemeClr val="bg1">
                  <a:alpha val="70000"/>
                </a:schemeClr>
              </a:solidFill>
              <a:ln w="6350" cap="rnd">
                <a:solidFill>
                  <a:schemeClr val="bg1">
                    <a:alpha val="30000"/>
                  </a:schemeClr>
                </a:solidFill>
                <a:round/>
              </a:ln>
              <a:effectLst>
                <a:outerShdw blurRad="1270000" dir="203400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lang="en-GB" spc="30" dirty="0">
                  <a:solidFill>
                    <a:srgbClr val="FFFFFF"/>
                  </a:solidFill>
                  <a:latin typeface="Darker Grotesque" pitchFamily="2" charset="0"/>
                  <a:cs typeface="Poppins SemiBold" panose="00000700000000000000" pitchFamily="2" charset="0"/>
                </a:endParaRPr>
              </a:p>
            </p:txBody>
          </p:sp>
          <p:sp>
            <p:nvSpPr>
              <p:cNvPr id="42" name="TextBox 41">
                <a:extLst>
                  <a:ext uri="{FF2B5EF4-FFF2-40B4-BE49-F238E27FC236}">
                    <a16:creationId xmlns:a16="http://schemas.microsoft.com/office/drawing/2014/main" id="{5A12C89B-2D23-E649-B857-DFA650C978D8}"/>
                  </a:ext>
                </a:extLst>
              </p:cNvPr>
              <p:cNvSpPr txBox="1"/>
              <p:nvPr/>
            </p:nvSpPr>
            <p:spPr>
              <a:xfrm>
                <a:off x="445434" y="2570331"/>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pPr algn="ctr"/>
                <a:r>
                  <a:rPr lang="en-US" sz="2000" dirty="0">
                    <a:solidFill>
                      <a:schemeClr val="accent6">
                        <a:lumMod val="75000"/>
                      </a:schemeClr>
                    </a:solidFill>
                  </a:rPr>
                  <a:t>Traditional methods lack predictive accuracy</a:t>
                </a:r>
              </a:p>
            </p:txBody>
          </p:sp>
        </p:grpSp>
      </p:grpSp>
      <p:grpSp>
        <p:nvGrpSpPr>
          <p:cNvPr id="63" name="Group 62">
            <a:extLst>
              <a:ext uri="{FF2B5EF4-FFF2-40B4-BE49-F238E27FC236}">
                <a16:creationId xmlns:a16="http://schemas.microsoft.com/office/drawing/2014/main" id="{9ECB13A4-02BD-8B86-E17E-AC34EBE64780}"/>
              </a:ext>
            </a:extLst>
          </p:cNvPr>
          <p:cNvGrpSpPr/>
          <p:nvPr/>
        </p:nvGrpSpPr>
        <p:grpSpPr>
          <a:xfrm>
            <a:off x="299484" y="407551"/>
            <a:ext cx="11644423" cy="507586"/>
            <a:chOff x="299484" y="407551"/>
            <a:chExt cx="11644423" cy="507586"/>
          </a:xfrm>
        </p:grpSpPr>
        <p:cxnSp>
          <p:nvCxnSpPr>
            <p:cNvPr id="5" name="Straight Connector 4">
              <a:extLst>
                <a:ext uri="{FF2B5EF4-FFF2-40B4-BE49-F238E27FC236}">
                  <a16:creationId xmlns:a16="http://schemas.microsoft.com/office/drawing/2014/main" id="{012BABE6-AFDC-C014-53A3-59222BEB39F8}"/>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3" name="Group 2">
              <a:extLst>
                <a:ext uri="{FF2B5EF4-FFF2-40B4-BE49-F238E27FC236}">
                  <a16:creationId xmlns:a16="http://schemas.microsoft.com/office/drawing/2014/main" id="{89E2644C-D76A-3897-26AF-21E91BF5B55A}"/>
                </a:ext>
              </a:extLst>
            </p:cNvPr>
            <p:cNvGrpSpPr/>
            <p:nvPr/>
          </p:nvGrpSpPr>
          <p:grpSpPr>
            <a:xfrm>
              <a:off x="5842207" y="407551"/>
              <a:ext cx="507586" cy="507586"/>
              <a:chOff x="1985951" y="1841307"/>
              <a:chExt cx="507586" cy="507586"/>
            </a:xfrm>
          </p:grpSpPr>
          <p:sp useBgFill="1">
            <p:nvSpPr>
              <p:cNvPr id="39" name="Oval 38">
                <a:extLst>
                  <a:ext uri="{FF2B5EF4-FFF2-40B4-BE49-F238E27FC236}">
                    <a16:creationId xmlns:a16="http://schemas.microsoft.com/office/drawing/2014/main" id="{8C8D054F-D2E1-5C74-C421-453E512E656E}"/>
                  </a:ext>
                </a:extLst>
              </p:cNvPr>
              <p:cNvSpPr/>
              <p:nvPr/>
            </p:nvSpPr>
            <p:spPr>
              <a:xfrm>
                <a:off x="1985951" y="1841307"/>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 name="Graphic 3">
                <a:extLst>
                  <a:ext uri="{FF2B5EF4-FFF2-40B4-BE49-F238E27FC236}">
                    <a16:creationId xmlns:a16="http://schemas.microsoft.com/office/drawing/2014/main" id="{F3AC12C3-D774-FE5C-56DE-245CCA5822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11728" y="1967084"/>
                <a:ext cx="256032" cy="256032"/>
              </a:xfrm>
              <a:prstGeom prst="rect">
                <a:avLst/>
              </a:prstGeom>
            </p:spPr>
          </p:pic>
        </p:grpSp>
      </p:grpSp>
      <p:sp>
        <p:nvSpPr>
          <p:cNvPr id="60" name="TextBox 59">
            <a:extLst>
              <a:ext uri="{FF2B5EF4-FFF2-40B4-BE49-F238E27FC236}">
                <a16:creationId xmlns:a16="http://schemas.microsoft.com/office/drawing/2014/main" id="{AD927928-9E4B-68D3-E9D8-063E95C13EFB}"/>
              </a:ext>
            </a:extLst>
          </p:cNvPr>
          <p:cNvSpPr txBox="1"/>
          <p:nvPr/>
        </p:nvSpPr>
        <p:spPr>
          <a:xfrm>
            <a:off x="201980" y="349784"/>
            <a:ext cx="1149451"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Overview</a:t>
            </a:r>
            <a:endParaRPr kumimoji="0" lang="en-US" sz="19500" b="0" i="0" u="none" strike="noStrike" kern="0" cap="none" spc="0" normalizeH="0" baseline="0" noProof="0" dirty="0">
              <a:ln>
                <a:noFill/>
              </a:ln>
              <a:solidFill>
                <a:prstClr val="white"/>
              </a:solidFill>
              <a:effectLst/>
              <a:uLnTx/>
              <a:uFillTx/>
              <a:latin typeface="Darker Grotesque" pitchFamily="2" charset="0"/>
            </a:endParaRPr>
          </a:p>
        </p:txBody>
      </p:sp>
    </p:spTree>
    <p:extLst>
      <p:ext uri="{BB962C8B-B14F-4D97-AF65-F5344CB8AC3E}">
        <p14:creationId xmlns:p14="http://schemas.microsoft.com/office/powerpoint/2010/main" val="284611503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59467" y="2155061"/>
            <a:ext cx="8873066" cy="254787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Aim</a:t>
            </a:r>
          </a:p>
        </p:txBody>
      </p:sp>
      <p:grpSp>
        <p:nvGrpSpPr>
          <p:cNvPr id="36" name="Group 35">
            <a:extLst>
              <a:ext uri="{FF2B5EF4-FFF2-40B4-BE49-F238E27FC236}">
                <a16:creationId xmlns:a16="http://schemas.microsoft.com/office/drawing/2014/main" id="{2E438BDD-F576-0884-FA36-C60A25BE4674}"/>
              </a:ext>
            </a:extLst>
          </p:cNvPr>
          <p:cNvGrpSpPr/>
          <p:nvPr/>
        </p:nvGrpSpPr>
        <p:grpSpPr>
          <a:xfrm>
            <a:off x="421404" y="8758225"/>
            <a:ext cx="11657686" cy="4559974"/>
            <a:chOff x="299484" y="1417486"/>
            <a:chExt cx="11657686" cy="4559974"/>
          </a:xfrm>
        </p:grpSpPr>
        <p:grpSp>
          <p:nvGrpSpPr>
            <p:cNvPr id="37" name="Group 36">
              <a:extLst>
                <a:ext uri="{FF2B5EF4-FFF2-40B4-BE49-F238E27FC236}">
                  <a16:creationId xmlns:a16="http://schemas.microsoft.com/office/drawing/2014/main" id="{3EC6FA32-5915-A890-5055-89B5E743B431}"/>
                </a:ext>
              </a:extLst>
            </p:cNvPr>
            <p:cNvGrpSpPr/>
            <p:nvPr/>
          </p:nvGrpSpPr>
          <p:grpSpPr>
            <a:xfrm>
              <a:off x="299484" y="1417486"/>
              <a:ext cx="11644423" cy="4559974"/>
              <a:chOff x="540000" y="-18"/>
              <a:chExt cx="6480000" cy="6858018"/>
            </a:xfrm>
            <a:solidFill>
              <a:schemeClr val="bg1">
                <a:alpha val="0"/>
              </a:schemeClr>
            </a:solidFill>
          </p:grpSpPr>
          <p:sp>
            <p:nvSpPr>
              <p:cNvPr id="43" name="Rectangle 42">
                <a:extLst>
                  <a:ext uri="{FF2B5EF4-FFF2-40B4-BE49-F238E27FC236}">
                    <a16:creationId xmlns:a16="http://schemas.microsoft.com/office/drawing/2014/main" id="{992F7CC9-5030-40F9-648C-1324F5E70C29}"/>
                  </a:ext>
                </a:extLst>
              </p:cNvPr>
              <p:cNvSpPr/>
              <p:nvPr/>
            </p:nvSpPr>
            <p:spPr>
              <a:xfrm>
                <a:off x="540000" y="0"/>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43">
                <a:extLst>
                  <a:ext uri="{FF2B5EF4-FFF2-40B4-BE49-F238E27FC236}">
                    <a16:creationId xmlns:a16="http://schemas.microsoft.com/office/drawing/2014/main" id="{70DA20BE-C60D-D4A9-A597-A42A0595119C}"/>
                  </a:ext>
                </a:extLst>
              </p:cNvPr>
              <p:cNvSpPr/>
              <p:nvPr/>
            </p:nvSpPr>
            <p:spPr>
              <a:xfrm>
                <a:off x="1080000" y="0"/>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83105FEE-7EE6-F647-741E-08457D202C1D}"/>
                  </a:ext>
                </a:extLst>
              </p:cNvPr>
              <p:cNvSpPr/>
              <p:nvPr/>
            </p:nvSpPr>
            <p:spPr>
              <a:xfrm>
                <a:off x="1620000" y="0"/>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Rectangle 45">
                <a:extLst>
                  <a:ext uri="{FF2B5EF4-FFF2-40B4-BE49-F238E27FC236}">
                    <a16:creationId xmlns:a16="http://schemas.microsoft.com/office/drawing/2014/main" id="{AEEEAC4D-CA07-5781-696C-3FD460C36869}"/>
                  </a:ext>
                </a:extLst>
              </p:cNvPr>
              <p:cNvSpPr/>
              <p:nvPr/>
            </p:nvSpPr>
            <p:spPr>
              <a:xfrm>
                <a:off x="2160000" y="-2"/>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90591AAC-6243-4AA0-1CF4-A592C8C17709}"/>
                  </a:ext>
                </a:extLst>
              </p:cNvPr>
              <p:cNvSpPr/>
              <p:nvPr/>
            </p:nvSpPr>
            <p:spPr>
              <a:xfrm>
                <a:off x="2700000" y="-4"/>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016A0C1E-8A56-01C9-80F6-7B7C6326E64A}"/>
                  </a:ext>
                </a:extLst>
              </p:cNvPr>
              <p:cNvSpPr/>
              <p:nvPr/>
            </p:nvSpPr>
            <p:spPr>
              <a:xfrm>
                <a:off x="3240000" y="-6"/>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EE0D8708-F92D-155C-A43F-E5708738F252}"/>
                  </a:ext>
                </a:extLst>
              </p:cNvPr>
              <p:cNvSpPr/>
              <p:nvPr/>
            </p:nvSpPr>
            <p:spPr>
              <a:xfrm>
                <a:off x="3780000" y="-8"/>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tangle 49">
                <a:extLst>
                  <a:ext uri="{FF2B5EF4-FFF2-40B4-BE49-F238E27FC236}">
                    <a16:creationId xmlns:a16="http://schemas.microsoft.com/office/drawing/2014/main" id="{51539A0C-FE66-495B-8CA6-90D7932DCC79}"/>
                  </a:ext>
                </a:extLst>
              </p:cNvPr>
              <p:cNvSpPr/>
              <p:nvPr/>
            </p:nvSpPr>
            <p:spPr>
              <a:xfrm>
                <a:off x="4320000" y="-10"/>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50">
                <a:extLst>
                  <a:ext uri="{FF2B5EF4-FFF2-40B4-BE49-F238E27FC236}">
                    <a16:creationId xmlns:a16="http://schemas.microsoft.com/office/drawing/2014/main" id="{9C7F4BFF-005F-3796-1B69-D6981488CD9A}"/>
                  </a:ext>
                </a:extLst>
              </p:cNvPr>
              <p:cNvSpPr/>
              <p:nvPr/>
            </p:nvSpPr>
            <p:spPr>
              <a:xfrm>
                <a:off x="4860000" y="-12"/>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ectangle 51">
                <a:extLst>
                  <a:ext uri="{FF2B5EF4-FFF2-40B4-BE49-F238E27FC236}">
                    <a16:creationId xmlns:a16="http://schemas.microsoft.com/office/drawing/2014/main" id="{D4E74271-E308-4A2B-7C0F-23062D8CD346}"/>
                  </a:ext>
                </a:extLst>
              </p:cNvPr>
              <p:cNvSpPr/>
              <p:nvPr/>
            </p:nvSpPr>
            <p:spPr>
              <a:xfrm>
                <a:off x="5400000" y="-14"/>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52">
                <a:extLst>
                  <a:ext uri="{FF2B5EF4-FFF2-40B4-BE49-F238E27FC236}">
                    <a16:creationId xmlns:a16="http://schemas.microsoft.com/office/drawing/2014/main" id="{422F6D45-61F0-2894-AAF5-ED2AE2DB8332}"/>
                  </a:ext>
                </a:extLst>
              </p:cNvPr>
              <p:cNvSpPr/>
              <p:nvPr/>
            </p:nvSpPr>
            <p:spPr>
              <a:xfrm>
                <a:off x="5940000" y="-16"/>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53">
                <a:extLst>
                  <a:ext uri="{FF2B5EF4-FFF2-40B4-BE49-F238E27FC236}">
                    <a16:creationId xmlns:a16="http://schemas.microsoft.com/office/drawing/2014/main" id="{D50ED5C1-FFFD-691B-C842-6A4B20BE2B1C}"/>
                  </a:ext>
                </a:extLst>
              </p:cNvPr>
              <p:cNvSpPr/>
              <p:nvPr/>
            </p:nvSpPr>
            <p:spPr>
              <a:xfrm>
                <a:off x="6480000" y="-18"/>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8" name="Rounded Rectangle 26">
              <a:extLst>
                <a:ext uri="{FF2B5EF4-FFF2-40B4-BE49-F238E27FC236}">
                  <a16:creationId xmlns:a16="http://schemas.microsoft.com/office/drawing/2014/main" id="{CF91FCCD-ACF8-442A-2D1B-6109C483CE29}"/>
                </a:ext>
              </a:extLst>
            </p:cNvPr>
            <p:cNvSpPr/>
            <p:nvPr/>
          </p:nvSpPr>
          <p:spPr>
            <a:xfrm>
              <a:off x="568550" y="2556775"/>
              <a:ext cx="3530733"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US" sz="2000" dirty="0">
                  <a:solidFill>
                    <a:srgbClr val="484525"/>
                  </a:solidFill>
                  <a:latin typeface="Darker Grotesque SemiBold" pitchFamily="2" charset="0"/>
                </a:rPr>
                <a:t>Preprocess and Clean Dataset </a:t>
              </a:r>
              <a:endParaRPr lang="en-GB" sz="2000" dirty="0">
                <a:solidFill>
                  <a:srgbClr val="484525"/>
                </a:solidFill>
                <a:latin typeface="Darker Grotesque SemiBold" pitchFamily="2" charset="0"/>
              </a:endParaRPr>
            </a:p>
          </p:txBody>
        </p:sp>
        <p:sp>
          <p:nvSpPr>
            <p:cNvPr id="39" name="Rounded Rectangle 26">
              <a:extLst>
                <a:ext uri="{FF2B5EF4-FFF2-40B4-BE49-F238E27FC236}">
                  <a16:creationId xmlns:a16="http://schemas.microsoft.com/office/drawing/2014/main" id="{C7F79C34-E7DF-C42A-BE89-81FFCC1912F1}"/>
                </a:ext>
              </a:extLst>
            </p:cNvPr>
            <p:cNvSpPr/>
            <p:nvPr/>
          </p:nvSpPr>
          <p:spPr>
            <a:xfrm>
              <a:off x="5360249" y="2566652"/>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GB" sz="2000" dirty="0">
                  <a:solidFill>
                    <a:srgbClr val="484525"/>
                  </a:solidFill>
                  <a:latin typeface="Darker Grotesque SemiBold" pitchFamily="2" charset="0"/>
                </a:rPr>
                <a:t>Develop Dashboard</a:t>
              </a:r>
            </a:p>
          </p:txBody>
        </p:sp>
        <p:sp>
          <p:nvSpPr>
            <p:cNvPr id="40" name="Rounded Rectangle 26">
              <a:extLst>
                <a:ext uri="{FF2B5EF4-FFF2-40B4-BE49-F238E27FC236}">
                  <a16:creationId xmlns:a16="http://schemas.microsoft.com/office/drawing/2014/main" id="{F3FB81C9-6DF4-20A0-F859-B5C19F9321EE}"/>
                </a:ext>
              </a:extLst>
            </p:cNvPr>
            <p:cNvSpPr/>
            <p:nvPr/>
          </p:nvSpPr>
          <p:spPr>
            <a:xfrm>
              <a:off x="9216871" y="2566652"/>
              <a:ext cx="2740299"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US" sz="2000" dirty="0">
                  <a:solidFill>
                    <a:srgbClr val="484525"/>
                  </a:solidFill>
                  <a:latin typeface="Darker Grotesque SemiBold" pitchFamily="2" charset="0"/>
                </a:rPr>
                <a:t>Interpret Results</a:t>
              </a:r>
              <a:endParaRPr lang="en-GB" sz="2000" dirty="0">
                <a:solidFill>
                  <a:srgbClr val="484525"/>
                </a:solidFill>
                <a:latin typeface="Darker Grotesque SemiBold" pitchFamily="2" charset="0"/>
              </a:endParaRPr>
            </a:p>
          </p:txBody>
        </p:sp>
        <p:sp>
          <p:nvSpPr>
            <p:cNvPr id="41" name="Rounded Rectangle 26">
              <a:extLst>
                <a:ext uri="{FF2B5EF4-FFF2-40B4-BE49-F238E27FC236}">
                  <a16:creationId xmlns:a16="http://schemas.microsoft.com/office/drawing/2014/main" id="{0A4FCC73-F3CA-B026-F270-88B9FF1EF2BB}"/>
                </a:ext>
              </a:extLst>
            </p:cNvPr>
            <p:cNvSpPr/>
            <p:nvPr/>
          </p:nvSpPr>
          <p:spPr>
            <a:xfrm>
              <a:off x="2487907" y="4115724"/>
              <a:ext cx="3530733"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US" sz="2000" dirty="0">
                  <a:solidFill>
                    <a:srgbClr val="484525"/>
                  </a:solidFill>
                  <a:latin typeface="Darker Grotesque SemiBold" pitchFamily="2" charset="0"/>
                </a:rPr>
                <a:t>Analyze Key Risk Factors</a:t>
              </a:r>
              <a:endParaRPr lang="en-GB" sz="2000" dirty="0">
                <a:solidFill>
                  <a:srgbClr val="484525"/>
                </a:solidFill>
                <a:latin typeface="Darker Grotesque SemiBold" pitchFamily="2" charset="0"/>
              </a:endParaRPr>
            </a:p>
          </p:txBody>
        </p:sp>
        <p:sp>
          <p:nvSpPr>
            <p:cNvPr id="42" name="Rounded Rectangle 26">
              <a:extLst>
                <a:ext uri="{FF2B5EF4-FFF2-40B4-BE49-F238E27FC236}">
                  <a16:creationId xmlns:a16="http://schemas.microsoft.com/office/drawing/2014/main" id="{6F7D4B22-3D66-5FE4-EEDB-AEBF9F0EDD0B}"/>
                </a:ext>
              </a:extLst>
            </p:cNvPr>
            <p:cNvSpPr/>
            <p:nvPr/>
          </p:nvSpPr>
          <p:spPr>
            <a:xfrm>
              <a:off x="7611257" y="4115724"/>
              <a:ext cx="2888434"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GB" sz="2000" dirty="0">
                  <a:solidFill>
                    <a:srgbClr val="484525"/>
                  </a:solidFill>
                  <a:latin typeface="Darker Grotesque SemiBold" pitchFamily="2" charset="0"/>
                </a:rPr>
                <a:t>Build &amp; Evaluate Models</a:t>
              </a:r>
            </a:p>
          </p:txBody>
        </p:sp>
      </p:grpSp>
      <p:sp>
        <p:nvSpPr>
          <p:cNvPr id="55" name="TextBox 54">
            <a:extLst>
              <a:ext uri="{FF2B5EF4-FFF2-40B4-BE49-F238E27FC236}">
                <a16:creationId xmlns:a16="http://schemas.microsoft.com/office/drawing/2014/main" id="{91A1E5B2-237C-5D8E-66B5-39762E63490F}"/>
              </a:ext>
            </a:extLst>
          </p:cNvPr>
          <p:cNvSpPr txBox="1"/>
          <p:nvPr/>
        </p:nvSpPr>
        <p:spPr>
          <a:xfrm>
            <a:off x="421404" y="8154490"/>
            <a:ext cx="7009932" cy="494879"/>
          </a:xfrm>
          <a:prstGeom prst="rect">
            <a:avLst/>
          </a:prstGeom>
          <a:noFill/>
        </p:spPr>
        <p:txBody>
          <a:bodyPr wrap="non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effectLst>
                  <a:glow rad="101600">
                    <a:schemeClr val="bg1">
                      <a:lumMod val="50000"/>
                      <a:alpha val="60000"/>
                    </a:schemeClr>
                  </a:glow>
                </a:effectLst>
              </a:rPr>
              <a:t>Predict High Risk Individuals</a:t>
            </a:r>
          </a:p>
        </p:txBody>
      </p:sp>
      <p:grpSp>
        <p:nvGrpSpPr>
          <p:cNvPr id="57" name="Group 56">
            <a:extLst>
              <a:ext uri="{FF2B5EF4-FFF2-40B4-BE49-F238E27FC236}">
                <a16:creationId xmlns:a16="http://schemas.microsoft.com/office/drawing/2014/main" id="{52F27B81-C3C8-F985-EED8-E414E366597E}"/>
              </a:ext>
            </a:extLst>
          </p:cNvPr>
          <p:cNvGrpSpPr/>
          <p:nvPr/>
        </p:nvGrpSpPr>
        <p:grpSpPr>
          <a:xfrm>
            <a:off x="421404" y="7415026"/>
            <a:ext cx="11644423" cy="507586"/>
            <a:chOff x="299484" y="358906"/>
            <a:chExt cx="11644423" cy="507586"/>
          </a:xfrm>
        </p:grpSpPr>
        <p:cxnSp>
          <p:nvCxnSpPr>
            <p:cNvPr id="58" name="Straight Connector 57">
              <a:extLst>
                <a:ext uri="{FF2B5EF4-FFF2-40B4-BE49-F238E27FC236}">
                  <a16:creationId xmlns:a16="http://schemas.microsoft.com/office/drawing/2014/main" id="{CA3F07C7-AFDB-B69D-2CAF-837DDB36CA96}"/>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59" name="Group 58">
              <a:extLst>
                <a:ext uri="{FF2B5EF4-FFF2-40B4-BE49-F238E27FC236}">
                  <a16:creationId xmlns:a16="http://schemas.microsoft.com/office/drawing/2014/main" id="{B109AEC1-AF9C-9C74-2D82-57B9AD6C0EDF}"/>
                </a:ext>
              </a:extLst>
            </p:cNvPr>
            <p:cNvGrpSpPr/>
            <p:nvPr/>
          </p:nvGrpSpPr>
          <p:grpSpPr>
            <a:xfrm>
              <a:off x="5867902" y="358906"/>
              <a:ext cx="507586" cy="507586"/>
              <a:chOff x="2858132" y="4492271"/>
              <a:chExt cx="507586" cy="507586"/>
            </a:xfrm>
          </p:grpSpPr>
          <p:sp useBgFill="1">
            <p:nvSpPr>
              <p:cNvPr id="60" name="Oval 59">
                <a:extLst>
                  <a:ext uri="{FF2B5EF4-FFF2-40B4-BE49-F238E27FC236}">
                    <a16:creationId xmlns:a16="http://schemas.microsoft.com/office/drawing/2014/main" id="{25125244-D828-BDF5-B659-E92CACB71883}"/>
                  </a:ext>
                </a:extLst>
              </p:cNvPr>
              <p:cNvSpPr/>
              <p:nvPr/>
            </p:nvSpPr>
            <p:spPr>
              <a:xfrm>
                <a:off x="2858132" y="449227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61" name="Graphic 60">
                <a:extLst>
                  <a:ext uri="{FF2B5EF4-FFF2-40B4-BE49-F238E27FC236}">
                    <a16:creationId xmlns:a16="http://schemas.microsoft.com/office/drawing/2014/main" id="{2235D629-E03B-0023-2E87-8B394A5279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3909" y="4618048"/>
                <a:ext cx="256032" cy="256032"/>
              </a:xfrm>
              <a:prstGeom prst="rect">
                <a:avLst/>
              </a:prstGeom>
              <a:effectLst/>
            </p:spPr>
          </p:pic>
        </p:grpSp>
      </p:grpSp>
    </p:spTree>
    <p:extLst>
      <p:ext uri="{BB962C8B-B14F-4D97-AF65-F5344CB8AC3E}">
        <p14:creationId xmlns:p14="http://schemas.microsoft.com/office/powerpoint/2010/main" val="23644610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D1D44-2C90-BF3F-4744-70CA83E1D5B1}"/>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CDAB0676-8348-EDF6-E79D-E2677BFA00CA}"/>
              </a:ext>
            </a:extLst>
          </p:cNvPr>
          <p:cNvGrpSpPr/>
          <p:nvPr/>
        </p:nvGrpSpPr>
        <p:grpSpPr>
          <a:xfrm>
            <a:off x="299484" y="1702105"/>
            <a:ext cx="11657686" cy="4559974"/>
            <a:chOff x="299484" y="1417486"/>
            <a:chExt cx="11657686" cy="4559974"/>
          </a:xfrm>
        </p:grpSpPr>
        <p:grpSp>
          <p:nvGrpSpPr>
            <p:cNvPr id="7" name="Group 6">
              <a:extLst>
                <a:ext uri="{FF2B5EF4-FFF2-40B4-BE49-F238E27FC236}">
                  <a16:creationId xmlns:a16="http://schemas.microsoft.com/office/drawing/2014/main" id="{E023E7B8-CEAA-8140-4042-D20388D167E9}"/>
                </a:ext>
              </a:extLst>
            </p:cNvPr>
            <p:cNvGrpSpPr/>
            <p:nvPr/>
          </p:nvGrpSpPr>
          <p:grpSpPr>
            <a:xfrm>
              <a:off x="299484" y="1417486"/>
              <a:ext cx="11644423" cy="4559974"/>
              <a:chOff x="540000" y="-18"/>
              <a:chExt cx="6480000" cy="6858018"/>
            </a:xfrm>
            <a:solidFill>
              <a:schemeClr val="bg1">
                <a:alpha val="0"/>
              </a:schemeClr>
            </a:solidFill>
          </p:grpSpPr>
          <p:sp>
            <p:nvSpPr>
              <p:cNvPr id="15" name="Rectangle 14">
                <a:extLst>
                  <a:ext uri="{FF2B5EF4-FFF2-40B4-BE49-F238E27FC236}">
                    <a16:creationId xmlns:a16="http://schemas.microsoft.com/office/drawing/2014/main" id="{F62FC8C5-3809-AB0D-FE33-BFC302939EA3}"/>
                  </a:ext>
                </a:extLst>
              </p:cNvPr>
              <p:cNvSpPr/>
              <p:nvPr/>
            </p:nvSpPr>
            <p:spPr>
              <a:xfrm>
                <a:off x="540000" y="0"/>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64F17934-2E7E-DAA5-B18E-BCFACF220AE4}"/>
                  </a:ext>
                </a:extLst>
              </p:cNvPr>
              <p:cNvSpPr/>
              <p:nvPr/>
            </p:nvSpPr>
            <p:spPr>
              <a:xfrm>
                <a:off x="1080000" y="0"/>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E5AE1D24-5E9E-878E-68CC-B2115800CE8E}"/>
                  </a:ext>
                </a:extLst>
              </p:cNvPr>
              <p:cNvSpPr/>
              <p:nvPr/>
            </p:nvSpPr>
            <p:spPr>
              <a:xfrm>
                <a:off x="1620000" y="0"/>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a:extLst>
                  <a:ext uri="{FF2B5EF4-FFF2-40B4-BE49-F238E27FC236}">
                    <a16:creationId xmlns:a16="http://schemas.microsoft.com/office/drawing/2014/main" id="{758253AE-C83B-A866-600D-31324306C539}"/>
                  </a:ext>
                </a:extLst>
              </p:cNvPr>
              <p:cNvSpPr/>
              <p:nvPr/>
            </p:nvSpPr>
            <p:spPr>
              <a:xfrm>
                <a:off x="2160000" y="-2"/>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BE207EDE-4F0E-72F7-DBC3-700629650141}"/>
                  </a:ext>
                </a:extLst>
              </p:cNvPr>
              <p:cNvSpPr/>
              <p:nvPr/>
            </p:nvSpPr>
            <p:spPr>
              <a:xfrm>
                <a:off x="2700000" y="-4"/>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E541F420-880F-2F28-CB8C-6F1633EE8EBB}"/>
                  </a:ext>
                </a:extLst>
              </p:cNvPr>
              <p:cNvSpPr/>
              <p:nvPr/>
            </p:nvSpPr>
            <p:spPr>
              <a:xfrm>
                <a:off x="3240000" y="-6"/>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2355F86C-021D-83D1-E227-FF38A3A7670D}"/>
                  </a:ext>
                </a:extLst>
              </p:cNvPr>
              <p:cNvSpPr/>
              <p:nvPr/>
            </p:nvSpPr>
            <p:spPr>
              <a:xfrm>
                <a:off x="3780000" y="-8"/>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B688B229-E743-2653-AED5-6A50A6C3AE1B}"/>
                  </a:ext>
                </a:extLst>
              </p:cNvPr>
              <p:cNvSpPr/>
              <p:nvPr/>
            </p:nvSpPr>
            <p:spPr>
              <a:xfrm>
                <a:off x="4320000" y="-10"/>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FB7722B8-A7CF-76DF-EA8A-E5C1FCF03672}"/>
                  </a:ext>
                </a:extLst>
              </p:cNvPr>
              <p:cNvSpPr/>
              <p:nvPr/>
            </p:nvSpPr>
            <p:spPr>
              <a:xfrm>
                <a:off x="4860000" y="-12"/>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21BABF03-1ABB-AF31-4893-511243EEB9E0}"/>
                  </a:ext>
                </a:extLst>
              </p:cNvPr>
              <p:cNvSpPr/>
              <p:nvPr/>
            </p:nvSpPr>
            <p:spPr>
              <a:xfrm>
                <a:off x="5400000" y="-14"/>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1D02D8E-A3A1-D4EB-9CD8-ABB8E811EDE4}"/>
                  </a:ext>
                </a:extLst>
              </p:cNvPr>
              <p:cNvSpPr/>
              <p:nvPr/>
            </p:nvSpPr>
            <p:spPr>
              <a:xfrm>
                <a:off x="5940000" y="-16"/>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D62D393E-A40C-1140-CDCC-9501E3B6F27E}"/>
                  </a:ext>
                </a:extLst>
              </p:cNvPr>
              <p:cNvSpPr/>
              <p:nvPr/>
            </p:nvSpPr>
            <p:spPr>
              <a:xfrm>
                <a:off x="6480000" y="-18"/>
                <a:ext cx="540000" cy="6858000"/>
              </a:xfrm>
              <a:prstGeom prst="rect">
                <a:avLst/>
              </a:prstGeom>
              <a:grpFill/>
              <a:ln w="12700">
                <a:solidFill>
                  <a:schemeClr val="bg1">
                    <a:alpha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ounded Rectangle 26">
              <a:extLst>
                <a:ext uri="{FF2B5EF4-FFF2-40B4-BE49-F238E27FC236}">
                  <a16:creationId xmlns:a16="http://schemas.microsoft.com/office/drawing/2014/main" id="{71C6F795-34FD-6574-B029-6D3CED75ACAA}"/>
                </a:ext>
              </a:extLst>
            </p:cNvPr>
            <p:cNvSpPr/>
            <p:nvPr/>
          </p:nvSpPr>
          <p:spPr>
            <a:xfrm>
              <a:off x="568550" y="2556775"/>
              <a:ext cx="3530733"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US" sz="2000" dirty="0">
                  <a:solidFill>
                    <a:srgbClr val="484525"/>
                  </a:solidFill>
                  <a:latin typeface="Darker Grotesque SemiBold" pitchFamily="2" charset="0"/>
                </a:rPr>
                <a:t>Preprocess and Clean Dataset </a:t>
              </a:r>
              <a:endParaRPr lang="en-GB" sz="2000" dirty="0">
                <a:solidFill>
                  <a:srgbClr val="484525"/>
                </a:solidFill>
                <a:latin typeface="Darker Grotesque SemiBold" pitchFamily="2" charset="0"/>
              </a:endParaRPr>
            </a:p>
          </p:txBody>
        </p:sp>
        <p:sp>
          <p:nvSpPr>
            <p:cNvPr id="10" name="Rounded Rectangle 26">
              <a:extLst>
                <a:ext uri="{FF2B5EF4-FFF2-40B4-BE49-F238E27FC236}">
                  <a16:creationId xmlns:a16="http://schemas.microsoft.com/office/drawing/2014/main" id="{21E45E76-AF2D-F55F-6CBA-BFF90F544B53}"/>
                </a:ext>
              </a:extLst>
            </p:cNvPr>
            <p:cNvSpPr/>
            <p:nvPr/>
          </p:nvSpPr>
          <p:spPr>
            <a:xfrm>
              <a:off x="5360249" y="2566652"/>
              <a:ext cx="2569500"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GB" sz="2000" dirty="0">
                  <a:solidFill>
                    <a:srgbClr val="484525"/>
                  </a:solidFill>
                  <a:latin typeface="Darker Grotesque SemiBold" pitchFamily="2" charset="0"/>
                </a:rPr>
                <a:t>Develop Dashboard</a:t>
              </a:r>
            </a:p>
          </p:txBody>
        </p:sp>
        <p:sp>
          <p:nvSpPr>
            <p:cNvPr id="12" name="Rounded Rectangle 26">
              <a:extLst>
                <a:ext uri="{FF2B5EF4-FFF2-40B4-BE49-F238E27FC236}">
                  <a16:creationId xmlns:a16="http://schemas.microsoft.com/office/drawing/2014/main" id="{C844B093-CF0C-A94C-0862-FDF42D0BEDFB}"/>
                </a:ext>
              </a:extLst>
            </p:cNvPr>
            <p:cNvSpPr/>
            <p:nvPr/>
          </p:nvSpPr>
          <p:spPr>
            <a:xfrm>
              <a:off x="9216871" y="2566652"/>
              <a:ext cx="2740299"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US" sz="2000" dirty="0">
                  <a:solidFill>
                    <a:srgbClr val="484525"/>
                  </a:solidFill>
                  <a:latin typeface="Darker Grotesque SemiBold" pitchFamily="2" charset="0"/>
                </a:rPr>
                <a:t>Interpret Results</a:t>
              </a:r>
              <a:endParaRPr lang="en-GB" sz="2000" dirty="0">
                <a:solidFill>
                  <a:srgbClr val="484525"/>
                </a:solidFill>
                <a:latin typeface="Darker Grotesque SemiBold" pitchFamily="2" charset="0"/>
              </a:endParaRPr>
            </a:p>
          </p:txBody>
        </p:sp>
        <p:sp>
          <p:nvSpPr>
            <p:cNvPr id="13" name="Rounded Rectangle 26">
              <a:extLst>
                <a:ext uri="{FF2B5EF4-FFF2-40B4-BE49-F238E27FC236}">
                  <a16:creationId xmlns:a16="http://schemas.microsoft.com/office/drawing/2014/main" id="{B7E63EB9-B40A-1148-FC0B-5C1C89296BD0}"/>
                </a:ext>
              </a:extLst>
            </p:cNvPr>
            <p:cNvSpPr/>
            <p:nvPr/>
          </p:nvSpPr>
          <p:spPr>
            <a:xfrm>
              <a:off x="2487907" y="4115724"/>
              <a:ext cx="3530733"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US" sz="2000" dirty="0">
                  <a:solidFill>
                    <a:srgbClr val="484525"/>
                  </a:solidFill>
                  <a:latin typeface="Darker Grotesque SemiBold" pitchFamily="2" charset="0"/>
                </a:rPr>
                <a:t>Analyze Key Risk Factors</a:t>
              </a:r>
              <a:endParaRPr lang="en-GB" sz="2000" dirty="0">
                <a:solidFill>
                  <a:srgbClr val="484525"/>
                </a:solidFill>
                <a:latin typeface="Darker Grotesque SemiBold" pitchFamily="2" charset="0"/>
              </a:endParaRPr>
            </a:p>
          </p:txBody>
        </p:sp>
        <p:sp>
          <p:nvSpPr>
            <p:cNvPr id="14" name="Rounded Rectangle 26">
              <a:extLst>
                <a:ext uri="{FF2B5EF4-FFF2-40B4-BE49-F238E27FC236}">
                  <a16:creationId xmlns:a16="http://schemas.microsoft.com/office/drawing/2014/main" id="{7F8D57B4-3E45-EA47-5107-C0CDAD53BB21}"/>
                </a:ext>
              </a:extLst>
            </p:cNvPr>
            <p:cNvSpPr/>
            <p:nvPr/>
          </p:nvSpPr>
          <p:spPr>
            <a:xfrm>
              <a:off x="7611257" y="4115724"/>
              <a:ext cx="2888434" cy="587606"/>
            </a:xfrm>
            <a:prstGeom prst="roundRect">
              <a:avLst>
                <a:gd name="adj" fmla="val 19239"/>
              </a:avLst>
            </a:prstGeom>
            <a:solidFill>
              <a:schemeClr val="bg1"/>
            </a:solidFill>
            <a:ln w="6350">
              <a:noFill/>
            </a:ln>
            <a:effectLst>
              <a:outerShdw blurRad="1270000" algn="ctr" rotWithShape="0">
                <a:schemeClr val="bg1"/>
              </a:outerShdw>
            </a:effectLst>
          </p:spPr>
          <p:txBody>
            <a:bodyPr vert="horz" wrap="none" lIns="91440" tIns="45720" rIns="91440" bIns="45720" rtlCol="0" anchor="ctr"/>
            <a:lstStyle/>
            <a:p>
              <a:pPr algn="ctr"/>
              <a:r>
                <a:rPr lang="en-GB" sz="2000" dirty="0">
                  <a:solidFill>
                    <a:srgbClr val="484525"/>
                  </a:solidFill>
                  <a:latin typeface="Darker Grotesque SemiBold" pitchFamily="2" charset="0"/>
                </a:rPr>
                <a:t>Build &amp; Evaluate Models</a:t>
              </a:r>
            </a:p>
          </p:txBody>
        </p:sp>
      </p:grpSp>
      <p:sp>
        <p:nvSpPr>
          <p:cNvPr id="29" name="TextBox 28">
            <a:extLst>
              <a:ext uri="{FF2B5EF4-FFF2-40B4-BE49-F238E27FC236}">
                <a16:creationId xmlns:a16="http://schemas.microsoft.com/office/drawing/2014/main" id="{2E3F249D-5EBC-5F60-C495-4DDB6D929E00}"/>
              </a:ext>
            </a:extLst>
          </p:cNvPr>
          <p:cNvSpPr txBox="1"/>
          <p:nvPr/>
        </p:nvSpPr>
        <p:spPr>
          <a:xfrm>
            <a:off x="299484" y="1098370"/>
            <a:ext cx="7009932" cy="494879"/>
          </a:xfrm>
          <a:prstGeom prst="rect">
            <a:avLst/>
          </a:prstGeom>
          <a:noFill/>
        </p:spPr>
        <p:txBody>
          <a:bodyPr wrap="non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4800" dirty="0">
                <a:effectLst>
                  <a:glow rad="101600">
                    <a:schemeClr val="bg1">
                      <a:lumMod val="50000"/>
                      <a:alpha val="60000"/>
                    </a:schemeClr>
                  </a:glow>
                </a:effectLst>
              </a:rPr>
              <a:t>Predict High Risk Individuals</a:t>
            </a:r>
          </a:p>
        </p:txBody>
      </p:sp>
      <p:sp>
        <p:nvSpPr>
          <p:cNvPr id="65" name="TextBox 64">
            <a:extLst>
              <a:ext uri="{FF2B5EF4-FFF2-40B4-BE49-F238E27FC236}">
                <a16:creationId xmlns:a16="http://schemas.microsoft.com/office/drawing/2014/main" id="{BBAE7056-33CB-042F-9C08-4C85D672D509}"/>
              </a:ext>
            </a:extLst>
          </p:cNvPr>
          <p:cNvSpPr txBox="1"/>
          <p:nvPr/>
        </p:nvSpPr>
        <p:spPr>
          <a:xfrm>
            <a:off x="128784" y="341898"/>
            <a:ext cx="879531" cy="31944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Aim</a:t>
            </a:r>
          </a:p>
        </p:txBody>
      </p:sp>
      <p:grpSp>
        <p:nvGrpSpPr>
          <p:cNvPr id="41" name="Group 40">
            <a:extLst>
              <a:ext uri="{FF2B5EF4-FFF2-40B4-BE49-F238E27FC236}">
                <a16:creationId xmlns:a16="http://schemas.microsoft.com/office/drawing/2014/main" id="{47AF3880-A4A7-1C00-C942-E43E2A54629D}"/>
              </a:ext>
            </a:extLst>
          </p:cNvPr>
          <p:cNvGrpSpPr/>
          <p:nvPr/>
        </p:nvGrpSpPr>
        <p:grpSpPr>
          <a:xfrm>
            <a:off x="299484" y="358906"/>
            <a:ext cx="11644423" cy="507586"/>
            <a:chOff x="299484" y="358906"/>
            <a:chExt cx="11644423" cy="507586"/>
          </a:xfrm>
        </p:grpSpPr>
        <p:cxnSp>
          <p:nvCxnSpPr>
            <p:cNvPr id="33" name="Straight Connector 32">
              <a:extLst>
                <a:ext uri="{FF2B5EF4-FFF2-40B4-BE49-F238E27FC236}">
                  <a16:creationId xmlns:a16="http://schemas.microsoft.com/office/drawing/2014/main" id="{1DDC9487-6EBD-C0F0-ABBF-5E145052A77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40" name="Group 39">
              <a:extLst>
                <a:ext uri="{FF2B5EF4-FFF2-40B4-BE49-F238E27FC236}">
                  <a16:creationId xmlns:a16="http://schemas.microsoft.com/office/drawing/2014/main" id="{8C7BE6E8-B4F2-B35C-1F05-C1C2D96388BB}"/>
                </a:ext>
              </a:extLst>
            </p:cNvPr>
            <p:cNvGrpSpPr/>
            <p:nvPr/>
          </p:nvGrpSpPr>
          <p:grpSpPr>
            <a:xfrm>
              <a:off x="5867902" y="358906"/>
              <a:ext cx="507586" cy="507586"/>
              <a:chOff x="2858132" y="4492271"/>
              <a:chExt cx="507586" cy="507586"/>
            </a:xfrm>
          </p:grpSpPr>
          <p:sp useBgFill="1">
            <p:nvSpPr>
              <p:cNvPr id="44" name="Oval 43">
                <a:extLst>
                  <a:ext uri="{FF2B5EF4-FFF2-40B4-BE49-F238E27FC236}">
                    <a16:creationId xmlns:a16="http://schemas.microsoft.com/office/drawing/2014/main" id="{5A10F943-BC91-DF89-32D9-628AE7B19C61}"/>
                  </a:ext>
                </a:extLst>
              </p:cNvPr>
              <p:cNvSpPr/>
              <p:nvPr/>
            </p:nvSpPr>
            <p:spPr>
              <a:xfrm>
                <a:off x="2858132" y="449227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5" name="Graphic 44">
                <a:extLst>
                  <a:ext uri="{FF2B5EF4-FFF2-40B4-BE49-F238E27FC236}">
                    <a16:creationId xmlns:a16="http://schemas.microsoft.com/office/drawing/2014/main" id="{2AD6DCEB-8293-D04C-9758-A579E3A162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3909" y="4618048"/>
                <a:ext cx="256032" cy="256032"/>
              </a:xfrm>
              <a:prstGeom prst="rect">
                <a:avLst/>
              </a:prstGeom>
              <a:effectLst/>
            </p:spPr>
          </p:pic>
        </p:grpSp>
      </p:grpSp>
    </p:spTree>
    <p:extLst>
      <p:ext uri="{BB962C8B-B14F-4D97-AF65-F5344CB8AC3E}">
        <p14:creationId xmlns:p14="http://schemas.microsoft.com/office/powerpoint/2010/main" val="254460633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4CCCD1D-24F7-7818-1BC1-F700A1D07CDD}"/>
              </a:ext>
            </a:extLst>
          </p:cNvPr>
          <p:cNvSpPr txBox="1"/>
          <p:nvPr/>
        </p:nvSpPr>
        <p:spPr>
          <a:xfrm>
            <a:off x="1685162" y="1382820"/>
            <a:ext cx="8873066" cy="2553007"/>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9500" b="0" i="0" u="none" strike="noStrike" kern="0" cap="none" spc="0" normalizeH="0" baseline="0" noProof="0" dirty="0">
                <a:ln>
                  <a:noFill/>
                </a:ln>
                <a:solidFill>
                  <a:prstClr val="white"/>
                </a:solidFill>
                <a:effectLst/>
                <a:uLnTx/>
                <a:uFillTx/>
                <a:latin typeface="Darker Grotesque" pitchFamily="2" charset="0"/>
              </a:rPr>
              <a:t>Lit.</a:t>
            </a:r>
          </a:p>
        </p:txBody>
      </p:sp>
      <p:sp>
        <p:nvSpPr>
          <p:cNvPr id="43" name="TextBox 42">
            <a:extLst>
              <a:ext uri="{FF2B5EF4-FFF2-40B4-BE49-F238E27FC236}">
                <a16:creationId xmlns:a16="http://schemas.microsoft.com/office/drawing/2014/main" id="{15C80923-62A8-BB07-08F1-C144961070B3}"/>
              </a:ext>
            </a:extLst>
          </p:cNvPr>
          <p:cNvSpPr txBox="1"/>
          <p:nvPr/>
        </p:nvSpPr>
        <p:spPr>
          <a:xfrm>
            <a:off x="2424595" y="3381674"/>
            <a:ext cx="7745772" cy="2553007"/>
          </a:xfrm>
          <a:prstGeom prst="rect">
            <a:avLst/>
          </a:prstGeom>
          <a:noFill/>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9500" kern="0" dirty="0">
                <a:solidFill>
                  <a:prstClr val="white"/>
                </a:solidFill>
                <a:latin typeface="Darker Grotesque" pitchFamily="2" charset="0"/>
              </a:rPr>
              <a:t>Review</a:t>
            </a:r>
            <a:endParaRPr kumimoji="0" lang="en-US" sz="19500" b="0" i="0" u="none" strike="noStrike" kern="0" cap="none" spc="0" normalizeH="0" baseline="0" noProof="0" dirty="0">
              <a:ln>
                <a:noFill/>
              </a:ln>
              <a:solidFill>
                <a:prstClr val="white"/>
              </a:solidFill>
              <a:effectLst/>
              <a:uLnTx/>
              <a:uFillTx/>
              <a:latin typeface="Darker Grotesque" pitchFamily="2" charset="0"/>
            </a:endParaRPr>
          </a:p>
        </p:txBody>
      </p:sp>
      <p:sp>
        <p:nvSpPr>
          <p:cNvPr id="7" name="TextBox 6">
            <a:extLst>
              <a:ext uri="{FF2B5EF4-FFF2-40B4-BE49-F238E27FC236}">
                <a16:creationId xmlns:a16="http://schemas.microsoft.com/office/drawing/2014/main" id="{4832652D-94A7-1771-E95E-10CE9039D914}"/>
              </a:ext>
            </a:extLst>
          </p:cNvPr>
          <p:cNvSpPr txBox="1"/>
          <p:nvPr/>
        </p:nvSpPr>
        <p:spPr>
          <a:xfrm>
            <a:off x="1344775" y="7986842"/>
            <a:ext cx="10385404" cy="1569660"/>
          </a:xfrm>
          <a:prstGeom prst="rect">
            <a:avLst/>
          </a:prstGeom>
          <a:noFill/>
        </p:spPr>
        <p:txBody>
          <a:bodyPr wrap="square" rtlCol="0">
            <a:spAutoFit/>
          </a:bodyPr>
          <a:lstStyle/>
          <a:p>
            <a:pPr algn="ctr"/>
            <a:r>
              <a:rPr lang="en-US" sz="4800" dirty="0">
                <a:solidFill>
                  <a:schemeClr val="bg1"/>
                </a:solidFill>
              </a:rPr>
              <a:t>Major &amp; Important Takeaways from the Literature Review</a:t>
            </a:r>
            <a:endParaRPr lang="en-IN" sz="4800" dirty="0">
              <a:solidFill>
                <a:schemeClr val="bg1"/>
              </a:solidFill>
            </a:endParaRPr>
          </a:p>
        </p:txBody>
      </p:sp>
      <p:sp>
        <p:nvSpPr>
          <p:cNvPr id="8" name="TextBox 7">
            <a:extLst>
              <a:ext uri="{FF2B5EF4-FFF2-40B4-BE49-F238E27FC236}">
                <a16:creationId xmlns:a16="http://schemas.microsoft.com/office/drawing/2014/main" id="{4F2A934F-2C58-1FC5-7EA3-85482CA38811}"/>
              </a:ext>
            </a:extLst>
          </p:cNvPr>
          <p:cNvSpPr txBox="1"/>
          <p:nvPr/>
        </p:nvSpPr>
        <p:spPr>
          <a:xfrm>
            <a:off x="1104171" y="9506959"/>
            <a:ext cx="10735876" cy="3903504"/>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2800" dirty="0">
                <a:solidFill>
                  <a:schemeClr val="bg1">
                    <a:lumMod val="85000"/>
                  </a:schemeClr>
                </a:solidFill>
              </a:rPr>
              <a:t>Schizophrenia is underdiagnosed; early intervention is critical (Lewis &amp; Lieberman, 2000).</a:t>
            </a:r>
          </a:p>
          <a:p>
            <a:pPr marL="457200" indent="-457200">
              <a:lnSpc>
                <a:spcPct val="150000"/>
              </a:lnSpc>
              <a:buFont typeface="Arial" panose="020B0604020202020204" pitchFamily="34" charset="0"/>
              <a:buChar char="•"/>
            </a:pPr>
            <a:r>
              <a:rPr lang="en-US" sz="2800" dirty="0">
                <a:solidFill>
                  <a:schemeClr val="bg1">
                    <a:lumMod val="85000"/>
                  </a:schemeClr>
                </a:solidFill>
              </a:rPr>
              <a:t>Machine learning has been successfully applied for psychiatric diagnosis (</a:t>
            </a:r>
            <a:r>
              <a:rPr lang="en-US" sz="2800" dirty="0" err="1">
                <a:solidFill>
                  <a:schemeClr val="bg1">
                    <a:lumMod val="85000"/>
                  </a:schemeClr>
                </a:solidFill>
              </a:rPr>
              <a:t>Vellido</a:t>
            </a:r>
            <a:r>
              <a:rPr lang="en-US" sz="2800" dirty="0">
                <a:solidFill>
                  <a:schemeClr val="bg1">
                    <a:lumMod val="85000"/>
                  </a:schemeClr>
                </a:solidFill>
              </a:rPr>
              <a:t> et al., 2019; </a:t>
            </a:r>
            <a:r>
              <a:rPr lang="en-US" sz="2800" dirty="0" err="1">
                <a:solidFill>
                  <a:schemeClr val="bg1">
                    <a:lumMod val="85000"/>
                  </a:schemeClr>
                </a:solidFill>
              </a:rPr>
              <a:t>Orrù</a:t>
            </a:r>
            <a:r>
              <a:rPr lang="en-US" sz="2800" dirty="0">
                <a:solidFill>
                  <a:schemeClr val="bg1">
                    <a:lumMod val="85000"/>
                  </a:schemeClr>
                </a:solidFill>
              </a:rPr>
              <a:t> et al., 2020).</a:t>
            </a:r>
          </a:p>
          <a:p>
            <a:pPr marL="457200" indent="-457200">
              <a:lnSpc>
                <a:spcPct val="150000"/>
              </a:lnSpc>
              <a:spcAft>
                <a:spcPts val="1200"/>
              </a:spcAft>
              <a:buFont typeface="Arial" panose="020B0604020202020204" pitchFamily="34" charset="0"/>
              <a:buChar char="•"/>
            </a:pPr>
            <a:r>
              <a:rPr lang="en-US" sz="2800" dirty="0">
                <a:solidFill>
                  <a:schemeClr val="bg1">
                    <a:lumMod val="85000"/>
                  </a:schemeClr>
                </a:solidFill>
              </a:rPr>
              <a:t>The CRISP-DM methodology provides a best-practice framework for data mining in healthcare (Shearer, 2000; Chapman et al., 2000).</a:t>
            </a:r>
            <a:endParaRPr lang="en-IN" sz="2800" dirty="0">
              <a:solidFill>
                <a:schemeClr val="bg1">
                  <a:lumMod val="85000"/>
                </a:schemeClr>
              </a:solidFill>
            </a:endParaRPr>
          </a:p>
        </p:txBody>
      </p:sp>
      <p:grpSp>
        <p:nvGrpSpPr>
          <p:cNvPr id="11" name="Group 10">
            <a:extLst>
              <a:ext uri="{FF2B5EF4-FFF2-40B4-BE49-F238E27FC236}">
                <a16:creationId xmlns:a16="http://schemas.microsoft.com/office/drawing/2014/main" id="{CB3AC9A0-1B86-1F92-B9D2-51E4738833E8}"/>
              </a:ext>
            </a:extLst>
          </p:cNvPr>
          <p:cNvGrpSpPr/>
          <p:nvPr/>
        </p:nvGrpSpPr>
        <p:grpSpPr>
          <a:xfrm>
            <a:off x="547577" y="7425949"/>
            <a:ext cx="11644423" cy="507586"/>
            <a:chOff x="299484" y="347343"/>
            <a:chExt cx="11644423" cy="507586"/>
          </a:xfrm>
        </p:grpSpPr>
        <p:cxnSp>
          <p:nvCxnSpPr>
            <p:cNvPr id="12" name="Straight Connector 11">
              <a:extLst>
                <a:ext uri="{FF2B5EF4-FFF2-40B4-BE49-F238E27FC236}">
                  <a16:creationId xmlns:a16="http://schemas.microsoft.com/office/drawing/2014/main" id="{6392C928-694E-DB8A-A45D-C90BA53459D3}"/>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13" name="Group 12">
              <a:extLst>
                <a:ext uri="{FF2B5EF4-FFF2-40B4-BE49-F238E27FC236}">
                  <a16:creationId xmlns:a16="http://schemas.microsoft.com/office/drawing/2014/main" id="{ED1494E4-05A6-576A-D1C0-129D52A26738}"/>
                </a:ext>
              </a:extLst>
            </p:cNvPr>
            <p:cNvGrpSpPr/>
            <p:nvPr/>
          </p:nvGrpSpPr>
          <p:grpSpPr>
            <a:xfrm>
              <a:off x="5842207" y="347343"/>
              <a:ext cx="507586" cy="507586"/>
              <a:chOff x="3886094" y="1867721"/>
              <a:chExt cx="507586" cy="507586"/>
            </a:xfrm>
          </p:grpSpPr>
          <p:sp useBgFill="1">
            <p:nvSpPr>
              <p:cNvPr id="14" name="Oval 13">
                <a:extLst>
                  <a:ext uri="{FF2B5EF4-FFF2-40B4-BE49-F238E27FC236}">
                    <a16:creationId xmlns:a16="http://schemas.microsoft.com/office/drawing/2014/main" id="{6640A871-11B9-07B8-9895-C7FC5B7D8883}"/>
                  </a:ext>
                </a:extLst>
              </p:cNvPr>
              <p:cNvSpPr/>
              <p:nvPr/>
            </p:nvSpPr>
            <p:spPr>
              <a:xfrm>
                <a:off x="3886094" y="1867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15" name="Graphic 14">
                <a:extLst>
                  <a:ext uri="{FF2B5EF4-FFF2-40B4-BE49-F238E27FC236}">
                    <a16:creationId xmlns:a16="http://schemas.microsoft.com/office/drawing/2014/main" id="{2E449C5A-CFC1-B8DF-338D-4303421B8C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11871" y="1969676"/>
                <a:ext cx="256032" cy="256032"/>
              </a:xfrm>
              <a:prstGeom prst="rect">
                <a:avLst/>
              </a:prstGeom>
            </p:spPr>
          </p:pic>
        </p:grpSp>
      </p:grpSp>
    </p:spTree>
    <p:extLst>
      <p:ext uri="{BB962C8B-B14F-4D97-AF65-F5344CB8AC3E}">
        <p14:creationId xmlns:p14="http://schemas.microsoft.com/office/powerpoint/2010/main" val="2212010097"/>
      </p:ext>
    </p:extLst>
  </p:cSld>
  <p:clrMapOvr>
    <a:masterClrMapping/>
  </p:clrMapOvr>
  <mc:AlternateContent xmlns:mc="http://schemas.openxmlformats.org/markup-compatibility/2006" xmlns:p159="http://schemas.microsoft.com/office/powerpoint/2015/09/main">
    <mc:Choice Requires="p159">
      <p:transition spd="slow" advTm="0">
        <p159:morph option="byObject"/>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1000"/>
                                        <p:tgtEl>
                                          <p:spTgt spid="8">
                                            <p:txEl>
                                              <p:pRg st="0" end="0"/>
                                            </p:txEl>
                                          </p:spTgt>
                                        </p:tgtEl>
                                      </p:cBhvr>
                                    </p:animEffect>
                                    <p:anim calcmode="lin" valueType="num">
                                      <p:cBhvr>
                                        <p:cTn id="8"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1000"/>
                                        <p:tgtEl>
                                          <p:spTgt spid="8">
                                            <p:txEl>
                                              <p:pRg st="1" end="1"/>
                                            </p:txEl>
                                          </p:spTgt>
                                        </p:tgtEl>
                                      </p:cBhvr>
                                    </p:animEffect>
                                    <p:anim calcmode="lin" valueType="num">
                                      <p:cBhvr>
                                        <p:cTn id="13" dur="1000" fill="hold"/>
                                        <p:tgtEl>
                                          <p:spTgt spid="8">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45B9AC-D61D-0918-FAEA-94782C8CCDE4}"/>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DCDB1A3-224B-2C05-988B-9A11A55CEAFC}"/>
              </a:ext>
            </a:extLst>
          </p:cNvPr>
          <p:cNvSpPr txBox="1"/>
          <p:nvPr/>
        </p:nvSpPr>
        <p:spPr>
          <a:xfrm>
            <a:off x="1096682" y="908236"/>
            <a:ext cx="10385404" cy="1569660"/>
          </a:xfrm>
          <a:prstGeom prst="rect">
            <a:avLst/>
          </a:prstGeom>
          <a:noFill/>
        </p:spPr>
        <p:txBody>
          <a:bodyPr wrap="square" rtlCol="0">
            <a:spAutoFit/>
          </a:bodyPr>
          <a:lstStyle/>
          <a:p>
            <a:pPr algn="ctr"/>
            <a:r>
              <a:rPr lang="en-US" sz="4800" dirty="0">
                <a:solidFill>
                  <a:schemeClr val="bg1"/>
                </a:solidFill>
              </a:rPr>
              <a:t>Major &amp; Important Takeaways from the Literature Review</a:t>
            </a:r>
            <a:endParaRPr lang="en-IN" sz="4800" dirty="0">
              <a:solidFill>
                <a:schemeClr val="bg1"/>
              </a:solidFill>
            </a:endParaRPr>
          </a:p>
        </p:txBody>
      </p:sp>
      <p:sp>
        <p:nvSpPr>
          <p:cNvPr id="4" name="TextBox 3">
            <a:extLst>
              <a:ext uri="{FF2B5EF4-FFF2-40B4-BE49-F238E27FC236}">
                <a16:creationId xmlns:a16="http://schemas.microsoft.com/office/drawing/2014/main" id="{20FCD40F-036F-7384-FF4D-22E7A9A515D0}"/>
              </a:ext>
            </a:extLst>
          </p:cNvPr>
          <p:cNvSpPr txBox="1"/>
          <p:nvPr/>
        </p:nvSpPr>
        <p:spPr>
          <a:xfrm>
            <a:off x="856078" y="2428353"/>
            <a:ext cx="10735876" cy="3903504"/>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2800" dirty="0">
                <a:solidFill>
                  <a:schemeClr val="bg1">
                    <a:lumMod val="85000"/>
                  </a:schemeClr>
                </a:solidFill>
              </a:rPr>
              <a:t>Schizophrenia is underdiagnosed; early intervention is critical (Lewis &amp; Lieberman, 2000).</a:t>
            </a:r>
          </a:p>
          <a:p>
            <a:pPr marL="457200" indent="-457200">
              <a:lnSpc>
                <a:spcPct val="150000"/>
              </a:lnSpc>
              <a:buFont typeface="Arial" panose="020B0604020202020204" pitchFamily="34" charset="0"/>
              <a:buChar char="•"/>
            </a:pPr>
            <a:r>
              <a:rPr lang="en-US" sz="2800" dirty="0">
                <a:solidFill>
                  <a:schemeClr val="bg1">
                    <a:lumMod val="85000"/>
                  </a:schemeClr>
                </a:solidFill>
              </a:rPr>
              <a:t>Machine learning has been successfully applied for psychiatric diagnosis (</a:t>
            </a:r>
            <a:r>
              <a:rPr lang="en-US" sz="2800" dirty="0" err="1">
                <a:solidFill>
                  <a:schemeClr val="bg1">
                    <a:lumMod val="85000"/>
                  </a:schemeClr>
                </a:solidFill>
              </a:rPr>
              <a:t>Vellido</a:t>
            </a:r>
            <a:r>
              <a:rPr lang="en-US" sz="2800" dirty="0">
                <a:solidFill>
                  <a:schemeClr val="bg1">
                    <a:lumMod val="85000"/>
                  </a:schemeClr>
                </a:solidFill>
              </a:rPr>
              <a:t> et al., 2019; </a:t>
            </a:r>
            <a:r>
              <a:rPr lang="en-US" sz="2800" dirty="0" err="1">
                <a:solidFill>
                  <a:schemeClr val="bg1">
                    <a:lumMod val="85000"/>
                  </a:schemeClr>
                </a:solidFill>
              </a:rPr>
              <a:t>Orrù</a:t>
            </a:r>
            <a:r>
              <a:rPr lang="en-US" sz="2800" dirty="0">
                <a:solidFill>
                  <a:schemeClr val="bg1">
                    <a:lumMod val="85000"/>
                  </a:schemeClr>
                </a:solidFill>
              </a:rPr>
              <a:t> et al., 2020).</a:t>
            </a:r>
          </a:p>
          <a:p>
            <a:pPr marL="457200" indent="-457200">
              <a:lnSpc>
                <a:spcPct val="150000"/>
              </a:lnSpc>
              <a:spcAft>
                <a:spcPts val="1200"/>
              </a:spcAft>
              <a:buFont typeface="Arial" panose="020B0604020202020204" pitchFamily="34" charset="0"/>
              <a:buChar char="•"/>
            </a:pPr>
            <a:r>
              <a:rPr lang="en-US" sz="2800" dirty="0">
                <a:solidFill>
                  <a:schemeClr val="bg1">
                    <a:lumMod val="85000"/>
                  </a:schemeClr>
                </a:solidFill>
              </a:rPr>
              <a:t>The CRISP-DM methodology provides a best-practice framework for data mining in healthcare (Shearer, 2000; Chapman et al., 2000).</a:t>
            </a:r>
            <a:endParaRPr lang="en-IN" sz="2800" dirty="0">
              <a:solidFill>
                <a:schemeClr val="bg1">
                  <a:lumMod val="85000"/>
                </a:schemeClr>
              </a:solidFill>
            </a:endParaRPr>
          </a:p>
        </p:txBody>
      </p:sp>
      <p:sp>
        <p:nvSpPr>
          <p:cNvPr id="29" name="TextBox 28">
            <a:extLst>
              <a:ext uri="{FF2B5EF4-FFF2-40B4-BE49-F238E27FC236}">
                <a16:creationId xmlns:a16="http://schemas.microsoft.com/office/drawing/2014/main" id="{29C8057C-789E-0F0D-DEEA-D6E3E75C6B06}"/>
              </a:ext>
            </a:extLst>
          </p:cNvPr>
          <p:cNvSpPr txBox="1"/>
          <p:nvPr/>
        </p:nvSpPr>
        <p:spPr>
          <a:xfrm>
            <a:off x="248093" y="304364"/>
            <a:ext cx="553956" cy="319415"/>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Lit.</a:t>
            </a:r>
          </a:p>
        </p:txBody>
      </p:sp>
      <p:sp>
        <p:nvSpPr>
          <p:cNvPr id="30" name="TextBox 29">
            <a:extLst>
              <a:ext uri="{FF2B5EF4-FFF2-40B4-BE49-F238E27FC236}">
                <a16:creationId xmlns:a16="http://schemas.microsoft.com/office/drawing/2014/main" id="{29FFB59C-4666-29E3-3D87-D882FA4845B1}"/>
              </a:ext>
            </a:extLst>
          </p:cNvPr>
          <p:cNvSpPr txBox="1"/>
          <p:nvPr/>
        </p:nvSpPr>
        <p:spPr>
          <a:xfrm>
            <a:off x="617697" y="304333"/>
            <a:ext cx="957970" cy="319446"/>
          </a:xfrm>
          <a:prstGeom prst="rect">
            <a:avLst/>
          </a:prstGeom>
          <a:noFill/>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view</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31" name="Group 30">
            <a:extLst>
              <a:ext uri="{FF2B5EF4-FFF2-40B4-BE49-F238E27FC236}">
                <a16:creationId xmlns:a16="http://schemas.microsoft.com/office/drawing/2014/main" id="{09691656-CF02-3A17-6088-ACD77BF96196}"/>
              </a:ext>
            </a:extLst>
          </p:cNvPr>
          <p:cNvGrpSpPr/>
          <p:nvPr/>
        </p:nvGrpSpPr>
        <p:grpSpPr>
          <a:xfrm>
            <a:off x="299484" y="347343"/>
            <a:ext cx="11644423" cy="507586"/>
            <a:chOff x="299484" y="347343"/>
            <a:chExt cx="11644423" cy="507586"/>
          </a:xfrm>
        </p:grpSpPr>
        <p:cxnSp>
          <p:nvCxnSpPr>
            <p:cNvPr id="5" name="Straight Connector 4">
              <a:extLst>
                <a:ext uri="{FF2B5EF4-FFF2-40B4-BE49-F238E27FC236}">
                  <a16:creationId xmlns:a16="http://schemas.microsoft.com/office/drawing/2014/main" id="{37E1BF35-C89C-BD69-FEB6-1D019807F013}"/>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46" name="Group 45">
              <a:extLst>
                <a:ext uri="{FF2B5EF4-FFF2-40B4-BE49-F238E27FC236}">
                  <a16:creationId xmlns:a16="http://schemas.microsoft.com/office/drawing/2014/main" id="{CF629228-DA00-93CF-D73D-9B79D295DAC1}"/>
                </a:ext>
              </a:extLst>
            </p:cNvPr>
            <p:cNvGrpSpPr/>
            <p:nvPr/>
          </p:nvGrpSpPr>
          <p:grpSpPr>
            <a:xfrm>
              <a:off x="5842207" y="347343"/>
              <a:ext cx="507586" cy="507586"/>
              <a:chOff x="3886094" y="1867721"/>
              <a:chExt cx="507586" cy="507586"/>
            </a:xfrm>
          </p:grpSpPr>
          <p:sp useBgFill="1">
            <p:nvSpPr>
              <p:cNvPr id="47" name="Oval 46">
                <a:extLst>
                  <a:ext uri="{FF2B5EF4-FFF2-40B4-BE49-F238E27FC236}">
                    <a16:creationId xmlns:a16="http://schemas.microsoft.com/office/drawing/2014/main" id="{D771EC73-0B2F-B151-1EB5-45E6E9AA27B5}"/>
                  </a:ext>
                </a:extLst>
              </p:cNvPr>
              <p:cNvSpPr/>
              <p:nvPr/>
            </p:nvSpPr>
            <p:spPr>
              <a:xfrm>
                <a:off x="3886094" y="1867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8" name="Graphic 47">
                <a:extLst>
                  <a:ext uri="{FF2B5EF4-FFF2-40B4-BE49-F238E27FC236}">
                    <a16:creationId xmlns:a16="http://schemas.microsoft.com/office/drawing/2014/main" id="{048C2AB8-4D48-6DE5-CB60-6C7140D89B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11871" y="1969676"/>
                <a:ext cx="256032" cy="256032"/>
              </a:xfrm>
              <a:prstGeom prst="rect">
                <a:avLst/>
              </a:prstGeom>
            </p:spPr>
          </p:pic>
        </p:grpSp>
      </p:grpSp>
    </p:spTree>
    <p:extLst>
      <p:ext uri="{BB962C8B-B14F-4D97-AF65-F5344CB8AC3E}">
        <p14:creationId xmlns:p14="http://schemas.microsoft.com/office/powerpoint/2010/main" val="39676853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1000"/>
                                        <p:tgtEl>
                                          <p:spTgt spid="4">
                                            <p:txEl>
                                              <p:pRg st="1" end="1"/>
                                            </p:txEl>
                                          </p:spTgt>
                                        </p:tgtEl>
                                      </p:cBhvr>
                                    </p:animEffect>
                                    <p:anim calcmode="lin" valueType="num">
                                      <p:cBhvr>
                                        <p:cTn id="15"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1000"/>
                                        <p:tgtEl>
                                          <p:spTgt spid="4">
                                            <p:txEl>
                                              <p:pRg st="2" end="2"/>
                                            </p:txEl>
                                          </p:spTgt>
                                        </p:tgtEl>
                                      </p:cBhvr>
                                    </p:animEffect>
                                    <p:anim calcmode="lin" valueType="num">
                                      <p:cBhvr>
                                        <p:cTn id="22"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01771-E743-1747-07A8-094E9324B69B}"/>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A5564F4A-2003-5835-BC17-A582218A057B}"/>
              </a:ext>
            </a:extLst>
          </p:cNvPr>
          <p:cNvSpPr txBox="1"/>
          <p:nvPr/>
        </p:nvSpPr>
        <p:spPr>
          <a:xfrm>
            <a:off x="1096682" y="908236"/>
            <a:ext cx="10385404" cy="1569660"/>
          </a:xfrm>
          <a:prstGeom prst="rect">
            <a:avLst/>
          </a:prstGeom>
          <a:noFill/>
        </p:spPr>
        <p:txBody>
          <a:bodyPr wrap="square" rtlCol="0">
            <a:spAutoFit/>
          </a:bodyPr>
          <a:lstStyle/>
          <a:p>
            <a:pPr algn="ctr"/>
            <a:r>
              <a:rPr lang="en-US" sz="4800" dirty="0">
                <a:solidFill>
                  <a:schemeClr val="bg1"/>
                </a:solidFill>
              </a:rPr>
              <a:t>Major &amp; Important Takeaways from the Literature Review</a:t>
            </a:r>
            <a:endParaRPr lang="en-IN" sz="4800" dirty="0">
              <a:solidFill>
                <a:schemeClr val="bg1"/>
              </a:solidFill>
            </a:endParaRPr>
          </a:p>
        </p:txBody>
      </p:sp>
      <p:sp>
        <p:nvSpPr>
          <p:cNvPr id="4" name="TextBox 3">
            <a:extLst>
              <a:ext uri="{FF2B5EF4-FFF2-40B4-BE49-F238E27FC236}">
                <a16:creationId xmlns:a16="http://schemas.microsoft.com/office/drawing/2014/main" id="{07917A90-E2BE-B711-6CEB-A6726B807983}"/>
              </a:ext>
            </a:extLst>
          </p:cNvPr>
          <p:cNvSpPr txBox="1"/>
          <p:nvPr/>
        </p:nvSpPr>
        <p:spPr>
          <a:xfrm>
            <a:off x="856078" y="2428353"/>
            <a:ext cx="10735876" cy="1318181"/>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2800" dirty="0">
                <a:solidFill>
                  <a:schemeClr val="bg1">
                    <a:lumMod val="85000"/>
                  </a:schemeClr>
                </a:solidFill>
              </a:rPr>
              <a:t>Interpretability in models (e.g., logistic regression) is crucial to align with clinical practice (Sharma et al., 2021; Shafiei, 2021).</a:t>
            </a:r>
            <a:endParaRPr lang="en-IN" sz="2800" dirty="0">
              <a:solidFill>
                <a:schemeClr val="bg1">
                  <a:lumMod val="85000"/>
                </a:schemeClr>
              </a:solidFill>
            </a:endParaRPr>
          </a:p>
        </p:txBody>
      </p:sp>
      <p:sp>
        <p:nvSpPr>
          <p:cNvPr id="29" name="TextBox 28">
            <a:extLst>
              <a:ext uri="{FF2B5EF4-FFF2-40B4-BE49-F238E27FC236}">
                <a16:creationId xmlns:a16="http://schemas.microsoft.com/office/drawing/2014/main" id="{C292E8CD-2BBE-BEAF-3D35-945B4ED5E3A6}"/>
              </a:ext>
            </a:extLst>
          </p:cNvPr>
          <p:cNvSpPr txBox="1"/>
          <p:nvPr/>
        </p:nvSpPr>
        <p:spPr>
          <a:xfrm>
            <a:off x="248093" y="304364"/>
            <a:ext cx="553956" cy="319415"/>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Darker Grotesque" pitchFamily="2" charset="0"/>
              </a:rPr>
              <a:t>Lit.</a:t>
            </a:r>
          </a:p>
        </p:txBody>
      </p:sp>
      <p:sp>
        <p:nvSpPr>
          <p:cNvPr id="30" name="TextBox 29">
            <a:extLst>
              <a:ext uri="{FF2B5EF4-FFF2-40B4-BE49-F238E27FC236}">
                <a16:creationId xmlns:a16="http://schemas.microsoft.com/office/drawing/2014/main" id="{CCD07573-E953-2D4E-5457-79A7EFC42F0A}"/>
              </a:ext>
            </a:extLst>
          </p:cNvPr>
          <p:cNvSpPr txBox="1"/>
          <p:nvPr/>
        </p:nvSpPr>
        <p:spPr>
          <a:xfrm>
            <a:off x="617697" y="304333"/>
            <a:ext cx="957970" cy="319446"/>
          </a:xfrm>
          <a:prstGeom prst="rect">
            <a:avLst/>
          </a:prstGeom>
          <a:noFill/>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kern="0" dirty="0">
                <a:solidFill>
                  <a:prstClr val="white"/>
                </a:solidFill>
                <a:latin typeface="Darker Grotesque" pitchFamily="2" charset="0"/>
              </a:rPr>
              <a:t>Review</a:t>
            </a:r>
            <a:endParaRPr kumimoji="0" lang="en-US" b="0" i="0" u="none" strike="noStrike" kern="0" cap="none" spc="0" normalizeH="0" baseline="0" noProof="0" dirty="0">
              <a:ln>
                <a:noFill/>
              </a:ln>
              <a:solidFill>
                <a:prstClr val="white"/>
              </a:solidFill>
              <a:effectLst/>
              <a:uLnTx/>
              <a:uFillTx/>
              <a:latin typeface="Darker Grotesque" pitchFamily="2" charset="0"/>
            </a:endParaRPr>
          </a:p>
        </p:txBody>
      </p:sp>
      <p:grpSp>
        <p:nvGrpSpPr>
          <p:cNvPr id="31" name="Group 30">
            <a:extLst>
              <a:ext uri="{FF2B5EF4-FFF2-40B4-BE49-F238E27FC236}">
                <a16:creationId xmlns:a16="http://schemas.microsoft.com/office/drawing/2014/main" id="{5E39BF95-FED7-C4EE-D873-AAB3F1166581}"/>
              </a:ext>
            </a:extLst>
          </p:cNvPr>
          <p:cNvGrpSpPr/>
          <p:nvPr/>
        </p:nvGrpSpPr>
        <p:grpSpPr>
          <a:xfrm>
            <a:off x="299484" y="347343"/>
            <a:ext cx="11644423" cy="507586"/>
            <a:chOff x="299484" y="347343"/>
            <a:chExt cx="11644423" cy="507586"/>
          </a:xfrm>
        </p:grpSpPr>
        <p:cxnSp>
          <p:nvCxnSpPr>
            <p:cNvPr id="5" name="Straight Connector 4">
              <a:extLst>
                <a:ext uri="{FF2B5EF4-FFF2-40B4-BE49-F238E27FC236}">
                  <a16:creationId xmlns:a16="http://schemas.microsoft.com/office/drawing/2014/main" id="{990C198B-5322-C88B-C966-1A2DA1B3216A}"/>
                </a:ext>
              </a:extLst>
            </p:cNvPr>
            <p:cNvCxnSpPr/>
            <p:nvPr/>
          </p:nvCxnSpPr>
          <p:spPr>
            <a:xfrm>
              <a:off x="299484" y="623779"/>
              <a:ext cx="11644423" cy="0"/>
            </a:xfrm>
            <a:prstGeom prst="line">
              <a:avLst/>
            </a:prstGeom>
            <a:noFill/>
            <a:ln w="6350" cap="rnd">
              <a:solidFill>
                <a:schemeClr val="bg1">
                  <a:alpha val="50000"/>
                </a:schemeClr>
              </a:solidFill>
              <a:round/>
            </a:ln>
          </p:spPr>
          <p:style>
            <a:lnRef idx="2">
              <a:schemeClr val="accent1">
                <a:shade val="50000"/>
              </a:schemeClr>
            </a:lnRef>
            <a:fillRef idx="1">
              <a:schemeClr val="accent1"/>
            </a:fillRef>
            <a:effectRef idx="0">
              <a:schemeClr val="accent1"/>
            </a:effectRef>
            <a:fontRef idx="minor">
              <a:schemeClr val="lt1"/>
            </a:fontRef>
          </p:style>
        </p:cxnSp>
        <p:grpSp>
          <p:nvGrpSpPr>
            <p:cNvPr id="46" name="Group 45">
              <a:extLst>
                <a:ext uri="{FF2B5EF4-FFF2-40B4-BE49-F238E27FC236}">
                  <a16:creationId xmlns:a16="http://schemas.microsoft.com/office/drawing/2014/main" id="{0A034173-A833-1562-D00F-78A255FA8C03}"/>
                </a:ext>
              </a:extLst>
            </p:cNvPr>
            <p:cNvGrpSpPr/>
            <p:nvPr/>
          </p:nvGrpSpPr>
          <p:grpSpPr>
            <a:xfrm>
              <a:off x="5842207" y="347343"/>
              <a:ext cx="507586" cy="507586"/>
              <a:chOff x="3886094" y="1867721"/>
              <a:chExt cx="507586" cy="507586"/>
            </a:xfrm>
          </p:grpSpPr>
          <p:sp useBgFill="1">
            <p:nvSpPr>
              <p:cNvPr id="47" name="Oval 46">
                <a:extLst>
                  <a:ext uri="{FF2B5EF4-FFF2-40B4-BE49-F238E27FC236}">
                    <a16:creationId xmlns:a16="http://schemas.microsoft.com/office/drawing/2014/main" id="{5B477DD4-C5A0-64A0-0324-0E4A30C91DFE}"/>
                  </a:ext>
                </a:extLst>
              </p:cNvPr>
              <p:cNvSpPr/>
              <p:nvPr/>
            </p:nvSpPr>
            <p:spPr>
              <a:xfrm>
                <a:off x="3886094" y="1867721"/>
                <a:ext cx="507586" cy="507586"/>
              </a:xfrm>
              <a:prstGeom prst="ellipse">
                <a:avLst/>
              </a:prstGeom>
              <a:ln w="6350">
                <a:solidFill>
                  <a:schemeClr val="bg1"/>
                </a:solidFill>
              </a:ln>
              <a:effectLst>
                <a:innerShdw blurRad="279400">
                  <a:schemeClr val="bg1"/>
                </a:inn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GB" dirty="0">
                  <a:latin typeface="Darker Grotesque" pitchFamily="2" charset="0"/>
                </a:endParaRPr>
              </a:p>
            </p:txBody>
          </p:sp>
          <p:pic>
            <p:nvPicPr>
              <p:cNvPr id="48" name="Graphic 47">
                <a:extLst>
                  <a:ext uri="{FF2B5EF4-FFF2-40B4-BE49-F238E27FC236}">
                    <a16:creationId xmlns:a16="http://schemas.microsoft.com/office/drawing/2014/main" id="{9106A863-A3F9-B97D-7E59-EC0779309C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11871" y="1969676"/>
                <a:ext cx="256032" cy="256032"/>
              </a:xfrm>
              <a:prstGeom prst="rect">
                <a:avLst/>
              </a:prstGeom>
            </p:spPr>
          </p:pic>
        </p:grpSp>
      </p:grpSp>
      <p:sp>
        <p:nvSpPr>
          <p:cNvPr id="12" name="TextBox 11">
            <a:extLst>
              <a:ext uri="{FF2B5EF4-FFF2-40B4-BE49-F238E27FC236}">
                <a16:creationId xmlns:a16="http://schemas.microsoft.com/office/drawing/2014/main" id="{F79FC93A-D222-3571-E128-2561A1577606}"/>
              </a:ext>
            </a:extLst>
          </p:cNvPr>
          <p:cNvSpPr txBox="1"/>
          <p:nvPr/>
        </p:nvSpPr>
        <p:spPr>
          <a:xfrm>
            <a:off x="10197380" y="9775123"/>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grpSp>
        <p:nvGrpSpPr>
          <p:cNvPr id="13" name="Group 12">
            <a:extLst>
              <a:ext uri="{FF2B5EF4-FFF2-40B4-BE49-F238E27FC236}">
                <a16:creationId xmlns:a16="http://schemas.microsoft.com/office/drawing/2014/main" id="{88CCB4B6-7DBB-CD81-AC5D-D37259D382F8}"/>
              </a:ext>
            </a:extLst>
          </p:cNvPr>
          <p:cNvGrpSpPr/>
          <p:nvPr/>
        </p:nvGrpSpPr>
        <p:grpSpPr>
          <a:xfrm>
            <a:off x="4462997" y="9392417"/>
            <a:ext cx="3461732" cy="647654"/>
            <a:chOff x="480251" y="2349133"/>
            <a:chExt cx="3461732" cy="647654"/>
          </a:xfrm>
        </p:grpSpPr>
        <p:sp>
          <p:nvSpPr>
            <p:cNvPr id="14" name="TextBox 13">
              <a:extLst>
                <a:ext uri="{FF2B5EF4-FFF2-40B4-BE49-F238E27FC236}">
                  <a16:creationId xmlns:a16="http://schemas.microsoft.com/office/drawing/2014/main" id="{213B4BD1-A2AE-3014-603C-4F6D6FC716F7}"/>
                </a:ext>
              </a:extLst>
            </p:cNvPr>
            <p:cNvSpPr txBox="1"/>
            <p:nvPr/>
          </p:nvSpPr>
          <p:spPr>
            <a:xfrm>
              <a:off x="2164613" y="2749347"/>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sp>
          <p:nvSpPr>
            <p:cNvPr id="15" name="TextBox 14">
              <a:extLst>
                <a:ext uri="{FF2B5EF4-FFF2-40B4-BE49-F238E27FC236}">
                  <a16:creationId xmlns:a16="http://schemas.microsoft.com/office/drawing/2014/main" id="{FA00CE8B-5DFD-69E0-0D83-BD50BAD5DD54}"/>
                </a:ext>
              </a:extLst>
            </p:cNvPr>
            <p:cNvSpPr txBox="1"/>
            <p:nvPr/>
          </p:nvSpPr>
          <p:spPr>
            <a:xfrm>
              <a:off x="480251" y="2349133"/>
              <a:ext cx="346173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grpSp>
        <p:nvGrpSpPr>
          <p:cNvPr id="16" name="Group 15">
            <a:extLst>
              <a:ext uri="{FF2B5EF4-FFF2-40B4-BE49-F238E27FC236}">
                <a16:creationId xmlns:a16="http://schemas.microsoft.com/office/drawing/2014/main" id="{D0091DEC-707D-A305-3A0C-96CBA70BC93D}"/>
              </a:ext>
            </a:extLst>
          </p:cNvPr>
          <p:cNvGrpSpPr/>
          <p:nvPr/>
        </p:nvGrpSpPr>
        <p:grpSpPr>
          <a:xfrm>
            <a:off x="397565" y="11880926"/>
            <a:ext cx="3660145" cy="482356"/>
            <a:chOff x="370330" y="2692586"/>
            <a:chExt cx="3660145" cy="482356"/>
          </a:xfrm>
        </p:grpSpPr>
        <p:sp>
          <p:nvSpPr>
            <p:cNvPr id="17" name="TextBox 16">
              <a:extLst>
                <a:ext uri="{FF2B5EF4-FFF2-40B4-BE49-F238E27FC236}">
                  <a16:creationId xmlns:a16="http://schemas.microsoft.com/office/drawing/2014/main" id="{5A10A14E-F4B1-4879-FE12-7DA25702C366}"/>
                </a:ext>
              </a:extLst>
            </p:cNvPr>
            <p:cNvSpPr txBox="1"/>
            <p:nvPr/>
          </p:nvSpPr>
          <p:spPr>
            <a:xfrm>
              <a:off x="490079" y="2805610"/>
              <a:ext cx="3494349" cy="369332"/>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lnSpc>
                  <a:spcPct val="100000"/>
                </a:lnSpc>
              </a:pPr>
              <a:endParaRPr lang="en-GB" sz="2400" b="1" dirty="0">
                <a:latin typeface="+mj-lt"/>
              </a:endParaRPr>
            </a:p>
          </p:txBody>
        </p:sp>
        <p:sp>
          <p:nvSpPr>
            <p:cNvPr id="18" name="TextBox 17">
              <a:extLst>
                <a:ext uri="{FF2B5EF4-FFF2-40B4-BE49-F238E27FC236}">
                  <a16:creationId xmlns:a16="http://schemas.microsoft.com/office/drawing/2014/main" id="{5195B6F0-27F8-8E96-3B18-EDB39C9ECCD8}"/>
                </a:ext>
              </a:extLst>
            </p:cNvPr>
            <p:cNvSpPr txBox="1"/>
            <p:nvPr/>
          </p:nvSpPr>
          <p:spPr>
            <a:xfrm>
              <a:off x="370330" y="2692586"/>
              <a:ext cx="3660145"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schemeClr val="bg1">
                    <a:alpha val="90000"/>
                  </a:schemeClr>
                </a:solidFill>
              </a:endParaRPr>
            </a:p>
          </p:txBody>
        </p:sp>
      </p:grpSp>
      <p:grpSp>
        <p:nvGrpSpPr>
          <p:cNvPr id="19" name="Group 18">
            <a:extLst>
              <a:ext uri="{FF2B5EF4-FFF2-40B4-BE49-F238E27FC236}">
                <a16:creationId xmlns:a16="http://schemas.microsoft.com/office/drawing/2014/main" id="{741A85B4-C007-9173-BD4B-DE0BBEAA74EB}"/>
              </a:ext>
            </a:extLst>
          </p:cNvPr>
          <p:cNvGrpSpPr/>
          <p:nvPr/>
        </p:nvGrpSpPr>
        <p:grpSpPr>
          <a:xfrm>
            <a:off x="8153926" y="12000127"/>
            <a:ext cx="3365192" cy="390461"/>
            <a:chOff x="215667" y="2811787"/>
            <a:chExt cx="3365192" cy="390461"/>
          </a:xfrm>
        </p:grpSpPr>
        <p:sp>
          <p:nvSpPr>
            <p:cNvPr id="20" name="TextBox 19">
              <a:extLst>
                <a:ext uri="{FF2B5EF4-FFF2-40B4-BE49-F238E27FC236}">
                  <a16:creationId xmlns:a16="http://schemas.microsoft.com/office/drawing/2014/main" id="{950AF0FE-B508-DB66-45A9-535D008382E1}"/>
                </a:ext>
              </a:extLst>
            </p:cNvPr>
            <p:cNvSpPr txBox="1"/>
            <p:nvPr/>
          </p:nvSpPr>
          <p:spPr>
            <a:xfrm>
              <a:off x="2216671" y="2954808"/>
              <a:ext cx="64"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endParaRPr lang="en-GB" sz="2400" b="1" dirty="0">
                <a:latin typeface="+mj-lt"/>
              </a:endParaRPr>
            </a:p>
          </p:txBody>
        </p:sp>
        <p:sp>
          <p:nvSpPr>
            <p:cNvPr id="21" name="TextBox 20">
              <a:extLst>
                <a:ext uri="{FF2B5EF4-FFF2-40B4-BE49-F238E27FC236}">
                  <a16:creationId xmlns:a16="http://schemas.microsoft.com/office/drawing/2014/main" id="{431A607F-B456-B075-6B13-669A67D5FAB9}"/>
                </a:ext>
              </a:extLst>
            </p:cNvPr>
            <p:cNvSpPr txBox="1"/>
            <p:nvPr/>
          </p:nvSpPr>
          <p:spPr>
            <a:xfrm>
              <a:off x="215667" y="2811787"/>
              <a:ext cx="336519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grpSp>
        <p:nvGrpSpPr>
          <p:cNvPr id="22" name="Group 21">
            <a:extLst>
              <a:ext uri="{FF2B5EF4-FFF2-40B4-BE49-F238E27FC236}">
                <a16:creationId xmlns:a16="http://schemas.microsoft.com/office/drawing/2014/main" id="{84E25902-FD3A-642E-D037-E8D2AA43D81B}"/>
              </a:ext>
            </a:extLst>
          </p:cNvPr>
          <p:cNvGrpSpPr/>
          <p:nvPr/>
        </p:nvGrpSpPr>
        <p:grpSpPr>
          <a:xfrm>
            <a:off x="4259542" y="11823912"/>
            <a:ext cx="3365192" cy="612231"/>
            <a:chOff x="276796" y="2635572"/>
            <a:chExt cx="3365192" cy="612231"/>
          </a:xfrm>
        </p:grpSpPr>
        <p:sp>
          <p:nvSpPr>
            <p:cNvPr id="23" name="TextBox 22">
              <a:extLst>
                <a:ext uri="{FF2B5EF4-FFF2-40B4-BE49-F238E27FC236}">
                  <a16:creationId xmlns:a16="http://schemas.microsoft.com/office/drawing/2014/main" id="{2FC3E941-1FD7-1BA2-C0AC-D41CF1B28DD2}"/>
                </a:ext>
              </a:extLst>
            </p:cNvPr>
            <p:cNvSpPr txBox="1"/>
            <p:nvPr/>
          </p:nvSpPr>
          <p:spPr>
            <a:xfrm>
              <a:off x="519001" y="3000363"/>
              <a:ext cx="65" cy="247440"/>
            </a:xfrm>
            <a:prstGeom prst="rect">
              <a:avLst/>
            </a:prstGeom>
            <a:noFill/>
          </p:spPr>
          <p:txBody>
            <a:bodyPr wrap="non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l"/>
              <a:endParaRPr lang="en-GB" sz="2400" b="1" dirty="0">
                <a:latin typeface="+mj-lt"/>
              </a:endParaRPr>
            </a:p>
          </p:txBody>
        </p:sp>
        <p:sp>
          <p:nvSpPr>
            <p:cNvPr id="24" name="TextBox 23">
              <a:extLst>
                <a:ext uri="{FF2B5EF4-FFF2-40B4-BE49-F238E27FC236}">
                  <a16:creationId xmlns:a16="http://schemas.microsoft.com/office/drawing/2014/main" id="{DF9D3371-5CAB-792D-97CC-BEF4CDA6E146}"/>
                </a:ext>
              </a:extLst>
            </p:cNvPr>
            <p:cNvSpPr txBox="1"/>
            <p:nvPr/>
          </p:nvSpPr>
          <p:spPr>
            <a:xfrm>
              <a:off x="276796" y="2635572"/>
              <a:ext cx="3365192" cy="307777"/>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endParaRPr lang="en-US" sz="2000" dirty="0">
                <a:solidFill>
                  <a:prstClr val="white">
                    <a:alpha val="90000"/>
                  </a:prstClr>
                </a:solidFill>
              </a:endParaRPr>
            </a:p>
          </p:txBody>
        </p:sp>
      </p:grpSp>
      <p:sp>
        <p:nvSpPr>
          <p:cNvPr id="25" name="TextBox 24">
            <a:extLst>
              <a:ext uri="{FF2B5EF4-FFF2-40B4-BE49-F238E27FC236}">
                <a16:creationId xmlns:a16="http://schemas.microsoft.com/office/drawing/2014/main" id="{3B35526D-2CD2-ECFB-4CE2-1341D6DB1111}"/>
              </a:ext>
            </a:extLst>
          </p:cNvPr>
          <p:cNvSpPr txBox="1"/>
          <p:nvPr/>
        </p:nvSpPr>
        <p:spPr>
          <a:xfrm>
            <a:off x="2282757" y="8026917"/>
            <a:ext cx="7680956" cy="494879"/>
          </a:xfrm>
          <a:prstGeom prst="rect">
            <a:avLst/>
          </a:prstGeom>
          <a:noFill/>
        </p:spPr>
        <p:txBody>
          <a:bodyPr wrap="square" lIns="0" tIns="0" rIns="0" bIns="0" rtlCol="0">
            <a:spAutoFit/>
          </a:bodyPr>
          <a:lstStyle>
            <a:defPPr>
              <a:defRPr lang="en-US"/>
            </a:defPPr>
            <a:lvl1pPr marR="0" lvl="0" indent="0"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gn="ctr"/>
            <a:r>
              <a:rPr lang="en-GB" sz="4800" dirty="0"/>
              <a:t>Why Logistic Regression?</a:t>
            </a:r>
          </a:p>
        </p:txBody>
      </p:sp>
      <p:sp>
        <p:nvSpPr>
          <p:cNvPr id="26" name="Rectangle: Rounded Corners 25">
            <a:extLst>
              <a:ext uri="{FF2B5EF4-FFF2-40B4-BE49-F238E27FC236}">
                <a16:creationId xmlns:a16="http://schemas.microsoft.com/office/drawing/2014/main" id="{C2854E33-C0F1-3C65-E484-DDBE55B8C078}"/>
              </a:ext>
            </a:extLst>
          </p:cNvPr>
          <p:cNvSpPr/>
          <p:nvPr/>
        </p:nvSpPr>
        <p:spPr>
          <a:xfrm>
            <a:off x="288966" y="8827465"/>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27" name="TextBox 26">
            <a:extLst>
              <a:ext uri="{FF2B5EF4-FFF2-40B4-BE49-F238E27FC236}">
                <a16:creationId xmlns:a16="http://schemas.microsoft.com/office/drawing/2014/main" id="{31A159F8-8CDE-74CF-3335-F2B4C356CDF5}"/>
              </a:ext>
            </a:extLst>
          </p:cNvPr>
          <p:cNvSpPr txBox="1"/>
          <p:nvPr/>
        </p:nvSpPr>
        <p:spPr>
          <a:xfrm>
            <a:off x="349333" y="9484855"/>
            <a:ext cx="3521326" cy="738664"/>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nSpc>
                <a:spcPct val="100000"/>
              </a:lnSpc>
            </a:pPr>
            <a:r>
              <a:rPr lang="en-US" sz="2400" b="1" dirty="0">
                <a:solidFill>
                  <a:schemeClr val="bg1"/>
                </a:solidFill>
                <a:latin typeface="+mj-lt"/>
              </a:rPr>
              <a:t>Simple, Transparent, and </a:t>
            </a:r>
          </a:p>
          <a:p>
            <a:pPr>
              <a:lnSpc>
                <a:spcPct val="100000"/>
              </a:lnSpc>
            </a:pPr>
            <a:r>
              <a:rPr lang="en-US" sz="2400" b="1" dirty="0">
                <a:solidFill>
                  <a:schemeClr val="bg1"/>
                </a:solidFill>
                <a:latin typeface="+mj-lt"/>
              </a:rPr>
              <a:t>Clinically Trustworthy</a:t>
            </a:r>
            <a:endParaRPr lang="en-GB" sz="2400" b="1" dirty="0">
              <a:solidFill>
                <a:schemeClr val="bg1"/>
              </a:solidFill>
              <a:latin typeface="+mj-lt"/>
            </a:endParaRPr>
          </a:p>
        </p:txBody>
      </p:sp>
      <p:sp>
        <p:nvSpPr>
          <p:cNvPr id="28" name="Rectangle: Rounded Corners 27">
            <a:extLst>
              <a:ext uri="{FF2B5EF4-FFF2-40B4-BE49-F238E27FC236}">
                <a16:creationId xmlns:a16="http://schemas.microsoft.com/office/drawing/2014/main" id="{744FCEBB-949D-2620-0691-83834435444A}"/>
              </a:ext>
            </a:extLst>
          </p:cNvPr>
          <p:cNvSpPr/>
          <p:nvPr/>
        </p:nvSpPr>
        <p:spPr>
          <a:xfrm>
            <a:off x="301021" y="11364764"/>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2" name="TextBox 31">
            <a:extLst>
              <a:ext uri="{FF2B5EF4-FFF2-40B4-BE49-F238E27FC236}">
                <a16:creationId xmlns:a16="http://schemas.microsoft.com/office/drawing/2014/main" id="{E6920062-4692-3E12-40D0-D7FEB6E5658E}"/>
              </a:ext>
            </a:extLst>
          </p:cNvPr>
          <p:cNvSpPr txBox="1"/>
          <p:nvPr/>
        </p:nvSpPr>
        <p:spPr>
          <a:xfrm>
            <a:off x="260560" y="12066811"/>
            <a:ext cx="3521326" cy="738664"/>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pPr>
              <a:lnSpc>
                <a:spcPct val="100000"/>
              </a:lnSpc>
            </a:pPr>
            <a:r>
              <a:rPr lang="en-US" sz="2400" b="1" dirty="0">
                <a:latin typeface="+mj-lt"/>
              </a:rPr>
              <a:t>Validated in Real-World Settings</a:t>
            </a:r>
            <a:endParaRPr lang="en-GB" sz="2400" b="1" dirty="0">
              <a:latin typeface="+mj-lt"/>
            </a:endParaRPr>
          </a:p>
        </p:txBody>
      </p:sp>
      <p:sp>
        <p:nvSpPr>
          <p:cNvPr id="33" name="Rectangle: Rounded Corners 32">
            <a:extLst>
              <a:ext uri="{FF2B5EF4-FFF2-40B4-BE49-F238E27FC236}">
                <a16:creationId xmlns:a16="http://schemas.microsoft.com/office/drawing/2014/main" id="{67C8772B-CEEF-6BAF-60C8-AE3B925ACC1F}"/>
              </a:ext>
            </a:extLst>
          </p:cNvPr>
          <p:cNvSpPr/>
          <p:nvPr/>
        </p:nvSpPr>
        <p:spPr>
          <a:xfrm>
            <a:off x="4276764" y="11364764"/>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4" name="TextBox 33">
            <a:extLst>
              <a:ext uri="{FF2B5EF4-FFF2-40B4-BE49-F238E27FC236}">
                <a16:creationId xmlns:a16="http://schemas.microsoft.com/office/drawing/2014/main" id="{5811E168-381A-BFDF-A261-9970E3B8CF16}"/>
              </a:ext>
            </a:extLst>
          </p:cNvPr>
          <p:cNvSpPr txBox="1"/>
          <p:nvPr/>
        </p:nvSpPr>
        <p:spPr>
          <a:xfrm>
            <a:off x="4403403" y="12328223"/>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Fits Our Skills &amp; Resources</a:t>
            </a:r>
            <a:endParaRPr lang="en-GB" sz="2400" b="1" dirty="0">
              <a:latin typeface="+mj-lt"/>
            </a:endParaRPr>
          </a:p>
        </p:txBody>
      </p:sp>
      <p:sp>
        <p:nvSpPr>
          <p:cNvPr id="35" name="Rectangle: Rounded Corners 34">
            <a:extLst>
              <a:ext uri="{FF2B5EF4-FFF2-40B4-BE49-F238E27FC236}">
                <a16:creationId xmlns:a16="http://schemas.microsoft.com/office/drawing/2014/main" id="{73C37F75-68A8-7FD8-397F-94313E74BB2D}"/>
              </a:ext>
            </a:extLst>
          </p:cNvPr>
          <p:cNvSpPr/>
          <p:nvPr/>
        </p:nvSpPr>
        <p:spPr>
          <a:xfrm>
            <a:off x="8288229" y="11380564"/>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6" name="TextBox 35">
            <a:extLst>
              <a:ext uri="{FF2B5EF4-FFF2-40B4-BE49-F238E27FC236}">
                <a16:creationId xmlns:a16="http://schemas.microsoft.com/office/drawing/2014/main" id="{EE6CDCC2-1684-338E-FC17-60AC02A8656F}"/>
              </a:ext>
            </a:extLst>
          </p:cNvPr>
          <p:cNvSpPr txBox="1"/>
          <p:nvPr/>
        </p:nvSpPr>
        <p:spPr>
          <a:xfrm>
            <a:off x="8424123" y="12227325"/>
            <a:ext cx="3521326" cy="590931"/>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Less Risk of Problems</a:t>
            </a:r>
          </a:p>
          <a:p>
            <a:pPr>
              <a:lnSpc>
                <a:spcPct val="100000"/>
              </a:lnSpc>
            </a:pPr>
            <a:r>
              <a:rPr lang="en-US" sz="2400" b="1" dirty="0">
                <a:latin typeface="+mj-lt"/>
              </a:rPr>
              <a:t> Like Overfitting </a:t>
            </a:r>
            <a:endParaRPr lang="en-GB" sz="2400" b="1" dirty="0">
              <a:latin typeface="+mj-lt"/>
            </a:endParaRPr>
          </a:p>
        </p:txBody>
      </p:sp>
      <p:sp>
        <p:nvSpPr>
          <p:cNvPr id="37" name="Rectangle: Rounded Corners 36">
            <a:extLst>
              <a:ext uri="{FF2B5EF4-FFF2-40B4-BE49-F238E27FC236}">
                <a16:creationId xmlns:a16="http://schemas.microsoft.com/office/drawing/2014/main" id="{7783DE4B-1A3F-DA00-B2FE-AFD1CA974AE6}"/>
              </a:ext>
            </a:extLst>
          </p:cNvPr>
          <p:cNvSpPr/>
          <p:nvPr/>
        </p:nvSpPr>
        <p:spPr>
          <a:xfrm>
            <a:off x="8288229" y="8826423"/>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38" name="TextBox 37">
            <a:extLst>
              <a:ext uri="{FF2B5EF4-FFF2-40B4-BE49-F238E27FC236}">
                <a16:creationId xmlns:a16="http://schemas.microsoft.com/office/drawing/2014/main" id="{8C699EC0-2062-03B4-38E9-66FCF103FB48}"/>
              </a:ext>
            </a:extLst>
          </p:cNvPr>
          <p:cNvSpPr txBox="1"/>
          <p:nvPr/>
        </p:nvSpPr>
        <p:spPr>
          <a:xfrm>
            <a:off x="8454634" y="9828965"/>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US" sz="2400" b="1" dirty="0">
                <a:latin typeface="+mj-lt"/>
              </a:rPr>
              <a:t>Fits Our Data</a:t>
            </a:r>
            <a:endParaRPr lang="en-GB" sz="2400" b="1" dirty="0">
              <a:latin typeface="+mj-lt"/>
            </a:endParaRPr>
          </a:p>
        </p:txBody>
      </p:sp>
      <p:sp>
        <p:nvSpPr>
          <p:cNvPr id="39" name="Rectangle: Rounded Corners 38">
            <a:extLst>
              <a:ext uri="{FF2B5EF4-FFF2-40B4-BE49-F238E27FC236}">
                <a16:creationId xmlns:a16="http://schemas.microsoft.com/office/drawing/2014/main" id="{489147EE-3AFF-AA19-2E83-09881FDCB038}"/>
              </a:ext>
            </a:extLst>
          </p:cNvPr>
          <p:cNvSpPr/>
          <p:nvPr/>
        </p:nvSpPr>
        <p:spPr>
          <a:xfrm>
            <a:off x="4326329" y="8826423"/>
            <a:ext cx="3733402" cy="2142757"/>
          </a:xfrm>
          <a:prstGeom prst="roundRect">
            <a:avLst>
              <a:gd name="adj" fmla="val 12077"/>
            </a:avLst>
          </a:prstGeom>
          <a:solidFill>
            <a:schemeClr val="bg1">
              <a:alpha val="20000"/>
            </a:schemeClr>
          </a:solidFill>
          <a:ln w="6350">
            <a:solidFill>
              <a:schemeClr val="bg1"/>
            </a:solidFill>
          </a:ln>
          <a:effectLst/>
        </p:spPr>
        <p:txBody>
          <a:bodyPr vert="horz" wrap="none" lIns="91440" tIns="45720" rIns="91440" bIns="45720" rtlCol="0" anchor="ctr"/>
          <a:lstStyle/>
          <a:p>
            <a:pPr algn="ctr"/>
            <a:endParaRPr lang="en-GB" sz="2000" dirty="0">
              <a:solidFill>
                <a:schemeClr val="bg1"/>
              </a:solidFill>
              <a:latin typeface="Darker Grotesque SemiBold" pitchFamily="2" charset="0"/>
            </a:endParaRPr>
          </a:p>
        </p:txBody>
      </p:sp>
      <p:sp>
        <p:nvSpPr>
          <p:cNvPr id="40" name="TextBox 39">
            <a:extLst>
              <a:ext uri="{FF2B5EF4-FFF2-40B4-BE49-F238E27FC236}">
                <a16:creationId xmlns:a16="http://schemas.microsoft.com/office/drawing/2014/main" id="{7A93197C-5032-7D1C-F1ED-E020C2FC444E}"/>
              </a:ext>
            </a:extLst>
          </p:cNvPr>
          <p:cNvSpPr txBox="1"/>
          <p:nvPr/>
        </p:nvSpPr>
        <p:spPr>
          <a:xfrm>
            <a:off x="4382802" y="9778003"/>
            <a:ext cx="3521326" cy="247440"/>
          </a:xfrm>
          <a:prstGeom prst="rect">
            <a:avLst/>
          </a:prstGeom>
          <a:noFill/>
        </p:spPr>
        <p:txBody>
          <a:bodyPr wrap="square" lIns="0" tIns="0" rIns="0" bIns="0" rtlCol="0">
            <a:spAutoFit/>
          </a:bodyPr>
          <a:lstStyle>
            <a:defPPr>
              <a:defRPr lang="en-US"/>
            </a:defPPr>
            <a:lvl1pPr marR="0" lvl="0" indent="0" algn="ctr" fontAlgn="auto">
              <a:lnSpc>
                <a:spcPct val="60000"/>
              </a:lnSpc>
              <a:spcBef>
                <a:spcPts val="0"/>
              </a:spcBef>
              <a:spcAft>
                <a:spcPts val="0"/>
              </a:spcAft>
              <a:buClrTx/>
              <a:buSzTx/>
              <a:buFontTx/>
              <a:buNone/>
              <a:tabLst/>
              <a:defRPr kumimoji="0" sz="8000" b="0" i="0" u="none" strike="noStrike" kern="0" cap="none" spc="0" normalizeH="0" baseline="0">
                <a:ln>
                  <a:noFill/>
                </a:ln>
                <a:solidFill>
                  <a:prstClr val="white"/>
                </a:solidFill>
                <a:effectLst/>
                <a:uLnTx/>
                <a:uFillTx/>
                <a:latin typeface="Darker Grotesque" pitchFamily="2" charset="0"/>
              </a:defRPr>
            </a:lvl1pPr>
          </a:lstStyle>
          <a:p>
            <a:r>
              <a:rPr lang="en-GB" sz="2400" b="1" dirty="0">
                <a:latin typeface="+mj-lt"/>
              </a:rPr>
              <a:t>Fair Performance </a:t>
            </a:r>
          </a:p>
        </p:txBody>
      </p:sp>
      <p:sp>
        <p:nvSpPr>
          <p:cNvPr id="41" name="TextBox 40">
            <a:extLst>
              <a:ext uri="{FF2B5EF4-FFF2-40B4-BE49-F238E27FC236}">
                <a16:creationId xmlns:a16="http://schemas.microsoft.com/office/drawing/2014/main" id="{DE52E6CF-F660-F312-C984-5FE05F693DB1}"/>
              </a:ext>
            </a:extLst>
          </p:cNvPr>
          <p:cNvSpPr txBox="1"/>
          <p:nvPr/>
        </p:nvSpPr>
        <p:spPr>
          <a:xfrm>
            <a:off x="416056" y="9252563"/>
            <a:ext cx="3733402" cy="1323439"/>
          </a:xfrm>
          <a:prstGeom prst="rect">
            <a:avLst/>
          </a:prstGeom>
          <a:noFill/>
        </p:spPr>
        <p:txBody>
          <a:bodyPr wrap="square">
            <a:spAutoFit/>
          </a:bodyPr>
          <a:lstStyle/>
          <a:p>
            <a:r>
              <a:rPr lang="en-US" sz="2000" dirty="0">
                <a:solidFill>
                  <a:schemeClr val="bg1">
                    <a:alpha val="90000"/>
                  </a:schemeClr>
                </a:solidFill>
              </a:rPr>
              <a:t>You can see clearly how each factor (like age or family history) changes the risk. (Shafiei et al., 2021).</a:t>
            </a:r>
          </a:p>
        </p:txBody>
      </p:sp>
      <p:sp>
        <p:nvSpPr>
          <p:cNvPr id="42" name="TextBox 41">
            <a:extLst>
              <a:ext uri="{FF2B5EF4-FFF2-40B4-BE49-F238E27FC236}">
                <a16:creationId xmlns:a16="http://schemas.microsoft.com/office/drawing/2014/main" id="{33744127-0EBD-C4C5-526C-ED3D9FF18DF5}"/>
              </a:ext>
            </a:extLst>
          </p:cNvPr>
          <p:cNvSpPr txBox="1"/>
          <p:nvPr/>
        </p:nvSpPr>
        <p:spPr>
          <a:xfrm>
            <a:off x="4434928" y="9061960"/>
            <a:ext cx="3759607" cy="1631216"/>
          </a:xfrm>
          <a:prstGeom prst="rect">
            <a:avLst/>
          </a:prstGeom>
          <a:noFill/>
        </p:spPr>
        <p:txBody>
          <a:bodyPr wrap="square">
            <a:spAutoFit/>
          </a:bodyPr>
          <a:lstStyle/>
          <a:p>
            <a:r>
              <a:rPr lang="en-US" sz="2000" dirty="0">
                <a:solidFill>
                  <a:prstClr val="white">
                    <a:alpha val="90000"/>
                  </a:prstClr>
                </a:solidFill>
              </a:rPr>
              <a:t>Even in large datasets, complex models like SVMs and </a:t>
            </a:r>
            <a:r>
              <a:rPr lang="en-US" sz="2000" dirty="0" err="1">
                <a:solidFill>
                  <a:prstClr val="white">
                    <a:alpha val="90000"/>
                  </a:prstClr>
                </a:solidFill>
              </a:rPr>
              <a:t>XGBoost</a:t>
            </a:r>
            <a:r>
              <a:rPr lang="en-US" sz="2000" dirty="0">
                <a:solidFill>
                  <a:prstClr val="white">
                    <a:alpha val="90000"/>
                  </a:prstClr>
                </a:solidFill>
              </a:rPr>
              <a:t> showed no major advantage over logistic regression (AUC ≈ 0.70) </a:t>
            </a:r>
            <a:r>
              <a:rPr lang="en-IN" sz="2000" dirty="0">
                <a:solidFill>
                  <a:schemeClr val="bg1"/>
                </a:solidFill>
              </a:rPr>
              <a:t>(Bracher-Smith et al., 2022).</a:t>
            </a:r>
            <a:endParaRPr lang="en-US" sz="2000" dirty="0">
              <a:solidFill>
                <a:prstClr val="white">
                  <a:alpha val="90000"/>
                </a:prstClr>
              </a:solidFill>
            </a:endParaRPr>
          </a:p>
        </p:txBody>
      </p:sp>
      <p:sp>
        <p:nvSpPr>
          <p:cNvPr id="43" name="TextBox 42">
            <a:extLst>
              <a:ext uri="{FF2B5EF4-FFF2-40B4-BE49-F238E27FC236}">
                <a16:creationId xmlns:a16="http://schemas.microsoft.com/office/drawing/2014/main" id="{58DECE1B-4F8B-7BBA-6925-611D6D9A3C1A}"/>
              </a:ext>
            </a:extLst>
          </p:cNvPr>
          <p:cNvSpPr txBox="1"/>
          <p:nvPr/>
        </p:nvSpPr>
        <p:spPr>
          <a:xfrm>
            <a:off x="8532701" y="9606507"/>
            <a:ext cx="3365192" cy="61555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Numbers and yes/no info are perfect for logistic regression.</a:t>
            </a:r>
          </a:p>
        </p:txBody>
      </p:sp>
      <p:sp>
        <p:nvSpPr>
          <p:cNvPr id="44" name="TextBox 43">
            <a:extLst>
              <a:ext uri="{FF2B5EF4-FFF2-40B4-BE49-F238E27FC236}">
                <a16:creationId xmlns:a16="http://schemas.microsoft.com/office/drawing/2014/main" id="{76A338E1-A60A-E3AF-0C18-129269024565}"/>
              </a:ext>
            </a:extLst>
          </p:cNvPr>
          <p:cNvSpPr txBox="1"/>
          <p:nvPr/>
        </p:nvSpPr>
        <p:spPr>
          <a:xfrm>
            <a:off x="470822" y="11528612"/>
            <a:ext cx="3660145" cy="184665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schemeClr val="bg1">
                    <a:alpha val="90000"/>
                  </a:schemeClr>
                </a:solidFill>
              </a:rPr>
              <a:t>In a remission prediction study, logistic regression performed well on real clinical data and was externally validated in Canada, showing practical reliability </a:t>
            </a:r>
          </a:p>
          <a:p>
            <a:r>
              <a:rPr lang="en-US" sz="2000" dirty="0">
                <a:solidFill>
                  <a:schemeClr val="bg1">
                    <a:alpha val="90000"/>
                  </a:schemeClr>
                </a:solidFill>
              </a:rPr>
              <a:t>(Shafiei et al., 2021).</a:t>
            </a:r>
          </a:p>
        </p:txBody>
      </p:sp>
      <p:sp>
        <p:nvSpPr>
          <p:cNvPr id="45" name="TextBox 44">
            <a:extLst>
              <a:ext uri="{FF2B5EF4-FFF2-40B4-BE49-F238E27FC236}">
                <a16:creationId xmlns:a16="http://schemas.microsoft.com/office/drawing/2014/main" id="{5CCDBB95-7C13-03FD-5F6C-77A2C81D70FB}"/>
              </a:ext>
            </a:extLst>
          </p:cNvPr>
          <p:cNvSpPr txBox="1"/>
          <p:nvPr/>
        </p:nvSpPr>
        <p:spPr>
          <a:xfrm>
            <a:off x="4519034" y="11499982"/>
            <a:ext cx="3365192" cy="1846659"/>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Our team can use logistic regression without needing deep learning skills, GPUs, or high memory, unlike models like CNN-LSTM (Sadeghi et al., no date).</a:t>
            </a:r>
          </a:p>
        </p:txBody>
      </p:sp>
      <p:sp>
        <p:nvSpPr>
          <p:cNvPr id="49" name="TextBox 48">
            <a:extLst>
              <a:ext uri="{FF2B5EF4-FFF2-40B4-BE49-F238E27FC236}">
                <a16:creationId xmlns:a16="http://schemas.microsoft.com/office/drawing/2014/main" id="{5B9E2B04-5FBF-FEB2-F36B-75C9B88E2FF4}"/>
              </a:ext>
            </a:extLst>
          </p:cNvPr>
          <p:cNvSpPr txBox="1"/>
          <p:nvPr/>
        </p:nvSpPr>
        <p:spPr>
          <a:xfrm>
            <a:off x="8561148" y="11682499"/>
            <a:ext cx="3365192" cy="1538883"/>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Darker Grotesque" pitchFamily="2" charset="0"/>
              </a:defRPr>
            </a:lvl1pPr>
          </a:lstStyle>
          <a:p>
            <a:r>
              <a:rPr lang="en-US" sz="2000" dirty="0">
                <a:solidFill>
                  <a:prstClr val="white">
                    <a:alpha val="90000"/>
                  </a:prstClr>
                </a:solidFill>
              </a:rPr>
              <a:t>Logistic regression avoids overfitting with regularization, unlike complex models like DNNs that need massive data to prevent it.</a:t>
            </a:r>
          </a:p>
        </p:txBody>
      </p:sp>
    </p:spTree>
    <p:extLst>
      <p:ext uri="{BB962C8B-B14F-4D97-AF65-F5344CB8AC3E}">
        <p14:creationId xmlns:p14="http://schemas.microsoft.com/office/powerpoint/2010/main" val="26261729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xit" presetSubtype="0" fill="hold" grpId="0" nodeType="clickEffect">
                                  <p:stCondLst>
                                    <p:cond delay="0"/>
                                  </p:stCondLst>
                                  <p:childTnLst>
                                    <p:animEffect transition="out" filter="fade">
                                      <p:cBhvr>
                                        <p:cTn id="13" dur="1000"/>
                                        <p:tgtEl>
                                          <p:spTgt spid="27"/>
                                        </p:tgtEl>
                                      </p:cBhvr>
                                    </p:animEffect>
                                    <p:anim calcmode="lin" valueType="num">
                                      <p:cBhvr>
                                        <p:cTn id="14" dur="1000"/>
                                        <p:tgtEl>
                                          <p:spTgt spid="27"/>
                                        </p:tgtEl>
                                        <p:attrNameLst>
                                          <p:attrName>ppt_x</p:attrName>
                                        </p:attrNameLst>
                                      </p:cBhvr>
                                      <p:tavLst>
                                        <p:tav tm="0">
                                          <p:val>
                                            <p:strVal val="ppt_x"/>
                                          </p:val>
                                        </p:tav>
                                        <p:tav tm="100000">
                                          <p:val>
                                            <p:strVal val="ppt_x"/>
                                          </p:val>
                                        </p:tav>
                                      </p:tavLst>
                                    </p:anim>
                                    <p:anim calcmode="lin" valueType="num">
                                      <p:cBhvr>
                                        <p:cTn id="15" dur="1000"/>
                                        <p:tgtEl>
                                          <p:spTgt spid="27"/>
                                        </p:tgtEl>
                                        <p:attrNameLst>
                                          <p:attrName>ppt_y</p:attrName>
                                        </p:attrNameLst>
                                      </p:cBhvr>
                                      <p:tavLst>
                                        <p:tav tm="0">
                                          <p:val>
                                            <p:strVal val="ppt_y"/>
                                          </p:val>
                                        </p:tav>
                                        <p:tav tm="100000">
                                          <p:val>
                                            <p:strVal val="ppt_y+.1"/>
                                          </p:val>
                                        </p:tav>
                                      </p:tavLst>
                                    </p:anim>
                                    <p:set>
                                      <p:cBhvr>
                                        <p:cTn id="16" dur="1" fill="hold">
                                          <p:stCondLst>
                                            <p:cond delay="999"/>
                                          </p:stCondLst>
                                        </p:cTn>
                                        <p:tgtEl>
                                          <p:spTgt spid="27"/>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1000"/>
                                        <p:tgtEl>
                                          <p:spTgt spid="41"/>
                                        </p:tgtEl>
                                      </p:cBhvr>
                                    </p:animEffect>
                                    <p:anim calcmode="lin" valueType="num">
                                      <p:cBhvr>
                                        <p:cTn id="22" dur="1000" fill="hold"/>
                                        <p:tgtEl>
                                          <p:spTgt spid="41"/>
                                        </p:tgtEl>
                                        <p:attrNameLst>
                                          <p:attrName>ppt_x</p:attrName>
                                        </p:attrNameLst>
                                      </p:cBhvr>
                                      <p:tavLst>
                                        <p:tav tm="0">
                                          <p:val>
                                            <p:strVal val="#ppt_x"/>
                                          </p:val>
                                        </p:tav>
                                        <p:tav tm="100000">
                                          <p:val>
                                            <p:strVal val="#ppt_x"/>
                                          </p:val>
                                        </p:tav>
                                      </p:tavLst>
                                    </p:anim>
                                    <p:anim calcmode="lin" valueType="num">
                                      <p:cBhvr>
                                        <p:cTn id="23"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xit" presetSubtype="0" fill="hold" grpId="0" nodeType="clickEffect">
                                  <p:stCondLst>
                                    <p:cond delay="0"/>
                                  </p:stCondLst>
                                  <p:childTnLst>
                                    <p:animEffect transition="out" filter="fade">
                                      <p:cBhvr>
                                        <p:cTn id="27" dur="1000"/>
                                        <p:tgtEl>
                                          <p:spTgt spid="40"/>
                                        </p:tgtEl>
                                      </p:cBhvr>
                                    </p:animEffect>
                                    <p:anim calcmode="lin" valueType="num">
                                      <p:cBhvr>
                                        <p:cTn id="28" dur="1000"/>
                                        <p:tgtEl>
                                          <p:spTgt spid="40"/>
                                        </p:tgtEl>
                                        <p:attrNameLst>
                                          <p:attrName>ppt_x</p:attrName>
                                        </p:attrNameLst>
                                      </p:cBhvr>
                                      <p:tavLst>
                                        <p:tav tm="0">
                                          <p:val>
                                            <p:strVal val="ppt_x"/>
                                          </p:val>
                                        </p:tav>
                                        <p:tav tm="100000">
                                          <p:val>
                                            <p:strVal val="ppt_x"/>
                                          </p:val>
                                        </p:tav>
                                      </p:tavLst>
                                    </p:anim>
                                    <p:anim calcmode="lin" valueType="num">
                                      <p:cBhvr>
                                        <p:cTn id="29" dur="1000"/>
                                        <p:tgtEl>
                                          <p:spTgt spid="40"/>
                                        </p:tgtEl>
                                        <p:attrNameLst>
                                          <p:attrName>ppt_y</p:attrName>
                                        </p:attrNameLst>
                                      </p:cBhvr>
                                      <p:tavLst>
                                        <p:tav tm="0">
                                          <p:val>
                                            <p:strVal val="ppt_y"/>
                                          </p:val>
                                        </p:tav>
                                        <p:tav tm="100000">
                                          <p:val>
                                            <p:strVal val="ppt_y+.1"/>
                                          </p:val>
                                        </p:tav>
                                      </p:tavLst>
                                    </p:anim>
                                    <p:set>
                                      <p:cBhvr>
                                        <p:cTn id="30" dur="1" fill="hold">
                                          <p:stCondLst>
                                            <p:cond delay="999"/>
                                          </p:stCondLst>
                                        </p:cTn>
                                        <p:tgtEl>
                                          <p:spTgt spid="4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1000"/>
                                        <p:tgtEl>
                                          <p:spTgt spid="42"/>
                                        </p:tgtEl>
                                      </p:cBhvr>
                                    </p:animEffect>
                                    <p:anim calcmode="lin" valueType="num">
                                      <p:cBhvr>
                                        <p:cTn id="36" dur="1000" fill="hold"/>
                                        <p:tgtEl>
                                          <p:spTgt spid="42"/>
                                        </p:tgtEl>
                                        <p:attrNameLst>
                                          <p:attrName>ppt_x</p:attrName>
                                        </p:attrNameLst>
                                      </p:cBhvr>
                                      <p:tavLst>
                                        <p:tav tm="0">
                                          <p:val>
                                            <p:strVal val="#ppt_x"/>
                                          </p:val>
                                        </p:tav>
                                        <p:tav tm="100000">
                                          <p:val>
                                            <p:strVal val="#ppt_x"/>
                                          </p:val>
                                        </p:tav>
                                      </p:tavLst>
                                    </p:anim>
                                    <p:anim calcmode="lin" valueType="num">
                                      <p:cBhvr>
                                        <p:cTn id="37"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xit" presetSubtype="0" fill="hold" grpId="0" nodeType="clickEffect">
                                  <p:stCondLst>
                                    <p:cond delay="0"/>
                                  </p:stCondLst>
                                  <p:childTnLst>
                                    <p:animEffect transition="out" filter="fade">
                                      <p:cBhvr>
                                        <p:cTn id="41" dur="1000"/>
                                        <p:tgtEl>
                                          <p:spTgt spid="38"/>
                                        </p:tgtEl>
                                      </p:cBhvr>
                                    </p:animEffect>
                                    <p:anim calcmode="lin" valueType="num">
                                      <p:cBhvr>
                                        <p:cTn id="42" dur="1000"/>
                                        <p:tgtEl>
                                          <p:spTgt spid="38"/>
                                        </p:tgtEl>
                                        <p:attrNameLst>
                                          <p:attrName>ppt_x</p:attrName>
                                        </p:attrNameLst>
                                      </p:cBhvr>
                                      <p:tavLst>
                                        <p:tav tm="0">
                                          <p:val>
                                            <p:strVal val="ppt_x"/>
                                          </p:val>
                                        </p:tav>
                                        <p:tav tm="100000">
                                          <p:val>
                                            <p:strVal val="ppt_x"/>
                                          </p:val>
                                        </p:tav>
                                      </p:tavLst>
                                    </p:anim>
                                    <p:anim calcmode="lin" valueType="num">
                                      <p:cBhvr>
                                        <p:cTn id="43" dur="1000"/>
                                        <p:tgtEl>
                                          <p:spTgt spid="38"/>
                                        </p:tgtEl>
                                        <p:attrNameLst>
                                          <p:attrName>ppt_y</p:attrName>
                                        </p:attrNameLst>
                                      </p:cBhvr>
                                      <p:tavLst>
                                        <p:tav tm="0">
                                          <p:val>
                                            <p:strVal val="ppt_y"/>
                                          </p:val>
                                        </p:tav>
                                        <p:tav tm="100000">
                                          <p:val>
                                            <p:strVal val="ppt_y+.1"/>
                                          </p:val>
                                        </p:tav>
                                      </p:tavLst>
                                    </p:anim>
                                    <p:set>
                                      <p:cBhvr>
                                        <p:cTn id="44" dur="1" fill="hold">
                                          <p:stCondLst>
                                            <p:cond delay="999"/>
                                          </p:stCondLst>
                                        </p:cTn>
                                        <p:tgtEl>
                                          <p:spTgt spid="38"/>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fade">
                                      <p:cBhvr>
                                        <p:cTn id="49" dur="1000"/>
                                        <p:tgtEl>
                                          <p:spTgt spid="43"/>
                                        </p:tgtEl>
                                      </p:cBhvr>
                                    </p:animEffect>
                                    <p:anim calcmode="lin" valueType="num">
                                      <p:cBhvr>
                                        <p:cTn id="50" dur="1000" fill="hold"/>
                                        <p:tgtEl>
                                          <p:spTgt spid="43"/>
                                        </p:tgtEl>
                                        <p:attrNameLst>
                                          <p:attrName>ppt_x</p:attrName>
                                        </p:attrNameLst>
                                      </p:cBhvr>
                                      <p:tavLst>
                                        <p:tav tm="0">
                                          <p:val>
                                            <p:strVal val="#ppt_x"/>
                                          </p:val>
                                        </p:tav>
                                        <p:tav tm="100000">
                                          <p:val>
                                            <p:strVal val="#ppt_x"/>
                                          </p:val>
                                        </p:tav>
                                      </p:tavLst>
                                    </p:anim>
                                    <p:anim calcmode="lin" valueType="num">
                                      <p:cBhvr>
                                        <p:cTn id="51"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xit" presetSubtype="0" fill="hold" grpId="0" nodeType="clickEffect">
                                  <p:stCondLst>
                                    <p:cond delay="0"/>
                                  </p:stCondLst>
                                  <p:childTnLst>
                                    <p:animEffect transition="out" filter="fade">
                                      <p:cBhvr>
                                        <p:cTn id="55" dur="1000"/>
                                        <p:tgtEl>
                                          <p:spTgt spid="32"/>
                                        </p:tgtEl>
                                      </p:cBhvr>
                                    </p:animEffect>
                                    <p:anim calcmode="lin" valueType="num">
                                      <p:cBhvr>
                                        <p:cTn id="56" dur="1000"/>
                                        <p:tgtEl>
                                          <p:spTgt spid="32"/>
                                        </p:tgtEl>
                                        <p:attrNameLst>
                                          <p:attrName>ppt_x</p:attrName>
                                        </p:attrNameLst>
                                      </p:cBhvr>
                                      <p:tavLst>
                                        <p:tav tm="0">
                                          <p:val>
                                            <p:strVal val="ppt_x"/>
                                          </p:val>
                                        </p:tav>
                                        <p:tav tm="100000">
                                          <p:val>
                                            <p:strVal val="ppt_x"/>
                                          </p:val>
                                        </p:tav>
                                      </p:tavLst>
                                    </p:anim>
                                    <p:anim calcmode="lin" valueType="num">
                                      <p:cBhvr>
                                        <p:cTn id="57" dur="1000"/>
                                        <p:tgtEl>
                                          <p:spTgt spid="32"/>
                                        </p:tgtEl>
                                        <p:attrNameLst>
                                          <p:attrName>ppt_y</p:attrName>
                                        </p:attrNameLst>
                                      </p:cBhvr>
                                      <p:tavLst>
                                        <p:tav tm="0">
                                          <p:val>
                                            <p:strVal val="ppt_y"/>
                                          </p:val>
                                        </p:tav>
                                        <p:tav tm="100000">
                                          <p:val>
                                            <p:strVal val="ppt_y+.1"/>
                                          </p:val>
                                        </p:tav>
                                      </p:tavLst>
                                    </p:anim>
                                    <p:set>
                                      <p:cBhvr>
                                        <p:cTn id="58" dur="1" fill="hold">
                                          <p:stCondLst>
                                            <p:cond delay="999"/>
                                          </p:stCondLst>
                                        </p:cTn>
                                        <p:tgtEl>
                                          <p:spTgt spid="32"/>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1000"/>
                                        <p:tgtEl>
                                          <p:spTgt spid="44"/>
                                        </p:tgtEl>
                                      </p:cBhvr>
                                    </p:animEffect>
                                    <p:anim calcmode="lin" valueType="num">
                                      <p:cBhvr>
                                        <p:cTn id="64" dur="1000" fill="hold"/>
                                        <p:tgtEl>
                                          <p:spTgt spid="44"/>
                                        </p:tgtEl>
                                        <p:attrNameLst>
                                          <p:attrName>ppt_x</p:attrName>
                                        </p:attrNameLst>
                                      </p:cBhvr>
                                      <p:tavLst>
                                        <p:tav tm="0">
                                          <p:val>
                                            <p:strVal val="#ppt_x"/>
                                          </p:val>
                                        </p:tav>
                                        <p:tav tm="100000">
                                          <p:val>
                                            <p:strVal val="#ppt_x"/>
                                          </p:val>
                                        </p:tav>
                                      </p:tavLst>
                                    </p:anim>
                                    <p:anim calcmode="lin" valueType="num">
                                      <p:cBhvr>
                                        <p:cTn id="65"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xit" presetSubtype="0" fill="hold" grpId="0" nodeType="clickEffect">
                                  <p:stCondLst>
                                    <p:cond delay="0"/>
                                  </p:stCondLst>
                                  <p:childTnLst>
                                    <p:animEffect transition="out" filter="fade">
                                      <p:cBhvr>
                                        <p:cTn id="69" dur="1000"/>
                                        <p:tgtEl>
                                          <p:spTgt spid="34"/>
                                        </p:tgtEl>
                                      </p:cBhvr>
                                    </p:animEffect>
                                    <p:anim calcmode="lin" valueType="num">
                                      <p:cBhvr>
                                        <p:cTn id="70" dur="1000"/>
                                        <p:tgtEl>
                                          <p:spTgt spid="34"/>
                                        </p:tgtEl>
                                        <p:attrNameLst>
                                          <p:attrName>ppt_x</p:attrName>
                                        </p:attrNameLst>
                                      </p:cBhvr>
                                      <p:tavLst>
                                        <p:tav tm="0">
                                          <p:val>
                                            <p:strVal val="ppt_x"/>
                                          </p:val>
                                        </p:tav>
                                        <p:tav tm="100000">
                                          <p:val>
                                            <p:strVal val="ppt_x"/>
                                          </p:val>
                                        </p:tav>
                                      </p:tavLst>
                                    </p:anim>
                                    <p:anim calcmode="lin" valueType="num">
                                      <p:cBhvr>
                                        <p:cTn id="71" dur="1000"/>
                                        <p:tgtEl>
                                          <p:spTgt spid="34"/>
                                        </p:tgtEl>
                                        <p:attrNameLst>
                                          <p:attrName>ppt_y</p:attrName>
                                        </p:attrNameLst>
                                      </p:cBhvr>
                                      <p:tavLst>
                                        <p:tav tm="0">
                                          <p:val>
                                            <p:strVal val="ppt_y"/>
                                          </p:val>
                                        </p:tav>
                                        <p:tav tm="100000">
                                          <p:val>
                                            <p:strVal val="ppt_y+.1"/>
                                          </p:val>
                                        </p:tav>
                                      </p:tavLst>
                                    </p:anim>
                                    <p:set>
                                      <p:cBhvr>
                                        <p:cTn id="72" dur="1" fill="hold">
                                          <p:stCondLst>
                                            <p:cond delay="999"/>
                                          </p:stCondLst>
                                        </p:cTn>
                                        <p:tgtEl>
                                          <p:spTgt spid="34"/>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45"/>
                                        </p:tgtEl>
                                        <p:attrNameLst>
                                          <p:attrName>style.visibility</p:attrName>
                                        </p:attrNameLst>
                                      </p:cBhvr>
                                      <p:to>
                                        <p:strVal val="visible"/>
                                      </p:to>
                                    </p:set>
                                    <p:animEffect transition="in" filter="fade">
                                      <p:cBhvr>
                                        <p:cTn id="77" dur="1000"/>
                                        <p:tgtEl>
                                          <p:spTgt spid="45"/>
                                        </p:tgtEl>
                                      </p:cBhvr>
                                    </p:animEffect>
                                    <p:anim calcmode="lin" valueType="num">
                                      <p:cBhvr>
                                        <p:cTn id="78" dur="1000" fill="hold"/>
                                        <p:tgtEl>
                                          <p:spTgt spid="45"/>
                                        </p:tgtEl>
                                        <p:attrNameLst>
                                          <p:attrName>ppt_x</p:attrName>
                                        </p:attrNameLst>
                                      </p:cBhvr>
                                      <p:tavLst>
                                        <p:tav tm="0">
                                          <p:val>
                                            <p:strVal val="#ppt_x"/>
                                          </p:val>
                                        </p:tav>
                                        <p:tav tm="100000">
                                          <p:val>
                                            <p:strVal val="#ppt_x"/>
                                          </p:val>
                                        </p:tav>
                                      </p:tavLst>
                                    </p:anim>
                                    <p:anim calcmode="lin" valueType="num">
                                      <p:cBhvr>
                                        <p:cTn id="79"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xit" presetSubtype="0" fill="hold" grpId="0" nodeType="clickEffect">
                                  <p:stCondLst>
                                    <p:cond delay="0"/>
                                  </p:stCondLst>
                                  <p:childTnLst>
                                    <p:animEffect transition="out" filter="fade">
                                      <p:cBhvr>
                                        <p:cTn id="83" dur="1000"/>
                                        <p:tgtEl>
                                          <p:spTgt spid="36"/>
                                        </p:tgtEl>
                                      </p:cBhvr>
                                    </p:animEffect>
                                    <p:anim calcmode="lin" valueType="num">
                                      <p:cBhvr>
                                        <p:cTn id="84" dur="1000"/>
                                        <p:tgtEl>
                                          <p:spTgt spid="36"/>
                                        </p:tgtEl>
                                        <p:attrNameLst>
                                          <p:attrName>ppt_x</p:attrName>
                                        </p:attrNameLst>
                                      </p:cBhvr>
                                      <p:tavLst>
                                        <p:tav tm="0">
                                          <p:val>
                                            <p:strVal val="ppt_x"/>
                                          </p:val>
                                        </p:tav>
                                        <p:tav tm="100000">
                                          <p:val>
                                            <p:strVal val="ppt_x"/>
                                          </p:val>
                                        </p:tav>
                                      </p:tavLst>
                                    </p:anim>
                                    <p:anim calcmode="lin" valueType="num">
                                      <p:cBhvr>
                                        <p:cTn id="85" dur="1000"/>
                                        <p:tgtEl>
                                          <p:spTgt spid="36"/>
                                        </p:tgtEl>
                                        <p:attrNameLst>
                                          <p:attrName>ppt_y</p:attrName>
                                        </p:attrNameLst>
                                      </p:cBhvr>
                                      <p:tavLst>
                                        <p:tav tm="0">
                                          <p:val>
                                            <p:strVal val="ppt_y"/>
                                          </p:val>
                                        </p:tav>
                                        <p:tav tm="100000">
                                          <p:val>
                                            <p:strVal val="ppt_y+.1"/>
                                          </p:val>
                                        </p:tav>
                                      </p:tavLst>
                                    </p:anim>
                                    <p:set>
                                      <p:cBhvr>
                                        <p:cTn id="86" dur="1" fill="hold">
                                          <p:stCondLst>
                                            <p:cond delay="999"/>
                                          </p:stCondLst>
                                        </p:cTn>
                                        <p:tgtEl>
                                          <p:spTgt spid="36"/>
                                        </p:tgtEl>
                                        <p:attrNameLst>
                                          <p:attrName>style.visibility</p:attrName>
                                        </p:attrNameLst>
                                      </p:cBhvr>
                                      <p:to>
                                        <p:strVal val="hidden"/>
                                      </p:to>
                                    </p:set>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49"/>
                                        </p:tgtEl>
                                        <p:attrNameLst>
                                          <p:attrName>style.visibility</p:attrName>
                                        </p:attrNameLst>
                                      </p:cBhvr>
                                      <p:to>
                                        <p:strVal val="visible"/>
                                      </p:to>
                                    </p:set>
                                    <p:animEffect transition="in" filter="fade">
                                      <p:cBhvr>
                                        <p:cTn id="91" dur="1000"/>
                                        <p:tgtEl>
                                          <p:spTgt spid="49"/>
                                        </p:tgtEl>
                                      </p:cBhvr>
                                    </p:animEffect>
                                    <p:anim calcmode="lin" valueType="num">
                                      <p:cBhvr>
                                        <p:cTn id="92" dur="1000" fill="hold"/>
                                        <p:tgtEl>
                                          <p:spTgt spid="49"/>
                                        </p:tgtEl>
                                        <p:attrNameLst>
                                          <p:attrName>ppt_x</p:attrName>
                                        </p:attrNameLst>
                                      </p:cBhvr>
                                      <p:tavLst>
                                        <p:tav tm="0">
                                          <p:val>
                                            <p:strVal val="#ppt_x"/>
                                          </p:val>
                                        </p:tav>
                                        <p:tav tm="100000">
                                          <p:val>
                                            <p:strVal val="#ppt_x"/>
                                          </p:val>
                                        </p:tav>
                                      </p:tavLst>
                                    </p:anim>
                                    <p:anim calcmode="lin" valueType="num">
                                      <p:cBhvr>
                                        <p:cTn id="93"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2" grpId="0"/>
      <p:bldP spid="34" grpId="0"/>
      <p:bldP spid="36" grpId="0"/>
      <p:bldP spid="38" grpId="0"/>
      <p:bldP spid="40" grpId="0"/>
      <p:bldP spid="41" grpId="0"/>
      <p:bldP spid="42" grpId="0"/>
      <p:bldP spid="43" grpId="0"/>
      <p:bldP spid="44" grpId="0"/>
      <p:bldP spid="45" grpId="0"/>
      <p:bldP spid="49" grpId="0"/>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6350">
          <a:solidFill>
            <a:schemeClr val="bg1"/>
          </a:solidFill>
        </a:ln>
        <a:effectLst>
          <a:innerShdw blurRad="279400">
            <a:schemeClr val="bg1"/>
          </a:innerShdw>
        </a:effectLst>
      </a:spPr>
      <a:bodyPr wrap="none" rtlCol="0" anchor="ctr"/>
      <a:lstStyle>
        <a:defPPr algn="ctr">
          <a:defRPr dirty="0">
            <a:latin typeface="Darker Grotesque" pitchFamily="2" charset="0"/>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Thesis PPT">
      <a:dk1>
        <a:sysClr val="windowText" lastClr="000000"/>
      </a:dk1>
      <a:lt1>
        <a:sysClr val="window" lastClr="FFFFFF"/>
      </a:lt1>
      <a:dk2>
        <a:srgbClr val="140812"/>
      </a:dk2>
      <a:lt2>
        <a:srgbClr val="D8D9DC"/>
      </a:lt2>
      <a:accent1>
        <a:srgbClr val="00FFB3"/>
      </a:accent1>
      <a:accent2>
        <a:srgbClr val="00F1FF"/>
      </a:accent2>
      <a:accent3>
        <a:srgbClr val="4775E7"/>
      </a:accent3>
      <a:accent4>
        <a:srgbClr val="8730EA"/>
      </a:accent4>
      <a:accent5>
        <a:srgbClr val="FD6364"/>
      </a:accent5>
      <a:accent6>
        <a:srgbClr val="D54773"/>
      </a:accent6>
      <a:hlink>
        <a:srgbClr val="4775E7"/>
      </a:hlink>
      <a:folHlink>
        <a:srgbClr val="8C8C8C"/>
      </a:folHlink>
    </a:clrScheme>
    <a:fontScheme name="Darker Grotesque">
      <a:majorFont>
        <a:latin typeface="Darker Grotesque SemiBold"/>
        <a:ea typeface=""/>
        <a:cs typeface=""/>
      </a:majorFont>
      <a:minorFont>
        <a:latin typeface="Darker Grotesque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07bf6139-9221-4bd9-a561-060abd79671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99BD8C259F0724F82AECCB616B45C30" ma:contentTypeVersion="14" ma:contentTypeDescription="Create a new document." ma:contentTypeScope="" ma:versionID="5bd366243c2e4a6b938d6754f8d47346">
  <xsd:schema xmlns:xsd="http://www.w3.org/2001/XMLSchema" xmlns:xs="http://www.w3.org/2001/XMLSchema" xmlns:p="http://schemas.microsoft.com/office/2006/metadata/properties" xmlns:ns3="07bf6139-9221-4bd9-a561-060abd796712" xmlns:ns4="42741ded-42ac-46d5-b0f3-ccfcdbce4e1e" targetNamespace="http://schemas.microsoft.com/office/2006/metadata/properties" ma:root="true" ma:fieldsID="54434631c09197d95288ad3daa4f708f" ns3:_="" ns4:_="">
    <xsd:import namespace="07bf6139-9221-4bd9-a561-060abd796712"/>
    <xsd:import namespace="42741ded-42ac-46d5-b0f3-ccfcdbce4e1e"/>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SystemTags" minOccurs="0"/>
                <xsd:element ref="ns3:MediaServiceOCR" minOccurs="0"/>
                <xsd:element ref="ns3:MediaServiceGenerationTime" minOccurs="0"/>
                <xsd:element ref="ns3:MediaServiceEventHashCode"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bf6139-9221-4bd9-a561-060abd7967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SystemTags" ma:index="16" nillable="true" ma:displayName="MediaServiceSystemTags" ma:hidden="true" ma:internalName="MediaServiceSystemTags" ma:readOnly="true">
      <xsd:simpleType>
        <xsd:restriction base="dms:Note"/>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741ded-42ac-46d5-b0f3-ccfcdbce4e1e"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FEABEB-E242-4ED3-90B5-6F721659B4CE}">
  <ds:schemaRefs>
    <ds:schemaRef ds:uri="http://schemas.microsoft.com/office/infopath/2007/PartnerControls"/>
    <ds:schemaRef ds:uri="http://purl.org/dc/terms/"/>
    <ds:schemaRef ds:uri="http://schemas.microsoft.com/office/2006/metadata/properties"/>
    <ds:schemaRef ds:uri="http://schemas.microsoft.com/office/2006/documentManagement/types"/>
    <ds:schemaRef ds:uri="http://www.w3.org/XML/1998/namespace"/>
    <ds:schemaRef ds:uri="http://purl.org/dc/elements/1.1/"/>
    <ds:schemaRef ds:uri="http://schemas.openxmlformats.org/package/2006/metadata/core-properties"/>
    <ds:schemaRef ds:uri="42741ded-42ac-46d5-b0f3-ccfcdbce4e1e"/>
    <ds:schemaRef ds:uri="07bf6139-9221-4bd9-a561-060abd796712"/>
    <ds:schemaRef ds:uri="http://purl.org/dc/dcmitype/"/>
  </ds:schemaRefs>
</ds:datastoreItem>
</file>

<file path=customXml/itemProps2.xml><?xml version="1.0" encoding="utf-8"?>
<ds:datastoreItem xmlns:ds="http://schemas.openxmlformats.org/officeDocument/2006/customXml" ds:itemID="{E04F4B51-88F7-46F9-BA72-16323C80AD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bf6139-9221-4bd9-a561-060abd796712"/>
    <ds:schemaRef ds:uri="42741ded-42ac-46d5-b0f3-ccfcdbce4e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D558950-EB39-4ADE-B4C8-EFBAB6DB7CE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491</TotalTime>
  <Words>2644</Words>
  <Application>Microsoft Office PowerPoint</Application>
  <PresentationFormat>Widescreen</PresentationFormat>
  <Paragraphs>330</Paragraphs>
  <Slides>33</Slides>
  <Notes>16</Notes>
  <HiddenSlides>3</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33</vt:i4>
      </vt:variant>
    </vt:vector>
  </HeadingPairs>
  <TitlesOfParts>
    <vt:vector size="44" baseType="lpstr">
      <vt:lpstr>Aptos</vt:lpstr>
      <vt:lpstr>Aptos Display</vt:lpstr>
      <vt:lpstr>Arial</vt:lpstr>
      <vt:lpstr>Darker Grotesque</vt:lpstr>
      <vt:lpstr>Darker Grotesque Medium</vt:lpstr>
      <vt:lpstr>Darker Grotesque SemiBold</vt:lpstr>
      <vt:lpstr>Playfair Display</vt:lpstr>
      <vt:lpstr>Poppins SemiBold</vt:lpstr>
      <vt:lpstr>Times New Roman</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One Skill</dc:creator>
  <cp:lastModifiedBy>Jessica Henley</cp:lastModifiedBy>
  <cp:revision>6</cp:revision>
  <dcterms:created xsi:type="dcterms:W3CDTF">2024-07-26T12:33:19Z</dcterms:created>
  <dcterms:modified xsi:type="dcterms:W3CDTF">2025-06-02T06:3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9BD8C259F0724F82AECCB616B45C30</vt:lpwstr>
  </property>
</Properties>
</file>